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83" r:id="rId2"/>
    <p:sldId id="649" r:id="rId3"/>
    <p:sldId id="685" r:id="rId4"/>
    <p:sldId id="707" r:id="rId5"/>
    <p:sldId id="709" r:id="rId6"/>
    <p:sldId id="650" r:id="rId7"/>
    <p:sldId id="686" r:id="rId8"/>
    <p:sldId id="713" r:id="rId9"/>
    <p:sldId id="714" r:id="rId10"/>
    <p:sldId id="459" r:id="rId11"/>
    <p:sldId id="715" r:id="rId12"/>
    <p:sldId id="464" r:id="rId13"/>
    <p:sldId id="719" r:id="rId14"/>
    <p:sldId id="720" r:id="rId15"/>
    <p:sldId id="721" r:id="rId16"/>
    <p:sldId id="722" r:id="rId17"/>
    <p:sldId id="723" r:id="rId18"/>
    <p:sldId id="718" r:id="rId19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9B9B"/>
    <a:srgbClr val="D9D9D9"/>
    <a:srgbClr val="000000"/>
    <a:srgbClr val="D3FDF6"/>
    <a:srgbClr val="B1B1B1"/>
    <a:srgbClr val="D4D4D4"/>
    <a:srgbClr val="ECECEC"/>
    <a:srgbClr val="009F85"/>
    <a:srgbClr val="B9B9B9"/>
    <a:srgbClr val="FF8A0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12C8C85-51F0-491E-9774-3900AFEF0FD7}" styleName="Estilo Claro 2 - Ênfase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BC89EF96-8CEA-46FF-86C4-4CE0E7609802}" styleName="Estilo Claro 3 - Ênfas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Estilo Claro 3 - Ênfase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24" autoAdjust="0"/>
    <p:restoredTop sz="94280" autoAdjust="0"/>
  </p:normalViewPr>
  <p:slideViewPr>
    <p:cSldViewPr>
      <p:cViewPr varScale="1">
        <p:scale>
          <a:sx n="87" d="100"/>
          <a:sy n="87" d="100"/>
        </p:scale>
        <p:origin x="-1434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>
      <p:cViewPr varScale="1">
        <p:scale>
          <a:sx n="53" d="100"/>
          <a:sy n="53" d="100"/>
        </p:scale>
        <p:origin x="2868" y="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C:\Users\rafael\Documents\projecao%20acucar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Planilha1!$G$3</c:f>
              <c:strCache>
                <c:ptCount val="1"/>
                <c:pt idx="0">
                  <c:v>Consumo (mil toneladas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Planilha1!$H$2:$V$2</c:f>
              <c:strCache>
                <c:ptCount val="15"/>
                <c:pt idx="0">
                  <c:v>2015/16</c:v>
                </c:pt>
                <c:pt idx="1">
                  <c:v>2016/17</c:v>
                </c:pt>
                <c:pt idx="2">
                  <c:v>2017/18</c:v>
                </c:pt>
                <c:pt idx="3">
                  <c:v>2018/19</c:v>
                </c:pt>
                <c:pt idx="4">
                  <c:v>2019/20</c:v>
                </c:pt>
                <c:pt idx="5">
                  <c:v>2020/21</c:v>
                </c:pt>
                <c:pt idx="6">
                  <c:v>2021/22</c:v>
                </c:pt>
                <c:pt idx="7">
                  <c:v>2022/23</c:v>
                </c:pt>
                <c:pt idx="8">
                  <c:v>2023/24</c:v>
                </c:pt>
                <c:pt idx="9">
                  <c:v>2024/25</c:v>
                </c:pt>
                <c:pt idx="10">
                  <c:v>2025/26</c:v>
                </c:pt>
                <c:pt idx="11">
                  <c:v>2026/27</c:v>
                </c:pt>
                <c:pt idx="12">
                  <c:v>2027/28</c:v>
                </c:pt>
                <c:pt idx="13">
                  <c:v>2028/29</c:v>
                </c:pt>
                <c:pt idx="14">
                  <c:v>2029/30</c:v>
                </c:pt>
              </c:strCache>
            </c:strRef>
          </c:cat>
          <c:val>
            <c:numRef>
              <c:f>Planilha1!$H$3:$V$3</c:f>
              <c:numCache>
                <c:formatCode>_-* #,##0_-;\-* #,##0_-;_-* "-"??_-;_-@_-</c:formatCode>
                <c:ptCount val="15"/>
                <c:pt idx="0">
                  <c:v>170556</c:v>
                </c:pt>
                <c:pt idx="1">
                  <c:v>173677.17480000001</c:v>
                </c:pt>
                <c:pt idx="2">
                  <c:v>176855.46709883999</c:v>
                </c:pt>
                <c:pt idx="3">
                  <c:v>180091.92214674881</c:v>
                </c:pt>
                <c:pt idx="4">
                  <c:v>183387.60432203431</c:v>
                </c:pt>
                <c:pt idx="5">
                  <c:v>186743.59748112751</c:v>
                </c:pt>
                <c:pt idx="6">
                  <c:v>190161.00531503229</c:v>
                </c:pt>
                <c:pt idx="7">
                  <c:v>193640.95171229669</c:v>
                </c:pt>
                <c:pt idx="8">
                  <c:v>197184.5811286323</c:v>
                </c:pt>
                <c:pt idx="9">
                  <c:v>200793.05896328631</c:v>
                </c:pt>
                <c:pt idx="10">
                  <c:v>204467.57194231439</c:v>
                </c:pt>
                <c:pt idx="11">
                  <c:v>208209.32850885871</c:v>
                </c:pt>
                <c:pt idx="12">
                  <c:v>212019.5592205709</c:v>
                </c:pt>
                <c:pt idx="13">
                  <c:v>215899.51715430751</c:v>
                </c:pt>
                <c:pt idx="14">
                  <c:v>219850.478318231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900-4E57-BF47-426D6A1F35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8691712"/>
        <c:axId val="80768384"/>
      </c:barChart>
      <c:lineChart>
        <c:grouping val="standard"/>
        <c:varyColors val="0"/>
        <c:ser>
          <c:idx val="2"/>
          <c:order val="1"/>
          <c:tx>
            <c:strRef>
              <c:f>Planilha1!$G$5</c:f>
              <c:strCache>
                <c:ptCount val="1"/>
                <c:pt idx="0">
                  <c:v>Mercado (US$ bilhões)</c:v>
                </c:pt>
              </c:strCache>
            </c:strRef>
          </c:tx>
          <c:spPr>
            <a:ln w="28575" cap="rnd" cmpd="sng" algn="ctr">
              <a:solidFill>
                <a:schemeClr val="accent6"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Planilha1!$H$2:$V$2</c:f>
              <c:strCache>
                <c:ptCount val="15"/>
                <c:pt idx="0">
                  <c:v>2015/16</c:v>
                </c:pt>
                <c:pt idx="1">
                  <c:v>2016/17</c:v>
                </c:pt>
                <c:pt idx="2">
                  <c:v>2017/18</c:v>
                </c:pt>
                <c:pt idx="3">
                  <c:v>2018/19</c:v>
                </c:pt>
                <c:pt idx="4">
                  <c:v>2019/20</c:v>
                </c:pt>
                <c:pt idx="5">
                  <c:v>2020/21</c:v>
                </c:pt>
                <c:pt idx="6">
                  <c:v>2021/22</c:v>
                </c:pt>
                <c:pt idx="7">
                  <c:v>2022/23</c:v>
                </c:pt>
                <c:pt idx="8">
                  <c:v>2023/24</c:v>
                </c:pt>
                <c:pt idx="9">
                  <c:v>2024/25</c:v>
                </c:pt>
                <c:pt idx="10">
                  <c:v>2025/26</c:v>
                </c:pt>
                <c:pt idx="11">
                  <c:v>2026/27</c:v>
                </c:pt>
                <c:pt idx="12">
                  <c:v>2027/28</c:v>
                </c:pt>
                <c:pt idx="13">
                  <c:v>2028/29</c:v>
                </c:pt>
                <c:pt idx="14">
                  <c:v>2029/30</c:v>
                </c:pt>
              </c:strCache>
            </c:strRef>
          </c:cat>
          <c:val>
            <c:numRef>
              <c:f>Planilha1!$H$5:$V$5</c:f>
              <c:numCache>
                <c:formatCode>_(* #,##0.00_);_(* \(#,##0.00\);_(* "-"??_);_(@_)</c:formatCode>
                <c:ptCount val="15"/>
                <c:pt idx="0">
                  <c:v>68.222399999999979</c:v>
                </c:pt>
                <c:pt idx="1">
                  <c:v>69.470869919999998</c:v>
                </c:pt>
                <c:pt idx="2">
                  <c:v>70.742186839535847</c:v>
                </c:pt>
                <c:pt idx="3">
                  <c:v>64.833091972828839</c:v>
                </c:pt>
                <c:pt idx="4">
                  <c:v>66.019537555932345</c:v>
                </c:pt>
                <c:pt idx="5">
                  <c:v>67.227695093205895</c:v>
                </c:pt>
                <c:pt idx="6">
                  <c:v>68.457961913411552</c:v>
                </c:pt>
                <c:pt idx="7">
                  <c:v>69.710742616426003</c:v>
                </c:pt>
                <c:pt idx="8">
                  <c:v>70.986449206307697</c:v>
                </c:pt>
                <c:pt idx="9">
                  <c:v>72.285501226782557</c:v>
                </c:pt>
                <c:pt idx="10">
                  <c:v>73.608325899233179</c:v>
                </c:pt>
                <c:pt idx="11">
                  <c:v>74.955358263188643</c:v>
                </c:pt>
                <c:pt idx="12">
                  <c:v>76.327041319404913</c:v>
                </c:pt>
                <c:pt idx="13">
                  <c:v>77.72382617555013</c:v>
                </c:pt>
                <c:pt idx="14">
                  <c:v>79.14617219456246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F900-4E57-BF47-426D6A1F35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8692736"/>
        <c:axId val="80768960"/>
      </c:lineChart>
      <c:catAx>
        <c:axId val="88691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0768384"/>
        <c:crosses val="autoZero"/>
        <c:auto val="1"/>
        <c:lblAlgn val="ctr"/>
        <c:lblOffset val="100"/>
        <c:noMultiLvlLbl val="0"/>
      </c:catAx>
      <c:valAx>
        <c:axId val="8076838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 dirty="0"/>
                  <a:t>Consumo (mil toneladas)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_-* #,##0_-;\-* #,##0_-;_-* &quot;-&quot;??_-;_-@_-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8691712"/>
        <c:crosses val="autoZero"/>
        <c:crossBetween val="between"/>
      </c:valAx>
      <c:valAx>
        <c:axId val="80768960"/>
        <c:scaling>
          <c:orientation val="minMax"/>
          <c:max val="14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 dirty="0"/>
                  <a:t>Mercado (US$ bilhões)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_(* #,##0.00_);_(* \(#,##0.00\);_(* &quot;-&quot;??_);_(@_)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8692736"/>
        <c:crosses val="max"/>
        <c:crossBetween val="between"/>
      </c:valAx>
      <c:catAx>
        <c:axId val="886927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8076896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pt-BR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4B6FA9C-151D-4C03-8E8B-DA26A10CF4A1}" type="doc">
      <dgm:prSet loTypeId="urn:microsoft.com/office/officeart/2005/8/layout/process2" loCatId="process" qsTypeId="urn:microsoft.com/office/officeart/2005/8/quickstyle/simple1" qsCatId="simple" csTypeId="urn:microsoft.com/office/officeart/2005/8/colors/colorful1#1" csCatId="colorful" phldr="1"/>
      <dgm:spPr/>
    </dgm:pt>
    <dgm:pt modelId="{5B0474FE-F454-4C9F-B4CC-563C9E764E7A}">
      <dgm:prSet phldrT="[Texto]" custT="1"/>
      <dgm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pt-BR" sz="2400" dirty="0"/>
            <a:t>Desk research</a:t>
          </a:r>
        </a:p>
      </dgm:t>
    </dgm:pt>
    <dgm:pt modelId="{315D0726-F59C-48AF-9D73-A04F88A6CE7B}" type="parTrans" cxnId="{78362351-B372-4B0B-9397-CC99795B830D}">
      <dgm:prSet/>
      <dgm:spPr/>
      <dgm:t>
        <a:bodyPr/>
        <a:lstStyle/>
        <a:p>
          <a:endParaRPr lang="pt-BR" sz="2800"/>
        </a:p>
      </dgm:t>
    </dgm:pt>
    <dgm:pt modelId="{7E739279-E646-407E-817F-84F456F8780C}" type="sibTrans" cxnId="{78362351-B372-4B0B-9397-CC99795B830D}">
      <dgm:prSet custT="1"/>
      <dgm:spPr/>
      <dgm:t>
        <a:bodyPr/>
        <a:lstStyle/>
        <a:p>
          <a:endParaRPr lang="pt-BR" sz="1200" dirty="0"/>
        </a:p>
      </dgm:t>
    </dgm:pt>
    <dgm:pt modelId="{765DC038-B232-4B5D-AC1F-0465A02F061F}">
      <dgm:prSet phldrT="[Texto]" custT="1"/>
      <dgm:spPr>
        <a:solidFill>
          <a:schemeClr val="tx1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pt-BR" sz="2400" dirty="0"/>
            <a:t>Entrevistas com Organizações</a:t>
          </a:r>
        </a:p>
      </dgm:t>
    </dgm:pt>
    <dgm:pt modelId="{FB0E6903-4EE8-4DE5-B9FA-6C0537520328}" type="parTrans" cxnId="{5090B48F-6F55-4807-87FB-098D6DB5E258}">
      <dgm:prSet/>
      <dgm:spPr/>
      <dgm:t>
        <a:bodyPr/>
        <a:lstStyle/>
        <a:p>
          <a:endParaRPr lang="pt-BR" sz="2800"/>
        </a:p>
      </dgm:t>
    </dgm:pt>
    <dgm:pt modelId="{60BF4933-BD15-48E3-BC30-232A549D69BB}" type="sibTrans" cxnId="{5090B48F-6F55-4807-87FB-098D6DB5E258}">
      <dgm:prSet custT="1"/>
      <dgm:spPr/>
      <dgm:t>
        <a:bodyPr/>
        <a:lstStyle/>
        <a:p>
          <a:endParaRPr lang="pt-BR" sz="1200" dirty="0"/>
        </a:p>
      </dgm:t>
    </dgm:pt>
    <dgm:pt modelId="{17756AF9-88A1-4EF6-9386-C021B4EBC9C9}">
      <dgm:prSet phldrT="[Texto]" custT="1"/>
      <dgm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pt-BR" sz="2400" dirty="0"/>
            <a:t>Entrevistas com Especialistas</a:t>
          </a:r>
        </a:p>
      </dgm:t>
    </dgm:pt>
    <dgm:pt modelId="{756EF4FC-0E97-466D-BFC6-D3BB77E83011}" type="parTrans" cxnId="{77BDB45B-6769-4CAA-BBD2-EBB4CD399206}">
      <dgm:prSet/>
      <dgm:spPr/>
      <dgm:t>
        <a:bodyPr/>
        <a:lstStyle/>
        <a:p>
          <a:endParaRPr lang="pt-BR" sz="2800"/>
        </a:p>
      </dgm:t>
    </dgm:pt>
    <dgm:pt modelId="{04B5EC96-03AD-41B9-8312-AEABEFD6F550}" type="sibTrans" cxnId="{77BDB45B-6769-4CAA-BBD2-EBB4CD399206}">
      <dgm:prSet custT="1"/>
      <dgm:spPr/>
      <dgm:t>
        <a:bodyPr/>
        <a:lstStyle/>
        <a:p>
          <a:endParaRPr lang="pt-BR" sz="1200" dirty="0"/>
        </a:p>
      </dgm:t>
    </dgm:pt>
    <dgm:pt modelId="{E31BC8C8-F8AC-48B7-A6CA-C8B98B2BB16D}">
      <dgm:prSet phldrT="[Texto]" custT="1"/>
      <dgm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pt-BR" sz="2400" dirty="0"/>
            <a:t>Entrevistas com Produtores Rurais</a:t>
          </a:r>
        </a:p>
      </dgm:t>
    </dgm:pt>
    <dgm:pt modelId="{FE36A664-AA7D-4BE3-A5D4-590EECF35530}" type="parTrans" cxnId="{1F8C646A-66FE-453F-80DB-750C78BA9D2E}">
      <dgm:prSet/>
      <dgm:spPr/>
      <dgm:t>
        <a:bodyPr/>
        <a:lstStyle/>
        <a:p>
          <a:endParaRPr lang="pt-BR" sz="2800"/>
        </a:p>
      </dgm:t>
    </dgm:pt>
    <dgm:pt modelId="{C9F04AC5-BEC0-421C-8B36-96215A02775B}" type="sibTrans" cxnId="{1F8C646A-66FE-453F-80DB-750C78BA9D2E}">
      <dgm:prSet custT="1"/>
      <dgm:spPr/>
      <dgm:t>
        <a:bodyPr/>
        <a:lstStyle/>
        <a:p>
          <a:endParaRPr lang="pt-BR" sz="1200" dirty="0"/>
        </a:p>
      </dgm:t>
    </dgm:pt>
    <dgm:pt modelId="{435E35F1-F829-4841-B998-F5AC68B0990D}">
      <dgm:prSet phldrT="[Texto]" custT="1"/>
      <dgm:spPr>
        <a:solidFill>
          <a:schemeClr val="bg2">
            <a:lumMod val="5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pt-BR" sz="2400" dirty="0"/>
            <a:t>Entrevistas com Usinas</a:t>
          </a:r>
        </a:p>
      </dgm:t>
    </dgm:pt>
    <dgm:pt modelId="{4EE30543-6B54-4F34-B598-8F7F0143E859}" type="parTrans" cxnId="{DED7C4CA-018F-4B1B-A5A6-0E52DBC46E61}">
      <dgm:prSet/>
      <dgm:spPr/>
      <dgm:t>
        <a:bodyPr/>
        <a:lstStyle/>
        <a:p>
          <a:endParaRPr lang="pt-BR" sz="2800"/>
        </a:p>
      </dgm:t>
    </dgm:pt>
    <dgm:pt modelId="{D075C4DE-1B83-411C-8AF0-B743FFEE4103}" type="sibTrans" cxnId="{DED7C4CA-018F-4B1B-A5A6-0E52DBC46E61}">
      <dgm:prSet custT="1"/>
      <dgm:spPr/>
      <dgm:t>
        <a:bodyPr/>
        <a:lstStyle/>
        <a:p>
          <a:endParaRPr lang="pt-BR" sz="1200" dirty="0"/>
        </a:p>
      </dgm:t>
    </dgm:pt>
    <dgm:pt modelId="{62EE343E-5E99-41FD-BB0A-17A88BC557B9}">
      <dgm:prSet phldrT="[Texto]" custT="1"/>
      <dgm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pt-BR" sz="2400" dirty="0"/>
            <a:t>Workshop com Associações de Produtores</a:t>
          </a:r>
        </a:p>
      </dgm:t>
    </dgm:pt>
    <dgm:pt modelId="{A89187C7-D0A9-4864-88EC-E11CAF8AF85F}" type="parTrans" cxnId="{3BA387CC-35B8-4520-A84F-5FDA8628B596}">
      <dgm:prSet/>
      <dgm:spPr/>
      <dgm:t>
        <a:bodyPr/>
        <a:lstStyle/>
        <a:p>
          <a:endParaRPr lang="pt-BR" sz="2800"/>
        </a:p>
      </dgm:t>
    </dgm:pt>
    <dgm:pt modelId="{5390139F-609F-4C50-8742-C760A1E3A074}" type="sibTrans" cxnId="{3BA387CC-35B8-4520-A84F-5FDA8628B596}">
      <dgm:prSet/>
      <dgm:spPr/>
      <dgm:t>
        <a:bodyPr/>
        <a:lstStyle/>
        <a:p>
          <a:endParaRPr lang="pt-BR" sz="2800"/>
        </a:p>
      </dgm:t>
    </dgm:pt>
    <dgm:pt modelId="{941EB912-7409-4565-B6C2-93D4F726782E}" type="pres">
      <dgm:prSet presAssocID="{74B6FA9C-151D-4C03-8E8B-DA26A10CF4A1}" presName="linearFlow" presStyleCnt="0">
        <dgm:presLayoutVars>
          <dgm:resizeHandles val="exact"/>
        </dgm:presLayoutVars>
      </dgm:prSet>
      <dgm:spPr/>
    </dgm:pt>
    <dgm:pt modelId="{A011E9D2-0937-4970-B0CB-4D147419D88C}" type="pres">
      <dgm:prSet presAssocID="{5B0474FE-F454-4C9F-B4CC-563C9E764E7A}" presName="node" presStyleLbl="node1" presStyleIdx="0" presStyleCnt="6" custScaleX="380931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pt-BR"/>
        </a:p>
      </dgm:t>
    </dgm:pt>
    <dgm:pt modelId="{C3961CA0-B205-420D-8691-6D2F766CD26D}" type="pres">
      <dgm:prSet presAssocID="{7E739279-E646-407E-817F-84F456F8780C}" presName="sibTrans" presStyleLbl="sibTrans2D1" presStyleIdx="0" presStyleCnt="5"/>
      <dgm:spPr/>
      <dgm:t>
        <a:bodyPr/>
        <a:lstStyle/>
        <a:p>
          <a:endParaRPr lang="pt-BR"/>
        </a:p>
      </dgm:t>
    </dgm:pt>
    <dgm:pt modelId="{41446D0F-A70E-4D84-8CFF-152DEF4347A2}" type="pres">
      <dgm:prSet presAssocID="{7E739279-E646-407E-817F-84F456F8780C}" presName="connectorText" presStyleLbl="sibTrans2D1" presStyleIdx="0" presStyleCnt="5"/>
      <dgm:spPr/>
      <dgm:t>
        <a:bodyPr/>
        <a:lstStyle/>
        <a:p>
          <a:endParaRPr lang="pt-BR"/>
        </a:p>
      </dgm:t>
    </dgm:pt>
    <dgm:pt modelId="{2FEAEA46-B773-48BF-A970-5BDA49DC4115}" type="pres">
      <dgm:prSet presAssocID="{765DC038-B232-4B5D-AC1F-0465A02F061F}" presName="node" presStyleLbl="node1" presStyleIdx="1" presStyleCnt="6" custScaleX="380931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pt-BR"/>
        </a:p>
      </dgm:t>
    </dgm:pt>
    <dgm:pt modelId="{C041AFA4-AD46-4531-AFCF-FB4AE7F4C0E0}" type="pres">
      <dgm:prSet presAssocID="{60BF4933-BD15-48E3-BC30-232A549D69BB}" presName="sibTrans" presStyleLbl="sibTrans2D1" presStyleIdx="1" presStyleCnt="5"/>
      <dgm:spPr/>
      <dgm:t>
        <a:bodyPr/>
        <a:lstStyle/>
        <a:p>
          <a:endParaRPr lang="pt-BR"/>
        </a:p>
      </dgm:t>
    </dgm:pt>
    <dgm:pt modelId="{3E475A46-0937-4D28-886E-C83788CF0EDF}" type="pres">
      <dgm:prSet presAssocID="{60BF4933-BD15-48E3-BC30-232A549D69BB}" presName="connectorText" presStyleLbl="sibTrans2D1" presStyleIdx="1" presStyleCnt="5"/>
      <dgm:spPr/>
      <dgm:t>
        <a:bodyPr/>
        <a:lstStyle/>
        <a:p>
          <a:endParaRPr lang="pt-BR"/>
        </a:p>
      </dgm:t>
    </dgm:pt>
    <dgm:pt modelId="{7A06B7ED-55F3-4FB3-9C7E-3FE36FC7BF16}" type="pres">
      <dgm:prSet presAssocID="{17756AF9-88A1-4EF6-9386-C021B4EBC9C9}" presName="node" presStyleLbl="node1" presStyleIdx="2" presStyleCnt="6" custScaleX="380931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pt-BR"/>
        </a:p>
      </dgm:t>
    </dgm:pt>
    <dgm:pt modelId="{90E799F3-03B8-4870-AB15-FFA551E1EC1F}" type="pres">
      <dgm:prSet presAssocID="{04B5EC96-03AD-41B9-8312-AEABEFD6F550}" presName="sibTrans" presStyleLbl="sibTrans2D1" presStyleIdx="2" presStyleCnt="5"/>
      <dgm:spPr/>
      <dgm:t>
        <a:bodyPr/>
        <a:lstStyle/>
        <a:p>
          <a:endParaRPr lang="pt-BR"/>
        </a:p>
      </dgm:t>
    </dgm:pt>
    <dgm:pt modelId="{8EEA2F5E-3551-4D5D-9605-F77D64AB3AD3}" type="pres">
      <dgm:prSet presAssocID="{04B5EC96-03AD-41B9-8312-AEABEFD6F550}" presName="connectorText" presStyleLbl="sibTrans2D1" presStyleIdx="2" presStyleCnt="5"/>
      <dgm:spPr/>
      <dgm:t>
        <a:bodyPr/>
        <a:lstStyle/>
        <a:p>
          <a:endParaRPr lang="pt-BR"/>
        </a:p>
      </dgm:t>
    </dgm:pt>
    <dgm:pt modelId="{81616C2A-862D-452E-9761-5BF875842D02}" type="pres">
      <dgm:prSet presAssocID="{E31BC8C8-F8AC-48B7-A6CA-C8B98B2BB16D}" presName="node" presStyleLbl="node1" presStyleIdx="3" presStyleCnt="6" custScaleX="380931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pt-BR"/>
        </a:p>
      </dgm:t>
    </dgm:pt>
    <dgm:pt modelId="{2484C7A5-87DC-4B31-84BD-ADF5FFA2E252}" type="pres">
      <dgm:prSet presAssocID="{C9F04AC5-BEC0-421C-8B36-96215A02775B}" presName="sibTrans" presStyleLbl="sibTrans2D1" presStyleIdx="3" presStyleCnt="5"/>
      <dgm:spPr/>
      <dgm:t>
        <a:bodyPr/>
        <a:lstStyle/>
        <a:p>
          <a:endParaRPr lang="pt-BR"/>
        </a:p>
      </dgm:t>
    </dgm:pt>
    <dgm:pt modelId="{0CD86AA2-743F-4827-A357-CE3B1CB44BA3}" type="pres">
      <dgm:prSet presAssocID="{C9F04AC5-BEC0-421C-8B36-96215A02775B}" presName="connectorText" presStyleLbl="sibTrans2D1" presStyleIdx="3" presStyleCnt="5"/>
      <dgm:spPr/>
      <dgm:t>
        <a:bodyPr/>
        <a:lstStyle/>
        <a:p>
          <a:endParaRPr lang="pt-BR"/>
        </a:p>
      </dgm:t>
    </dgm:pt>
    <dgm:pt modelId="{AE8E9241-05AA-4D6B-9A6A-C5354FD2C04D}" type="pres">
      <dgm:prSet presAssocID="{435E35F1-F829-4841-B998-F5AC68B0990D}" presName="node" presStyleLbl="node1" presStyleIdx="4" presStyleCnt="6" custScaleX="380931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pt-BR"/>
        </a:p>
      </dgm:t>
    </dgm:pt>
    <dgm:pt modelId="{B1C77C1A-D309-4888-8AFA-ED2ADB5C9B09}" type="pres">
      <dgm:prSet presAssocID="{D075C4DE-1B83-411C-8AF0-B743FFEE4103}" presName="sibTrans" presStyleLbl="sibTrans2D1" presStyleIdx="4" presStyleCnt="5"/>
      <dgm:spPr/>
      <dgm:t>
        <a:bodyPr/>
        <a:lstStyle/>
        <a:p>
          <a:endParaRPr lang="pt-BR"/>
        </a:p>
      </dgm:t>
    </dgm:pt>
    <dgm:pt modelId="{0FAAEDDD-CB05-442A-95A7-1CA4DA186358}" type="pres">
      <dgm:prSet presAssocID="{D075C4DE-1B83-411C-8AF0-B743FFEE4103}" presName="connectorText" presStyleLbl="sibTrans2D1" presStyleIdx="4" presStyleCnt="5"/>
      <dgm:spPr/>
      <dgm:t>
        <a:bodyPr/>
        <a:lstStyle/>
        <a:p>
          <a:endParaRPr lang="pt-BR"/>
        </a:p>
      </dgm:t>
    </dgm:pt>
    <dgm:pt modelId="{A588F70D-C6F1-4AF5-8D3E-7DDBBF4048ED}" type="pres">
      <dgm:prSet presAssocID="{62EE343E-5E99-41FD-BB0A-17A88BC557B9}" presName="node" presStyleLbl="node1" presStyleIdx="5" presStyleCnt="6" custScaleX="380931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pt-BR"/>
        </a:p>
      </dgm:t>
    </dgm:pt>
  </dgm:ptLst>
  <dgm:cxnLst>
    <dgm:cxn modelId="{77BDB45B-6769-4CAA-BBD2-EBB4CD399206}" srcId="{74B6FA9C-151D-4C03-8E8B-DA26A10CF4A1}" destId="{17756AF9-88A1-4EF6-9386-C021B4EBC9C9}" srcOrd="2" destOrd="0" parTransId="{756EF4FC-0E97-466D-BFC6-D3BB77E83011}" sibTransId="{04B5EC96-03AD-41B9-8312-AEABEFD6F550}"/>
    <dgm:cxn modelId="{E84B33F8-A40E-4383-B00D-D57489F013AA}" type="presOf" srcId="{7E739279-E646-407E-817F-84F456F8780C}" destId="{41446D0F-A70E-4D84-8CFF-152DEF4347A2}" srcOrd="1" destOrd="0" presId="urn:microsoft.com/office/officeart/2005/8/layout/process2"/>
    <dgm:cxn modelId="{10E2FC7A-2639-47E3-BF80-C2676BFF8C4D}" type="presOf" srcId="{D075C4DE-1B83-411C-8AF0-B743FFEE4103}" destId="{0FAAEDDD-CB05-442A-95A7-1CA4DA186358}" srcOrd="1" destOrd="0" presId="urn:microsoft.com/office/officeart/2005/8/layout/process2"/>
    <dgm:cxn modelId="{555D81B0-C3D1-4373-BD84-C805735DCEDC}" type="presOf" srcId="{765DC038-B232-4B5D-AC1F-0465A02F061F}" destId="{2FEAEA46-B773-48BF-A970-5BDA49DC4115}" srcOrd="0" destOrd="0" presId="urn:microsoft.com/office/officeart/2005/8/layout/process2"/>
    <dgm:cxn modelId="{DD1CF97E-634A-44D2-AEE6-8E9D3B717036}" type="presOf" srcId="{60BF4933-BD15-48E3-BC30-232A549D69BB}" destId="{3E475A46-0937-4D28-886E-C83788CF0EDF}" srcOrd="1" destOrd="0" presId="urn:microsoft.com/office/officeart/2005/8/layout/process2"/>
    <dgm:cxn modelId="{F1F24C50-EDF1-4703-9E67-C2318C0CE88B}" type="presOf" srcId="{74B6FA9C-151D-4C03-8E8B-DA26A10CF4A1}" destId="{941EB912-7409-4565-B6C2-93D4F726782E}" srcOrd="0" destOrd="0" presId="urn:microsoft.com/office/officeart/2005/8/layout/process2"/>
    <dgm:cxn modelId="{3BA387CC-35B8-4520-A84F-5FDA8628B596}" srcId="{74B6FA9C-151D-4C03-8E8B-DA26A10CF4A1}" destId="{62EE343E-5E99-41FD-BB0A-17A88BC557B9}" srcOrd="5" destOrd="0" parTransId="{A89187C7-D0A9-4864-88EC-E11CAF8AF85F}" sibTransId="{5390139F-609F-4C50-8742-C760A1E3A074}"/>
    <dgm:cxn modelId="{889FB83B-3C39-4208-8241-AC8FC298C201}" type="presOf" srcId="{62EE343E-5E99-41FD-BB0A-17A88BC557B9}" destId="{A588F70D-C6F1-4AF5-8D3E-7DDBBF4048ED}" srcOrd="0" destOrd="0" presId="urn:microsoft.com/office/officeart/2005/8/layout/process2"/>
    <dgm:cxn modelId="{F98F4A6B-8912-4EDD-B49B-FF63F3B795D8}" type="presOf" srcId="{C9F04AC5-BEC0-421C-8B36-96215A02775B}" destId="{0CD86AA2-743F-4827-A357-CE3B1CB44BA3}" srcOrd="1" destOrd="0" presId="urn:microsoft.com/office/officeart/2005/8/layout/process2"/>
    <dgm:cxn modelId="{DEF3EF98-44D1-4CE6-99AA-C9A38983C29A}" type="presOf" srcId="{60BF4933-BD15-48E3-BC30-232A549D69BB}" destId="{C041AFA4-AD46-4531-AFCF-FB4AE7F4C0E0}" srcOrd="0" destOrd="0" presId="urn:microsoft.com/office/officeart/2005/8/layout/process2"/>
    <dgm:cxn modelId="{D6A84B3E-9EFC-4741-82F4-08FE0EFED55A}" type="presOf" srcId="{5B0474FE-F454-4C9F-B4CC-563C9E764E7A}" destId="{A011E9D2-0937-4970-B0CB-4D147419D88C}" srcOrd="0" destOrd="0" presId="urn:microsoft.com/office/officeart/2005/8/layout/process2"/>
    <dgm:cxn modelId="{F04850E4-319B-440D-8F5E-5956BD6212A4}" type="presOf" srcId="{04B5EC96-03AD-41B9-8312-AEABEFD6F550}" destId="{8EEA2F5E-3551-4D5D-9605-F77D64AB3AD3}" srcOrd="1" destOrd="0" presId="urn:microsoft.com/office/officeart/2005/8/layout/process2"/>
    <dgm:cxn modelId="{1F8C646A-66FE-453F-80DB-750C78BA9D2E}" srcId="{74B6FA9C-151D-4C03-8E8B-DA26A10CF4A1}" destId="{E31BC8C8-F8AC-48B7-A6CA-C8B98B2BB16D}" srcOrd="3" destOrd="0" parTransId="{FE36A664-AA7D-4BE3-A5D4-590EECF35530}" sibTransId="{C9F04AC5-BEC0-421C-8B36-96215A02775B}"/>
    <dgm:cxn modelId="{EE7A9088-E4B9-4D29-923C-790B685974F7}" type="presOf" srcId="{17756AF9-88A1-4EF6-9386-C021B4EBC9C9}" destId="{7A06B7ED-55F3-4FB3-9C7E-3FE36FC7BF16}" srcOrd="0" destOrd="0" presId="urn:microsoft.com/office/officeart/2005/8/layout/process2"/>
    <dgm:cxn modelId="{E31D0512-B50C-46F8-A524-94D7FA3DC532}" type="presOf" srcId="{D075C4DE-1B83-411C-8AF0-B743FFEE4103}" destId="{B1C77C1A-D309-4888-8AFA-ED2ADB5C9B09}" srcOrd="0" destOrd="0" presId="urn:microsoft.com/office/officeart/2005/8/layout/process2"/>
    <dgm:cxn modelId="{8B3DEE23-49F7-4A1B-9BA3-6DCBEAFD39D6}" type="presOf" srcId="{7E739279-E646-407E-817F-84F456F8780C}" destId="{C3961CA0-B205-420D-8691-6D2F766CD26D}" srcOrd="0" destOrd="0" presId="urn:microsoft.com/office/officeart/2005/8/layout/process2"/>
    <dgm:cxn modelId="{1D7832CB-B96F-4674-A6E9-20F7514CF96B}" type="presOf" srcId="{E31BC8C8-F8AC-48B7-A6CA-C8B98B2BB16D}" destId="{81616C2A-862D-452E-9761-5BF875842D02}" srcOrd="0" destOrd="0" presId="urn:microsoft.com/office/officeart/2005/8/layout/process2"/>
    <dgm:cxn modelId="{DED7C4CA-018F-4B1B-A5A6-0E52DBC46E61}" srcId="{74B6FA9C-151D-4C03-8E8B-DA26A10CF4A1}" destId="{435E35F1-F829-4841-B998-F5AC68B0990D}" srcOrd="4" destOrd="0" parTransId="{4EE30543-6B54-4F34-B598-8F7F0143E859}" sibTransId="{D075C4DE-1B83-411C-8AF0-B743FFEE4103}"/>
    <dgm:cxn modelId="{5AF613F4-A1DC-4FC4-88C9-6526C2C302EF}" type="presOf" srcId="{C9F04AC5-BEC0-421C-8B36-96215A02775B}" destId="{2484C7A5-87DC-4B31-84BD-ADF5FFA2E252}" srcOrd="0" destOrd="0" presId="urn:microsoft.com/office/officeart/2005/8/layout/process2"/>
    <dgm:cxn modelId="{E38F3634-33A2-4AD4-973C-E687D6B212BE}" type="presOf" srcId="{04B5EC96-03AD-41B9-8312-AEABEFD6F550}" destId="{90E799F3-03B8-4870-AB15-FFA551E1EC1F}" srcOrd="0" destOrd="0" presId="urn:microsoft.com/office/officeart/2005/8/layout/process2"/>
    <dgm:cxn modelId="{78362351-B372-4B0B-9397-CC99795B830D}" srcId="{74B6FA9C-151D-4C03-8E8B-DA26A10CF4A1}" destId="{5B0474FE-F454-4C9F-B4CC-563C9E764E7A}" srcOrd="0" destOrd="0" parTransId="{315D0726-F59C-48AF-9D73-A04F88A6CE7B}" sibTransId="{7E739279-E646-407E-817F-84F456F8780C}"/>
    <dgm:cxn modelId="{37023ACE-4770-4D8B-8D37-B92CDBE2185A}" type="presOf" srcId="{435E35F1-F829-4841-B998-F5AC68B0990D}" destId="{AE8E9241-05AA-4D6B-9A6A-C5354FD2C04D}" srcOrd="0" destOrd="0" presId="urn:microsoft.com/office/officeart/2005/8/layout/process2"/>
    <dgm:cxn modelId="{5090B48F-6F55-4807-87FB-098D6DB5E258}" srcId="{74B6FA9C-151D-4C03-8E8B-DA26A10CF4A1}" destId="{765DC038-B232-4B5D-AC1F-0465A02F061F}" srcOrd="1" destOrd="0" parTransId="{FB0E6903-4EE8-4DE5-B9FA-6C0537520328}" sibTransId="{60BF4933-BD15-48E3-BC30-232A549D69BB}"/>
    <dgm:cxn modelId="{C2BED2B6-79F8-46D8-AA07-CFFDDAD500BE}" type="presParOf" srcId="{941EB912-7409-4565-B6C2-93D4F726782E}" destId="{A011E9D2-0937-4970-B0CB-4D147419D88C}" srcOrd="0" destOrd="0" presId="urn:microsoft.com/office/officeart/2005/8/layout/process2"/>
    <dgm:cxn modelId="{A6AFED8D-1F3F-4670-9EE0-3ACB781BFE45}" type="presParOf" srcId="{941EB912-7409-4565-B6C2-93D4F726782E}" destId="{C3961CA0-B205-420D-8691-6D2F766CD26D}" srcOrd="1" destOrd="0" presId="urn:microsoft.com/office/officeart/2005/8/layout/process2"/>
    <dgm:cxn modelId="{8AA8E326-6FB3-4DB3-A6DB-4B05A5958A38}" type="presParOf" srcId="{C3961CA0-B205-420D-8691-6D2F766CD26D}" destId="{41446D0F-A70E-4D84-8CFF-152DEF4347A2}" srcOrd="0" destOrd="0" presId="urn:microsoft.com/office/officeart/2005/8/layout/process2"/>
    <dgm:cxn modelId="{0A9B4D06-B2E1-4243-BA4F-063C2E714629}" type="presParOf" srcId="{941EB912-7409-4565-B6C2-93D4F726782E}" destId="{2FEAEA46-B773-48BF-A970-5BDA49DC4115}" srcOrd="2" destOrd="0" presId="urn:microsoft.com/office/officeart/2005/8/layout/process2"/>
    <dgm:cxn modelId="{E4D455D6-9C4A-4F0F-A7BE-18563D87E871}" type="presParOf" srcId="{941EB912-7409-4565-B6C2-93D4F726782E}" destId="{C041AFA4-AD46-4531-AFCF-FB4AE7F4C0E0}" srcOrd="3" destOrd="0" presId="urn:microsoft.com/office/officeart/2005/8/layout/process2"/>
    <dgm:cxn modelId="{45A66A64-E107-4A13-A4B4-53CA1F83C3A1}" type="presParOf" srcId="{C041AFA4-AD46-4531-AFCF-FB4AE7F4C0E0}" destId="{3E475A46-0937-4D28-886E-C83788CF0EDF}" srcOrd="0" destOrd="0" presId="urn:microsoft.com/office/officeart/2005/8/layout/process2"/>
    <dgm:cxn modelId="{BF9F95D7-F42D-4400-B443-EDC25450CF91}" type="presParOf" srcId="{941EB912-7409-4565-B6C2-93D4F726782E}" destId="{7A06B7ED-55F3-4FB3-9C7E-3FE36FC7BF16}" srcOrd="4" destOrd="0" presId="urn:microsoft.com/office/officeart/2005/8/layout/process2"/>
    <dgm:cxn modelId="{4FD19638-4261-406F-8352-320A21708619}" type="presParOf" srcId="{941EB912-7409-4565-B6C2-93D4F726782E}" destId="{90E799F3-03B8-4870-AB15-FFA551E1EC1F}" srcOrd="5" destOrd="0" presId="urn:microsoft.com/office/officeart/2005/8/layout/process2"/>
    <dgm:cxn modelId="{75B92D7B-7310-4978-9054-E1414928A93F}" type="presParOf" srcId="{90E799F3-03B8-4870-AB15-FFA551E1EC1F}" destId="{8EEA2F5E-3551-4D5D-9605-F77D64AB3AD3}" srcOrd="0" destOrd="0" presId="urn:microsoft.com/office/officeart/2005/8/layout/process2"/>
    <dgm:cxn modelId="{165335F0-EA74-4212-AD6E-0B1BECCAEF99}" type="presParOf" srcId="{941EB912-7409-4565-B6C2-93D4F726782E}" destId="{81616C2A-862D-452E-9761-5BF875842D02}" srcOrd="6" destOrd="0" presId="urn:microsoft.com/office/officeart/2005/8/layout/process2"/>
    <dgm:cxn modelId="{334B4CF0-B5E9-40C8-80A7-728A6ED566C6}" type="presParOf" srcId="{941EB912-7409-4565-B6C2-93D4F726782E}" destId="{2484C7A5-87DC-4B31-84BD-ADF5FFA2E252}" srcOrd="7" destOrd="0" presId="urn:microsoft.com/office/officeart/2005/8/layout/process2"/>
    <dgm:cxn modelId="{31C5D79A-4E29-411A-A1F7-022ACFD8AE14}" type="presParOf" srcId="{2484C7A5-87DC-4B31-84BD-ADF5FFA2E252}" destId="{0CD86AA2-743F-4827-A357-CE3B1CB44BA3}" srcOrd="0" destOrd="0" presId="urn:microsoft.com/office/officeart/2005/8/layout/process2"/>
    <dgm:cxn modelId="{7C59810D-84A1-4CD4-9984-CC44C9A02035}" type="presParOf" srcId="{941EB912-7409-4565-B6C2-93D4F726782E}" destId="{AE8E9241-05AA-4D6B-9A6A-C5354FD2C04D}" srcOrd="8" destOrd="0" presId="urn:microsoft.com/office/officeart/2005/8/layout/process2"/>
    <dgm:cxn modelId="{38EE830F-D71E-4583-B963-77A25C5773F3}" type="presParOf" srcId="{941EB912-7409-4565-B6C2-93D4F726782E}" destId="{B1C77C1A-D309-4888-8AFA-ED2ADB5C9B09}" srcOrd="9" destOrd="0" presId="urn:microsoft.com/office/officeart/2005/8/layout/process2"/>
    <dgm:cxn modelId="{BD667976-063C-4E18-8F37-C9C6943F72DB}" type="presParOf" srcId="{B1C77C1A-D309-4888-8AFA-ED2ADB5C9B09}" destId="{0FAAEDDD-CB05-442A-95A7-1CA4DA186358}" srcOrd="0" destOrd="0" presId="urn:microsoft.com/office/officeart/2005/8/layout/process2"/>
    <dgm:cxn modelId="{364BAE97-53BC-4E7F-89AC-2CAD78220149}" type="presParOf" srcId="{941EB912-7409-4565-B6C2-93D4F726782E}" destId="{A588F70D-C6F1-4AF5-8D3E-7DDBBF4048ED}" srcOrd="10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11E9D2-0937-4970-B0CB-4D147419D88C}">
      <dsp:nvSpPr>
        <dsp:cNvPr id="0" name=""/>
        <dsp:cNvSpPr/>
      </dsp:nvSpPr>
      <dsp:spPr>
        <a:xfrm>
          <a:off x="0" y="4012"/>
          <a:ext cx="7488832" cy="532662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kern="1200" dirty="0"/>
            <a:t>Desk research</a:t>
          </a:r>
        </a:p>
      </dsp:txBody>
      <dsp:txXfrm>
        <a:off x="0" y="4012"/>
        <a:ext cx="7488832" cy="532662"/>
      </dsp:txXfrm>
    </dsp:sp>
    <dsp:sp modelId="{C3961CA0-B205-420D-8691-6D2F766CD26D}">
      <dsp:nvSpPr>
        <dsp:cNvPr id="0" name=""/>
        <dsp:cNvSpPr/>
      </dsp:nvSpPr>
      <dsp:spPr>
        <a:xfrm rot="5400000">
          <a:off x="3644541" y="549991"/>
          <a:ext cx="199748" cy="239697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200" kern="1200" dirty="0"/>
        </a:p>
      </dsp:txBody>
      <dsp:txXfrm rot="-5400000">
        <a:off x="3672506" y="569965"/>
        <a:ext cx="143819" cy="139824"/>
      </dsp:txXfrm>
    </dsp:sp>
    <dsp:sp modelId="{2FEAEA46-B773-48BF-A970-5BDA49DC4115}">
      <dsp:nvSpPr>
        <dsp:cNvPr id="0" name=""/>
        <dsp:cNvSpPr/>
      </dsp:nvSpPr>
      <dsp:spPr>
        <a:xfrm>
          <a:off x="0" y="803005"/>
          <a:ext cx="7488832" cy="532662"/>
        </a:xfrm>
        <a:prstGeom prst="rect">
          <a:avLst/>
        </a:prstGeom>
        <a:solidFill>
          <a:schemeClr val="tx1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kern="1200" dirty="0"/>
            <a:t>Entrevistas com Organizações</a:t>
          </a:r>
        </a:p>
      </dsp:txBody>
      <dsp:txXfrm>
        <a:off x="0" y="803005"/>
        <a:ext cx="7488832" cy="532662"/>
      </dsp:txXfrm>
    </dsp:sp>
    <dsp:sp modelId="{C041AFA4-AD46-4531-AFCF-FB4AE7F4C0E0}">
      <dsp:nvSpPr>
        <dsp:cNvPr id="0" name=""/>
        <dsp:cNvSpPr/>
      </dsp:nvSpPr>
      <dsp:spPr>
        <a:xfrm rot="5400000">
          <a:off x="3644541" y="1348984"/>
          <a:ext cx="199748" cy="23969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200" kern="1200" dirty="0"/>
        </a:p>
      </dsp:txBody>
      <dsp:txXfrm rot="-5400000">
        <a:off x="3672506" y="1368958"/>
        <a:ext cx="143819" cy="139824"/>
      </dsp:txXfrm>
    </dsp:sp>
    <dsp:sp modelId="{7A06B7ED-55F3-4FB3-9C7E-3FE36FC7BF16}">
      <dsp:nvSpPr>
        <dsp:cNvPr id="0" name=""/>
        <dsp:cNvSpPr/>
      </dsp:nvSpPr>
      <dsp:spPr>
        <a:xfrm>
          <a:off x="0" y="1601998"/>
          <a:ext cx="7488832" cy="532662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kern="1200" dirty="0"/>
            <a:t>Entrevistas com Especialistas</a:t>
          </a:r>
        </a:p>
      </dsp:txBody>
      <dsp:txXfrm>
        <a:off x="0" y="1601998"/>
        <a:ext cx="7488832" cy="532662"/>
      </dsp:txXfrm>
    </dsp:sp>
    <dsp:sp modelId="{90E799F3-03B8-4870-AB15-FFA551E1EC1F}">
      <dsp:nvSpPr>
        <dsp:cNvPr id="0" name=""/>
        <dsp:cNvSpPr/>
      </dsp:nvSpPr>
      <dsp:spPr>
        <a:xfrm rot="5400000">
          <a:off x="3644541" y="2147977"/>
          <a:ext cx="199748" cy="239697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200" kern="1200" dirty="0"/>
        </a:p>
      </dsp:txBody>
      <dsp:txXfrm rot="-5400000">
        <a:off x="3672506" y="2167951"/>
        <a:ext cx="143819" cy="139824"/>
      </dsp:txXfrm>
    </dsp:sp>
    <dsp:sp modelId="{81616C2A-862D-452E-9761-5BF875842D02}">
      <dsp:nvSpPr>
        <dsp:cNvPr id="0" name=""/>
        <dsp:cNvSpPr/>
      </dsp:nvSpPr>
      <dsp:spPr>
        <a:xfrm>
          <a:off x="0" y="2400992"/>
          <a:ext cx="7488832" cy="532662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kern="1200" dirty="0"/>
            <a:t>Entrevistas com Produtores Rurais</a:t>
          </a:r>
        </a:p>
      </dsp:txBody>
      <dsp:txXfrm>
        <a:off x="0" y="2400992"/>
        <a:ext cx="7488832" cy="532662"/>
      </dsp:txXfrm>
    </dsp:sp>
    <dsp:sp modelId="{2484C7A5-87DC-4B31-84BD-ADF5FFA2E252}">
      <dsp:nvSpPr>
        <dsp:cNvPr id="0" name=""/>
        <dsp:cNvSpPr/>
      </dsp:nvSpPr>
      <dsp:spPr>
        <a:xfrm rot="5400000">
          <a:off x="3644541" y="2946970"/>
          <a:ext cx="199748" cy="239697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200" kern="1200" dirty="0"/>
        </a:p>
      </dsp:txBody>
      <dsp:txXfrm rot="-5400000">
        <a:off x="3672506" y="2966944"/>
        <a:ext cx="143819" cy="139824"/>
      </dsp:txXfrm>
    </dsp:sp>
    <dsp:sp modelId="{AE8E9241-05AA-4D6B-9A6A-C5354FD2C04D}">
      <dsp:nvSpPr>
        <dsp:cNvPr id="0" name=""/>
        <dsp:cNvSpPr/>
      </dsp:nvSpPr>
      <dsp:spPr>
        <a:xfrm>
          <a:off x="0" y="3199985"/>
          <a:ext cx="7488832" cy="532662"/>
        </a:xfrm>
        <a:prstGeom prst="rect">
          <a:avLst/>
        </a:prstGeom>
        <a:solidFill>
          <a:schemeClr val="bg2">
            <a:lumMod val="5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kern="1200" dirty="0"/>
            <a:t>Entrevistas com Usinas</a:t>
          </a:r>
        </a:p>
      </dsp:txBody>
      <dsp:txXfrm>
        <a:off x="0" y="3199985"/>
        <a:ext cx="7488832" cy="532662"/>
      </dsp:txXfrm>
    </dsp:sp>
    <dsp:sp modelId="{B1C77C1A-D309-4888-8AFA-ED2ADB5C9B09}">
      <dsp:nvSpPr>
        <dsp:cNvPr id="0" name=""/>
        <dsp:cNvSpPr/>
      </dsp:nvSpPr>
      <dsp:spPr>
        <a:xfrm rot="5400000">
          <a:off x="3644541" y="3745963"/>
          <a:ext cx="199748" cy="239697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200" kern="1200" dirty="0"/>
        </a:p>
      </dsp:txBody>
      <dsp:txXfrm rot="-5400000">
        <a:off x="3672506" y="3765937"/>
        <a:ext cx="143819" cy="139824"/>
      </dsp:txXfrm>
    </dsp:sp>
    <dsp:sp modelId="{A588F70D-C6F1-4AF5-8D3E-7DDBBF4048ED}">
      <dsp:nvSpPr>
        <dsp:cNvPr id="0" name=""/>
        <dsp:cNvSpPr/>
      </dsp:nvSpPr>
      <dsp:spPr>
        <a:xfrm>
          <a:off x="0" y="3998978"/>
          <a:ext cx="7488832" cy="532662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kern="1200" dirty="0"/>
            <a:t>Workshop com Associações de Produtores</a:t>
          </a:r>
        </a:p>
      </dsp:txBody>
      <dsp:txXfrm>
        <a:off x="0" y="3998978"/>
        <a:ext cx="7488832" cy="5326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0A6F06-C6E2-4BB0-B60A-DF0FED9B1DF0}" type="datetimeFigureOut">
              <a:rPr lang="pt-BR" smtClean="0"/>
              <a:pPr/>
              <a:t>13/12/2016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B6E82D-4EB0-4C5C-862D-52F896D69B5A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782869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87390E-A313-4EA5-ADB4-E1B25F2D6765}" type="datetimeFigureOut">
              <a:rPr lang="pt-BR" smtClean="0"/>
              <a:pPr/>
              <a:t>13/12/2016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36361D-63C5-4C7D-8BFA-BF6BE82D75C2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517807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balho exploratório e qualitativo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sk research:  </a:t>
            </a:r>
            <a:r>
              <a:rPr lang="pt-B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xtos, artigos, livros, revistas do setor, artigos científicos e trabalhos técnico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revistas: </a:t>
            </a:r>
            <a:endParaRPr lang="pt-B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revistas com organizações: CEISE, UNICA, ANP, IAC, CTC, ANFAVEA e distribuidores de insumo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revistas com especialistas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revistas com produtores rurais:  caminhos</a:t>
            </a:r>
            <a:r>
              <a:rPr lang="pt-BR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 cana. </a:t>
            </a:r>
            <a:r>
              <a:rPr lang="pt-B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70 cidades e regiões produtor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revistas com Usinas:  5 usinas sucroenergética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kshops: </a:t>
            </a:r>
            <a:r>
              <a:rPr lang="pt-B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sociações de produtores rurais.</a:t>
            </a:r>
            <a:r>
              <a:rPr lang="pt-BR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aminhos da cana</a:t>
            </a:r>
            <a:endParaRPr lang="pt-B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36361D-63C5-4C7D-8BFA-BF6BE82D75C2}" type="slidenum">
              <a:rPr lang="pt-BR" smtClean="0"/>
              <a:pPr/>
              <a:t>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490196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36361D-63C5-4C7D-8BFA-BF6BE82D75C2}" type="slidenum">
              <a:rPr lang="pt-BR" smtClean="0"/>
              <a:pPr/>
              <a:t>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307395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1441971" y="360000"/>
            <a:ext cx="7342030" cy="88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sz="3200"/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idx="1"/>
          </p:nvPr>
        </p:nvSpPr>
        <p:spPr>
          <a:xfrm>
            <a:off x="360000" y="1600200"/>
            <a:ext cx="8424000" cy="44585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56159" y="6426835"/>
            <a:ext cx="2133600" cy="3194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00AAA6FF-DB2F-4698-BF1D-218DD1CBB003}" type="datetimeFigureOut">
              <a:rPr lang="pt-BR" smtClean="0"/>
              <a:pPr/>
              <a:t>13/12/2016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03743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52"/>
            <a:ext cx="8229600" cy="5851525"/>
          </a:xfrm>
        </p:spPr>
        <p:txBody>
          <a:bodyPr/>
          <a:lstStyle/>
          <a:p>
            <a:pPr lvl="0"/>
            <a:r>
              <a:rPr lang="pt-BR"/>
              <a:t>Click to 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  <a:p>
            <a:pPr lvl="3"/>
            <a:r>
              <a:rPr lang="pt-BR"/>
              <a:t>Fourth level</a:t>
            </a:r>
          </a:p>
          <a:p>
            <a:pPr lvl="4"/>
            <a:r>
              <a:rPr lang="pt-BR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/>
          <a:lstStyle/>
          <a:p>
            <a:fld id="{111EA80A-1F4B-4C48-9ECC-5919825313A4}" type="datetimeFigureOut">
              <a:rPr lang="en-US" smtClean="0"/>
              <a:pPr/>
              <a:t>12/13/2016</a:t>
            </a:fld>
            <a:endParaRPr lang="pt-B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44695A-3025-8145-AF55-4E0AF8CEED9C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994597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962147" y="819088"/>
            <a:ext cx="7613214" cy="773999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11" name="Slide Number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324169" y="6505547"/>
            <a:ext cx="251192" cy="127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algn="r">
              <a:defRPr/>
            </a:pPr>
            <a:fld id="{7AA7B471-74A3-4F5F-8955-6C99E2375CAC}" type="slidenum">
              <a:rPr lang="pt-BR" sz="831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rPr>
              <a:pPr algn="r">
                <a:defRPr/>
              </a:pPr>
              <a:t>‹nº›</a:t>
            </a:fld>
            <a:endParaRPr lang="pt-BR" sz="831" dirty="0">
              <a:solidFill>
                <a:prstClr val="black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180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 - Modelo 2 Logos Markestr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sp>
        <p:nvSpPr>
          <p:cNvPr id="16" name="Espaço Reservado para Texto 15"/>
          <p:cNvSpPr>
            <a:spLocks noGrp="1"/>
          </p:cNvSpPr>
          <p:nvPr>
            <p:ph type="body" sz="quarter" idx="13"/>
          </p:nvPr>
        </p:nvSpPr>
        <p:spPr>
          <a:xfrm>
            <a:off x="428598" y="1071546"/>
            <a:ext cx="8286808" cy="4857784"/>
          </a:xfrm>
        </p:spPr>
        <p:txBody>
          <a:bodyPr>
            <a:normAutofit/>
          </a:bodyPr>
          <a:lstStyle>
            <a:lvl1pPr algn="just">
              <a:spcBef>
                <a:spcPts val="0"/>
              </a:spcBef>
              <a:spcAft>
                <a:spcPts val="600"/>
              </a:spcAft>
              <a:defRPr sz="2400">
                <a:latin typeface="+mn-lt"/>
              </a:defRPr>
            </a:lvl1pPr>
            <a:lvl2pPr algn="just">
              <a:spcBef>
                <a:spcPts val="0"/>
              </a:spcBef>
              <a:spcAft>
                <a:spcPts val="600"/>
              </a:spcAft>
              <a:defRPr sz="2000">
                <a:latin typeface="+mn-lt"/>
              </a:defRPr>
            </a:lvl2pPr>
            <a:lvl3pPr algn="just">
              <a:spcBef>
                <a:spcPts val="0"/>
              </a:spcBef>
              <a:spcAft>
                <a:spcPts val="600"/>
              </a:spcAft>
              <a:defRPr sz="1800">
                <a:latin typeface="+mn-lt"/>
              </a:defRPr>
            </a:lvl3pPr>
            <a:lvl4pPr algn="just">
              <a:spcBef>
                <a:spcPts val="0"/>
              </a:spcBef>
              <a:spcAft>
                <a:spcPts val="600"/>
              </a:spcAft>
              <a:defRPr sz="1600">
                <a:latin typeface="+mn-lt"/>
              </a:defRPr>
            </a:lvl4pPr>
            <a:lvl5pPr algn="just">
              <a:spcBef>
                <a:spcPts val="0"/>
              </a:spcBef>
              <a:spcAft>
                <a:spcPts val="600"/>
              </a:spcAft>
              <a:defRPr sz="1600">
                <a:latin typeface="+mn-lt"/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4"/>
          </p:nvPr>
        </p:nvSpPr>
        <p:spPr>
          <a:xfrm>
            <a:off x="785813" y="6072246"/>
            <a:ext cx="104775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5"/>
          </p:nvPr>
        </p:nvSpPr>
        <p:spPr>
          <a:xfrm>
            <a:off x="1928813" y="6072246"/>
            <a:ext cx="142875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6"/>
          </p:nvPr>
        </p:nvSpPr>
        <p:spPr>
          <a:xfrm>
            <a:off x="5857904" y="6064308"/>
            <a:ext cx="500063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0DFC483E-9E29-314E-95A4-1E9C38472E34}" type="slidenum">
              <a:rPr lang="pt-BR" sz="2400">
                <a:solidFill>
                  <a:prstClr val="black"/>
                </a:solidFill>
                <a:latin typeface="Arial" charset="0"/>
                <a:ea typeface="ＭＳ Ｐゴシック" charset="0"/>
                <a:cs typeface="ＭＳ Ｐゴシック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sz="2400">
              <a:solidFill>
                <a:prstClr val="black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30524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9D28448-CE98-43DA-B32A-0C3F7CAEADC0}" type="slidenum">
              <a:rPr>
                <a:solidFill>
                  <a:prstClr val="white"/>
                </a:solidFill>
              </a:rPr>
              <a:pPr/>
              <a:t>‹nº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8611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ção 2 de slide inter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idx="1"/>
          </p:nvPr>
        </p:nvSpPr>
        <p:spPr>
          <a:xfrm>
            <a:off x="323530" y="1600201"/>
            <a:ext cx="8496944" cy="44930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Retângulo 3"/>
          <p:cNvSpPr/>
          <p:nvPr userDrawn="1"/>
        </p:nvSpPr>
        <p:spPr>
          <a:xfrm>
            <a:off x="179514" y="191294"/>
            <a:ext cx="1262458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323530" y="332656"/>
            <a:ext cx="8496944" cy="89800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sz="3600"/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56159" y="6426835"/>
            <a:ext cx="2133600" cy="3194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00AAA6FF-DB2F-4698-BF1D-218DD1CBB003}" type="datetimeFigureOut">
              <a:rPr lang="pt-BR" smtClean="0"/>
              <a:pPr/>
              <a:t>13/12/2016</a:t>
            </a:fld>
            <a:endParaRPr lang="pt-BR" dirty="0"/>
          </a:p>
        </p:txBody>
      </p:sp>
      <p:pic>
        <p:nvPicPr>
          <p:cNvPr id="6" name="Imagem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219" y="6433450"/>
            <a:ext cx="529070" cy="4272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 userDrawn="1"/>
        </p:nvSpPr>
        <p:spPr>
          <a:xfrm>
            <a:off x="-108520" y="6194582"/>
            <a:ext cx="9252520" cy="689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13" name="Imagem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8520" y="-663432"/>
            <a:ext cx="9252520" cy="6858000"/>
          </a:xfrm>
          <a:prstGeom prst="rect">
            <a:avLst/>
          </a:prstGeom>
        </p:spPr>
      </p:pic>
      <p:sp>
        <p:nvSpPr>
          <p:cNvPr id="16" name="Título 1"/>
          <p:cNvSpPr txBox="1">
            <a:spLocks/>
          </p:cNvSpPr>
          <p:nvPr userDrawn="1"/>
        </p:nvSpPr>
        <p:spPr>
          <a:xfrm>
            <a:off x="3647804" y="1854290"/>
            <a:ext cx="5220000" cy="90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 b="1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20" name="Espaço Reservado para Título 1"/>
          <p:cNvSpPr>
            <a:spLocks noGrp="1"/>
          </p:cNvSpPr>
          <p:nvPr>
            <p:ph type="title"/>
          </p:nvPr>
        </p:nvSpPr>
        <p:spPr>
          <a:xfrm>
            <a:off x="360001" y="3153672"/>
            <a:ext cx="5364128" cy="238002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sp>
        <p:nvSpPr>
          <p:cNvPr id="21" name="Espaço Reservado para Conteúdo 1"/>
          <p:cNvSpPr>
            <a:spLocks noGrp="1"/>
          </p:cNvSpPr>
          <p:nvPr>
            <p:ph sz="half" idx="2"/>
          </p:nvPr>
        </p:nvSpPr>
        <p:spPr>
          <a:xfrm>
            <a:off x="360001" y="5805278"/>
            <a:ext cx="5364128" cy="686321"/>
          </a:xfrm>
        </p:spPr>
        <p:txBody>
          <a:bodyPr anchor="b">
            <a:norm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endParaRPr lang="pt-BR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53772" y="-2760"/>
            <a:ext cx="9267575" cy="7104167"/>
          </a:xfrm>
          <a:prstGeom prst="rect">
            <a:avLst/>
          </a:prstGeom>
        </p:spPr>
      </p:pic>
      <p:sp>
        <p:nvSpPr>
          <p:cNvPr id="2" name="Retângulo 1"/>
          <p:cNvSpPr/>
          <p:nvPr userDrawn="1"/>
        </p:nvSpPr>
        <p:spPr>
          <a:xfrm>
            <a:off x="-1" y="6194582"/>
            <a:ext cx="9144000" cy="689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6" name="Título 1"/>
          <p:cNvSpPr txBox="1">
            <a:spLocks/>
          </p:cNvSpPr>
          <p:nvPr userDrawn="1"/>
        </p:nvSpPr>
        <p:spPr>
          <a:xfrm>
            <a:off x="3647804" y="1854290"/>
            <a:ext cx="5220000" cy="90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600" b="1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20" name="Espaço Reservado para Título 1"/>
          <p:cNvSpPr>
            <a:spLocks noGrp="1"/>
          </p:cNvSpPr>
          <p:nvPr>
            <p:ph type="title"/>
          </p:nvPr>
        </p:nvSpPr>
        <p:spPr>
          <a:xfrm>
            <a:off x="360000" y="4365104"/>
            <a:ext cx="8316456" cy="145662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sp>
        <p:nvSpPr>
          <p:cNvPr id="21" name="Espaço Reservado para Conteúdo 1"/>
          <p:cNvSpPr>
            <a:spLocks noGrp="1"/>
          </p:cNvSpPr>
          <p:nvPr>
            <p:ph sz="half" idx="2"/>
          </p:nvPr>
        </p:nvSpPr>
        <p:spPr>
          <a:xfrm>
            <a:off x="360000" y="5976930"/>
            <a:ext cx="8316456" cy="514669"/>
          </a:xfrm>
        </p:spPr>
        <p:txBody>
          <a:bodyPr anchor="b">
            <a:norm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488742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m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2878" y="132"/>
            <a:ext cx="9203139" cy="6874854"/>
          </a:xfrm>
          <a:prstGeom prst="rect">
            <a:avLst/>
          </a:prstGeom>
        </p:spPr>
      </p:pic>
      <p:sp>
        <p:nvSpPr>
          <p:cNvPr id="7" name="Espaço Reservado para Conteúdo 3"/>
          <p:cNvSpPr>
            <a:spLocks noGrp="1"/>
          </p:cNvSpPr>
          <p:nvPr>
            <p:ph sz="half" idx="2" hasCustomPrompt="1"/>
          </p:nvPr>
        </p:nvSpPr>
        <p:spPr>
          <a:xfrm>
            <a:off x="432120" y="5711621"/>
            <a:ext cx="5220000" cy="3600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pt-BR" dirty="0"/>
              <a:t>Autor: </a:t>
            </a:r>
            <a:r>
              <a:rPr lang="pt-BR" dirty="0" err="1"/>
              <a:t>Calibri</a:t>
            </a:r>
            <a:r>
              <a:rPr lang="pt-BR" dirty="0"/>
              <a:t> corpo, regular, 14, branco</a:t>
            </a:r>
          </a:p>
        </p:txBody>
      </p:sp>
      <p:sp>
        <p:nvSpPr>
          <p:cNvPr id="9" name="Espaço Reservado para Conteúdo 5"/>
          <p:cNvSpPr>
            <a:spLocks noGrp="1"/>
          </p:cNvSpPr>
          <p:nvPr>
            <p:ph sz="quarter" idx="4" hasCustomPrompt="1"/>
          </p:nvPr>
        </p:nvSpPr>
        <p:spPr>
          <a:xfrm>
            <a:off x="432120" y="6317871"/>
            <a:ext cx="2520000" cy="3600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pt-BR" dirty="0"/>
              <a:t>Data: XX/XX/XX</a:t>
            </a:r>
          </a:p>
        </p:txBody>
      </p:sp>
      <p:sp>
        <p:nvSpPr>
          <p:cNvPr id="11" name="Espaço Reservado para Texto 2"/>
          <p:cNvSpPr>
            <a:spLocks noGrp="1"/>
          </p:cNvSpPr>
          <p:nvPr>
            <p:ph type="body" idx="1" hasCustomPrompt="1"/>
          </p:nvPr>
        </p:nvSpPr>
        <p:spPr>
          <a:xfrm>
            <a:off x="432120" y="4817299"/>
            <a:ext cx="5220000" cy="64807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dirty="0"/>
              <a:t>Subtítulo em até duas linhas (</a:t>
            </a:r>
            <a:r>
              <a:rPr lang="pt-BR" dirty="0" err="1"/>
              <a:t>Calibri</a:t>
            </a:r>
            <a:r>
              <a:rPr lang="pt-BR" dirty="0"/>
              <a:t> corpo, regular, 18, branco)</a:t>
            </a:r>
          </a:p>
        </p:txBody>
      </p:sp>
      <p:sp>
        <p:nvSpPr>
          <p:cNvPr id="12" name="Espaço Reservado para Texto 2"/>
          <p:cNvSpPr>
            <a:spLocks noGrp="1"/>
          </p:cNvSpPr>
          <p:nvPr>
            <p:ph type="body" idx="14" hasCustomPrompt="1"/>
          </p:nvPr>
        </p:nvSpPr>
        <p:spPr>
          <a:xfrm>
            <a:off x="432120" y="2636912"/>
            <a:ext cx="5220000" cy="19171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pt-BR" sz="2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ítulo em até duas linhas (</a:t>
            </a:r>
            <a:r>
              <a:rPr kumimoji="0" lang="pt-BR" sz="2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alibri</a:t>
            </a:r>
            <a:r>
              <a:rPr kumimoji="0" lang="pt-BR" sz="2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corpo, negrito, 26, branco)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ário ou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 userDrawn="1"/>
        </p:nvSpPr>
        <p:spPr>
          <a:xfrm>
            <a:off x="-9118" y="1556792"/>
            <a:ext cx="9153118" cy="530120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7" name="Retângulo 16"/>
          <p:cNvSpPr/>
          <p:nvPr userDrawn="1"/>
        </p:nvSpPr>
        <p:spPr>
          <a:xfrm>
            <a:off x="-9118" y="62344"/>
            <a:ext cx="9153118" cy="1524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360000" y="368654"/>
            <a:ext cx="6732280" cy="855537"/>
          </a:xfrm>
        </p:spPr>
        <p:txBody>
          <a:bodyPr anchor="b">
            <a:normAutofit/>
          </a:bodyPr>
          <a:lstStyle>
            <a:lvl1pPr algn="l">
              <a:defRPr sz="3200" b="1">
                <a:latin typeface="+mn-lt"/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cxnSp>
        <p:nvCxnSpPr>
          <p:cNvPr id="11" name="Conector reto 10"/>
          <p:cNvCxnSpPr/>
          <p:nvPr userDrawn="1"/>
        </p:nvCxnSpPr>
        <p:spPr>
          <a:xfrm>
            <a:off x="701766" y="2216499"/>
            <a:ext cx="7722234" cy="0"/>
          </a:xfrm>
          <a:prstGeom prst="line">
            <a:avLst/>
          </a:prstGeom>
          <a:ln w="12700">
            <a:solidFill>
              <a:srgbClr val="FDB9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m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4249" y="186698"/>
            <a:ext cx="2555776" cy="1437856"/>
          </a:xfrm>
          <a:prstGeom prst="rect">
            <a:avLst/>
          </a:prstGeom>
        </p:spPr>
      </p:pic>
      <p:cxnSp>
        <p:nvCxnSpPr>
          <p:cNvPr id="26" name="Conector reto 25"/>
          <p:cNvCxnSpPr/>
          <p:nvPr userDrawn="1"/>
        </p:nvCxnSpPr>
        <p:spPr>
          <a:xfrm>
            <a:off x="691754" y="6171010"/>
            <a:ext cx="7722234" cy="0"/>
          </a:xfrm>
          <a:prstGeom prst="line">
            <a:avLst/>
          </a:prstGeom>
          <a:ln w="12700">
            <a:solidFill>
              <a:srgbClr val="FDB9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Espaço Reservado para Texto 30"/>
          <p:cNvSpPr>
            <a:spLocks noGrp="1"/>
          </p:cNvSpPr>
          <p:nvPr>
            <p:ph type="body" sz="quarter" idx="10"/>
          </p:nvPr>
        </p:nvSpPr>
        <p:spPr>
          <a:xfrm>
            <a:off x="701677" y="2492375"/>
            <a:ext cx="7721600" cy="3384550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Editar estilos de texto Mestre</a:t>
            </a:r>
          </a:p>
          <a:p>
            <a:pPr lvl="1"/>
            <a:endParaRPr lang="pt-BR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ão de capítu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/>
          <p:cNvSpPr/>
          <p:nvPr userDrawn="1"/>
        </p:nvSpPr>
        <p:spPr>
          <a:xfrm>
            <a:off x="-9118" y="2780928"/>
            <a:ext cx="9153118" cy="407707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" name="Retângulo 2"/>
          <p:cNvSpPr/>
          <p:nvPr userDrawn="1"/>
        </p:nvSpPr>
        <p:spPr>
          <a:xfrm>
            <a:off x="0" y="-22448"/>
            <a:ext cx="9153118" cy="27809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12" name="Conector reto 11"/>
          <p:cNvCxnSpPr/>
          <p:nvPr userDrawn="1"/>
        </p:nvCxnSpPr>
        <p:spPr>
          <a:xfrm>
            <a:off x="720000" y="3500928"/>
            <a:ext cx="7721818" cy="0"/>
          </a:xfrm>
          <a:prstGeom prst="line">
            <a:avLst/>
          </a:prstGeom>
          <a:ln w="12700">
            <a:solidFill>
              <a:srgbClr val="FDB9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m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4249" y="186698"/>
            <a:ext cx="2555776" cy="1437856"/>
          </a:xfrm>
          <a:prstGeom prst="rect">
            <a:avLst/>
          </a:prstGeom>
        </p:spPr>
      </p:pic>
      <p:cxnSp>
        <p:nvCxnSpPr>
          <p:cNvPr id="17" name="Conector reto 16"/>
          <p:cNvCxnSpPr/>
          <p:nvPr userDrawn="1"/>
        </p:nvCxnSpPr>
        <p:spPr>
          <a:xfrm>
            <a:off x="748389" y="5819448"/>
            <a:ext cx="7721818" cy="0"/>
          </a:xfrm>
          <a:prstGeom prst="line">
            <a:avLst/>
          </a:prstGeom>
          <a:ln w="12700">
            <a:solidFill>
              <a:srgbClr val="FDB9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ço Reservado para Texto 20"/>
          <p:cNvSpPr>
            <a:spLocks noGrp="1"/>
          </p:cNvSpPr>
          <p:nvPr>
            <p:ph type="body" sz="quarter" idx="10"/>
          </p:nvPr>
        </p:nvSpPr>
        <p:spPr>
          <a:xfrm>
            <a:off x="748395" y="3716338"/>
            <a:ext cx="7693937" cy="1944910"/>
          </a:xfrm>
        </p:spPr>
        <p:txBody>
          <a:bodyPr anchor="ctr">
            <a:normAutofit/>
          </a:bodyPr>
          <a:lstStyle>
            <a:lvl1pPr marL="0" indent="0">
              <a:buNone/>
              <a:defRPr sz="4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pt-BR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inatura 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 userDrawn="1"/>
        </p:nvSpPr>
        <p:spPr>
          <a:xfrm>
            <a:off x="-177885" y="-27384"/>
            <a:ext cx="9340937" cy="688778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0199" y="5013190"/>
            <a:ext cx="2899902" cy="1631459"/>
          </a:xfrm>
          <a:prstGeom prst="rect">
            <a:avLst/>
          </a:prstGeom>
        </p:spPr>
      </p:pic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827095" y="692164"/>
            <a:ext cx="7489825" cy="3960813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Retângulo de cantos arredondados 7"/>
          <p:cNvSpPr/>
          <p:nvPr userDrawn="1"/>
        </p:nvSpPr>
        <p:spPr>
          <a:xfrm>
            <a:off x="3419872" y="980728"/>
            <a:ext cx="7128792" cy="4608512"/>
          </a:xfrm>
          <a:prstGeom prst="roundRect">
            <a:avLst>
              <a:gd name="adj" fmla="val 5123"/>
            </a:avLst>
          </a:prstGeom>
          <a:solidFill>
            <a:schemeClr val="bg1">
              <a:alpha val="75000"/>
            </a:schemeClr>
          </a:solidFill>
          <a:ln w="3175">
            <a:solidFill>
              <a:srgbClr val="FFBD1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8" name="Título 1"/>
          <p:cNvSpPr>
            <a:spLocks noGrp="1"/>
          </p:cNvSpPr>
          <p:nvPr>
            <p:ph type="ctrTitle" hasCustomPrompt="1"/>
          </p:nvPr>
        </p:nvSpPr>
        <p:spPr>
          <a:xfrm>
            <a:off x="3851920" y="1628800"/>
            <a:ext cx="4678288" cy="1440160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t-BR" sz="4000" b="1" i="0" u="none" kern="1200" dirty="0">
                <a:solidFill>
                  <a:srgbClr val="00382E"/>
                </a:solidFill>
                <a:latin typeface="Garamond" panose="02020404030301010803" pitchFamily="18" charset="0"/>
                <a:ea typeface="+mj-ea"/>
                <a:cs typeface="+mj-cs"/>
              </a:defRPr>
            </a:lvl1pPr>
          </a:lstStyle>
          <a:p>
            <a:r>
              <a:rPr lang="pt-BR" dirty="0"/>
              <a:t>Insira aqui o título</a:t>
            </a:r>
          </a:p>
        </p:txBody>
      </p:sp>
      <p:sp>
        <p:nvSpPr>
          <p:cNvPr id="9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851922" y="3140968"/>
            <a:ext cx="4680520" cy="576064"/>
          </a:xfrm>
          <a:prstGeom prst="rect">
            <a:avLst/>
          </a:prstGeom>
        </p:spPr>
        <p:txBody>
          <a:bodyPr anchor="b"/>
          <a:lstStyle>
            <a:lvl1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anose="020B0604020202020204" pitchFamily="34" charset="0"/>
              <a:buNone/>
              <a:defRPr lang="pt-BR" sz="1800" b="1" kern="1200" dirty="0">
                <a:solidFill>
                  <a:srgbClr val="58595B"/>
                </a:solidFill>
                <a:latin typeface="Garamond" panose="02020404030301010803" pitchFamily="18" charset="0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/>
              <a:t>Insira aqui o subtítulo</a:t>
            </a:r>
          </a:p>
        </p:txBody>
      </p:sp>
      <p:sp>
        <p:nvSpPr>
          <p:cNvPr id="11" name="Espaço Reservado para Texto 33"/>
          <p:cNvSpPr>
            <a:spLocks noGrp="1"/>
          </p:cNvSpPr>
          <p:nvPr>
            <p:ph type="body" sz="quarter" idx="10" hasCustomPrompt="1"/>
          </p:nvPr>
        </p:nvSpPr>
        <p:spPr>
          <a:xfrm>
            <a:off x="3851922" y="4077072"/>
            <a:ext cx="4680520" cy="288032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lang="pt-BR" sz="1400" b="1" i="1" smtClean="0">
                <a:solidFill>
                  <a:srgbClr val="002B24"/>
                </a:solidFill>
                <a:latin typeface="Garamond" panose="02020404030301010803" pitchFamily="18" charset="0"/>
              </a:defRPr>
            </a:lvl1pPr>
            <a:lvl2pPr>
              <a:defRPr lang="pt-BR" sz="1400" smtClean="0">
                <a:solidFill>
                  <a:schemeClr val="bg1"/>
                </a:solidFill>
                <a:latin typeface="Garamond" panose="02020404030301010803" pitchFamily="18" charset="0"/>
              </a:defRPr>
            </a:lvl2pPr>
            <a:lvl3pPr>
              <a:defRPr lang="pt-BR" sz="1400" smtClean="0">
                <a:solidFill>
                  <a:schemeClr val="bg1"/>
                </a:solidFill>
                <a:latin typeface="Garamond" panose="02020404030301010803" pitchFamily="18" charset="0"/>
              </a:defRPr>
            </a:lvl3pPr>
            <a:lvl4pPr>
              <a:defRPr lang="pt-BR" sz="1400" smtClean="0">
                <a:solidFill>
                  <a:schemeClr val="bg1"/>
                </a:solidFill>
                <a:latin typeface="Garamond" panose="02020404030301010803" pitchFamily="18" charset="0"/>
              </a:defRPr>
            </a:lvl4pPr>
            <a:lvl5pPr>
              <a:defRPr lang="pt-BR" sz="1400">
                <a:solidFill>
                  <a:schemeClr val="bg1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pt-BR" dirty="0"/>
              <a:t>Insira aqui o autor</a:t>
            </a:r>
          </a:p>
        </p:txBody>
      </p:sp>
      <p:sp>
        <p:nvSpPr>
          <p:cNvPr id="13" name="Retângulo de cantos arredondados 10"/>
          <p:cNvSpPr/>
          <p:nvPr userDrawn="1"/>
        </p:nvSpPr>
        <p:spPr>
          <a:xfrm>
            <a:off x="3419872" y="5671308"/>
            <a:ext cx="6120680" cy="1502108"/>
          </a:xfrm>
          <a:prstGeom prst="roundRect">
            <a:avLst/>
          </a:prstGeom>
          <a:solidFill>
            <a:schemeClr val="bg1">
              <a:alpha val="75000"/>
            </a:schemeClr>
          </a:solidFill>
          <a:ln w="3175">
            <a:solidFill>
              <a:srgbClr val="FFBD1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14" name="Imagem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19874" y="5692907"/>
            <a:ext cx="1884136" cy="1059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2611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tângulo 19"/>
          <p:cNvSpPr/>
          <p:nvPr userDrawn="1"/>
        </p:nvSpPr>
        <p:spPr>
          <a:xfrm>
            <a:off x="-7305" y="6432318"/>
            <a:ext cx="9151307" cy="436143"/>
          </a:xfrm>
          <a:prstGeom prst="rect">
            <a:avLst/>
          </a:prstGeom>
          <a:solidFill>
            <a:srgbClr val="022C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1441971" y="360000"/>
            <a:ext cx="7342030" cy="87066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pt-BR" dirty="0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347628" y="1600207"/>
            <a:ext cx="8434147" cy="44504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48707" y="6490665"/>
            <a:ext cx="2133600" cy="3194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00AAA6FF-DB2F-4698-BF1D-218DD1CBB003}" type="datetimeFigureOut">
              <a:rPr lang="pt-BR" smtClean="0"/>
              <a:pPr/>
              <a:t>13/12/2016</a:t>
            </a:fld>
            <a:endParaRPr lang="pt-BR" dirty="0"/>
          </a:p>
        </p:txBody>
      </p:sp>
      <p:sp>
        <p:nvSpPr>
          <p:cNvPr id="10" name="Título 1"/>
          <p:cNvSpPr txBox="1">
            <a:spLocks/>
          </p:cNvSpPr>
          <p:nvPr userDrawn="1"/>
        </p:nvSpPr>
        <p:spPr>
          <a:xfrm>
            <a:off x="1547665" y="188640"/>
            <a:ext cx="7200800" cy="104202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 b="1" baseline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pic>
        <p:nvPicPr>
          <p:cNvPr id="13" name="Picture 2" descr="C:\Users\ideat\Dropbox\Arquivos Renata\Clientes Renata\Markestrat\Novo template Markestrat PPT\quadradoM.png"/>
          <p:cNvPicPr>
            <a:picLocks noChangeAspect="1" noChangeArrowheads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7293" y="261881"/>
            <a:ext cx="1094349" cy="1078901"/>
          </a:xfrm>
          <a:prstGeom prst="rect">
            <a:avLst/>
          </a:prstGeom>
          <a:noFill/>
        </p:spPr>
      </p:pic>
      <p:sp>
        <p:nvSpPr>
          <p:cNvPr id="15" name="Slide Number Placeholder 4"/>
          <p:cNvSpPr txBox="1">
            <a:spLocks/>
          </p:cNvSpPr>
          <p:nvPr userDrawn="1"/>
        </p:nvSpPr>
        <p:spPr>
          <a:xfrm>
            <a:off x="395536" y="6539606"/>
            <a:ext cx="432048" cy="27377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9D28448-CE98-43DA-B32A-0C3F7CAEADC0}" type="slidenum">
              <a:rPr lang="pt-BR" sz="1000" smtClean="0">
                <a:solidFill>
                  <a:prstClr val="white"/>
                </a:solidFill>
              </a:rPr>
              <a:pPr/>
              <a:t>‹nº›</a:t>
            </a:fld>
            <a:endParaRPr lang="pt-BR" sz="1000" dirty="0">
              <a:solidFill>
                <a:prstClr val="white"/>
              </a:solidFill>
            </a:endParaRPr>
          </a:p>
        </p:txBody>
      </p:sp>
      <p:pic>
        <p:nvPicPr>
          <p:cNvPr id="21" name="Imagem 20"/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6338" y="6309334"/>
            <a:ext cx="1273293" cy="71634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0074" y="6494982"/>
            <a:ext cx="394256" cy="31839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4" r:id="rId2"/>
    <p:sldLayoutId id="2147483660" r:id="rId3"/>
    <p:sldLayoutId id="2147483668" r:id="rId4"/>
    <p:sldLayoutId id="2147483666" r:id="rId5"/>
    <p:sldLayoutId id="2147483665" r:id="rId6"/>
    <p:sldLayoutId id="2147483661" r:id="rId7"/>
    <p:sldLayoutId id="2147483662" r:id="rId8"/>
    <p:sldLayoutId id="2147483669" r:id="rId9"/>
    <p:sldLayoutId id="2147483676" r:id="rId10"/>
    <p:sldLayoutId id="2147483678" r:id="rId11"/>
    <p:sldLayoutId id="2147483684" r:id="rId12"/>
    <p:sldLayoutId id="2147483685" r:id="rId13"/>
    <p:sldLayoutId id="2147483686" r:id="rId14"/>
  </p:sldLayoutIdLst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rgbClr val="022C24"/>
          </a:solidFill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0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296962" y="1684657"/>
            <a:ext cx="5832648" cy="1440160"/>
          </a:xfrm>
        </p:spPr>
        <p:txBody>
          <a:bodyPr/>
          <a:lstStyle/>
          <a:p>
            <a:r>
              <a:rPr lang="bg-BG" sz="3600" dirty="0">
                <a:latin typeface="+mn-lt"/>
              </a:rPr>
              <a:t/>
            </a:r>
            <a:br>
              <a:rPr lang="bg-BG" sz="3600" dirty="0">
                <a:latin typeface="+mn-lt"/>
              </a:rPr>
            </a:br>
            <a:r>
              <a:rPr lang="bg-BG" sz="3600" dirty="0">
                <a:latin typeface="+mn-lt"/>
              </a:rPr>
              <a:t/>
            </a:r>
            <a:br>
              <a:rPr lang="bg-BG" sz="3600" dirty="0">
                <a:latin typeface="+mn-lt"/>
              </a:rPr>
            </a:br>
            <a:r>
              <a:rPr lang="pt-BR" sz="3600" dirty="0" smtClean="0">
                <a:latin typeface="+mn-lt"/>
              </a:rPr>
              <a:t>Desafios </a:t>
            </a:r>
            <a:r>
              <a:rPr lang="pt-BR" sz="3600" dirty="0">
                <a:latin typeface="+mn-lt"/>
              </a:rPr>
              <a:t>para o Desenvolvimento do Setor Sucroenergético</a:t>
            </a:r>
            <a:endParaRPr lang="pt-BR" sz="1400" dirty="0">
              <a:solidFill>
                <a:schemeClr val="accent5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4361171" y="3236533"/>
            <a:ext cx="4680520" cy="2295532"/>
          </a:xfrm>
        </p:spPr>
        <p:txBody>
          <a:bodyPr>
            <a:noAutofit/>
          </a:bodyPr>
          <a:lstStyle/>
          <a:p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Prof. Dr. Marcos Fava Neves</a:t>
            </a:r>
          </a:p>
          <a:p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Titular da FEA/USP Ribeirão Preto</a:t>
            </a:r>
          </a:p>
          <a:p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Purdue University (desde 2013)</a:t>
            </a:r>
          </a:p>
          <a:p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Universidade de Buenos Aires (desde 2006)</a:t>
            </a:r>
          </a:p>
          <a:p>
            <a:endParaRPr lang="pt-BR" dirty="0">
              <a:solidFill>
                <a:schemeClr val="bg2">
                  <a:lumMod val="25000"/>
                </a:schemeClr>
              </a:solidFill>
              <a:latin typeface="+mn-lt"/>
            </a:endParaRPr>
          </a:p>
          <a:p>
            <a:endParaRPr lang="pt-BR" dirty="0">
              <a:solidFill>
                <a:schemeClr val="bg2">
                  <a:lumMod val="25000"/>
                </a:schemeClr>
              </a:solidFill>
              <a:latin typeface="+mn-lt"/>
            </a:endParaRPr>
          </a:p>
          <a:p>
            <a:endParaRPr lang="pt-BR" dirty="0">
              <a:solidFill>
                <a:schemeClr val="bg2">
                  <a:lumMod val="25000"/>
                </a:schemeClr>
              </a:solidFill>
              <a:latin typeface="+mn-lt"/>
            </a:endParaRP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0"/>
          </p:nvPr>
        </p:nvSpPr>
        <p:spPr>
          <a:xfrm>
            <a:off x="3296962" y="5119282"/>
            <a:ext cx="5760640" cy="316251"/>
          </a:xfrm>
        </p:spPr>
        <p:txBody>
          <a:bodyPr>
            <a:noAutofit/>
          </a:bodyPr>
          <a:lstStyle/>
          <a:p>
            <a:r>
              <a:rPr lang="pt-BR" sz="1800" i="0" dirty="0">
                <a:latin typeface="+mn-lt"/>
                <a:cs typeface="Cambria"/>
              </a:rPr>
              <a:t>Brasília</a:t>
            </a:r>
            <a:r>
              <a:rPr lang="bg-BG" sz="1800" i="0" dirty="0">
                <a:latin typeface="+mn-lt"/>
                <a:cs typeface="Cambria"/>
              </a:rPr>
              <a:t>, </a:t>
            </a:r>
            <a:r>
              <a:rPr lang="bg-BG" sz="1800" i="0" dirty="0" smtClean="0">
                <a:latin typeface="+mn-lt"/>
                <a:cs typeface="Cambria"/>
              </a:rPr>
              <a:t>13/1</a:t>
            </a:r>
            <a:r>
              <a:rPr lang="bg-BG" sz="1800" i="0" dirty="0">
                <a:latin typeface="+mn-lt"/>
                <a:cs typeface="Cambria"/>
              </a:rPr>
              <a:t>2</a:t>
            </a:r>
            <a:r>
              <a:rPr lang="bg-BG" sz="1800" i="0" dirty="0" smtClean="0">
                <a:latin typeface="+mn-lt"/>
                <a:cs typeface="Cambria"/>
              </a:rPr>
              <a:t>/</a:t>
            </a:r>
            <a:r>
              <a:rPr lang="bg-BG" sz="1800" i="0" dirty="0">
                <a:latin typeface="+mn-lt"/>
                <a:cs typeface="Cambria"/>
              </a:rPr>
              <a:t>16</a:t>
            </a:r>
            <a:endParaRPr lang="en-US" sz="1800" i="0" dirty="0">
              <a:latin typeface="+mn-lt"/>
              <a:cs typeface="Cambria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4055" y="5805278"/>
            <a:ext cx="1050323" cy="848221"/>
          </a:xfrm>
          <a:prstGeom prst="rect">
            <a:avLst/>
          </a:prstGeom>
        </p:spPr>
      </p:pic>
      <p:pic>
        <p:nvPicPr>
          <p:cNvPr id="6" name="Picture 5" descr="Screen Shot 2013-10-03 at 1.06.38 PM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7282" y="6165318"/>
            <a:ext cx="2062840" cy="488181"/>
          </a:xfrm>
          <a:prstGeom prst="rect">
            <a:avLst/>
          </a:prstGeom>
        </p:spPr>
      </p:pic>
      <p:pic>
        <p:nvPicPr>
          <p:cNvPr id="7" name="Picture 7" descr="Screen Shot 2015-09-01 at 12.58.54 PM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3031" y="5920179"/>
            <a:ext cx="713926" cy="720080"/>
          </a:xfrm>
          <a:prstGeom prst="rect">
            <a:avLst/>
          </a:prstGeom>
        </p:spPr>
      </p:pic>
      <p:sp>
        <p:nvSpPr>
          <p:cNvPr id="9" name="Espaço Reservado para Texto 3"/>
          <p:cNvSpPr txBox="1">
            <a:spLocks/>
          </p:cNvSpPr>
          <p:nvPr/>
        </p:nvSpPr>
        <p:spPr>
          <a:xfrm>
            <a:off x="-221628" y="6525344"/>
            <a:ext cx="2705396" cy="432048"/>
          </a:xfrm>
          <a:prstGeom prst="rect">
            <a:avLst/>
          </a:prstGeom>
        </p:spPr>
        <p:txBody>
          <a:bodyPr/>
          <a:lstStyle>
            <a:lvl1pPr marL="0" indent="0" algn="r" defTabSz="914400" rtl="0" eaLnBrk="1" latinLnBrk="0" hangingPunct="1">
              <a:spcBef>
                <a:spcPct val="20000"/>
              </a:spcBef>
              <a:buFontTx/>
              <a:buNone/>
              <a:defRPr lang="pt-BR" sz="1400" b="1" i="1" kern="1200" smtClean="0">
                <a:solidFill>
                  <a:srgbClr val="002B24"/>
                </a:solidFill>
                <a:latin typeface="Garamond" panose="02020404030301010803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pt-BR" sz="1400" kern="1200" smtClean="0">
                <a:solidFill>
                  <a:schemeClr val="bg1"/>
                </a:solidFill>
                <a:latin typeface="Garamond" panose="02020404030301010803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pt-BR" sz="1400" kern="1200" smtClean="0">
                <a:solidFill>
                  <a:schemeClr val="bg1"/>
                </a:solidFill>
                <a:latin typeface="Garamond" panose="02020404030301010803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pt-BR" sz="1400" kern="1200" smtClean="0">
                <a:solidFill>
                  <a:schemeClr val="bg1"/>
                </a:solidFill>
                <a:latin typeface="Garamond" panose="02020404030301010803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pt-BR" sz="1400" kern="1200">
                <a:solidFill>
                  <a:schemeClr val="bg1"/>
                </a:solidFill>
                <a:latin typeface="Garamond" panose="02020404030301010803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i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alestra </a:t>
            </a:r>
            <a:r>
              <a:rPr lang="bg-BG" sz="1200" i="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904</a:t>
            </a:r>
            <a:r>
              <a:rPr lang="pt-BR" sz="1200" i="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</a:t>
            </a:r>
            <a:r>
              <a:rPr lang="pt-BR" sz="1200" i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(BRA </a:t>
            </a:r>
            <a:r>
              <a:rPr lang="bg-BG" sz="1200" i="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675</a:t>
            </a:r>
            <a:r>
              <a:rPr lang="pt-BR" sz="1200" i="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/</a:t>
            </a:r>
            <a:r>
              <a:rPr lang="pt-BR" sz="1200" i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XT </a:t>
            </a:r>
            <a:r>
              <a:rPr lang="pt-BR" sz="1200" i="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2</a:t>
            </a:r>
            <a:r>
              <a:rPr lang="bg-BG" sz="1200" i="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29</a:t>
            </a:r>
            <a:r>
              <a:rPr lang="pt-BR" sz="1200" i="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)</a:t>
            </a:r>
            <a:endParaRPr lang="pt-BR" sz="1200" i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96021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Estimativa do </a:t>
            </a:r>
            <a:r>
              <a:rPr lang="pt-BR" dirty="0"/>
              <a:t>mercado</a:t>
            </a:r>
            <a:r>
              <a:rPr lang="en-US" dirty="0"/>
              <a:t> mundial de açúcar 2030/31</a:t>
            </a:r>
            <a:endParaRPr lang="pt-BR" dirty="0"/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2449108"/>
              </p:ext>
            </p:extLst>
          </p:nvPr>
        </p:nvGraphicFramePr>
        <p:xfrm>
          <a:off x="332645" y="1340768"/>
          <a:ext cx="8478711" cy="266517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070462">
                  <a:extLst>
                    <a:ext uri="{9D8B030D-6E8A-4147-A177-3AD203B41FA5}">
                      <a16:colId xmlns:a16="http://schemas.microsoft.com/office/drawing/2014/main" xmlns="" val="2620293114"/>
                    </a:ext>
                  </a:extLst>
                </a:gridCol>
                <a:gridCol w="1136083">
                  <a:extLst>
                    <a:ext uri="{9D8B030D-6E8A-4147-A177-3AD203B41FA5}">
                      <a16:colId xmlns:a16="http://schemas.microsoft.com/office/drawing/2014/main" xmlns="" val="3230242588"/>
                    </a:ext>
                  </a:extLst>
                </a:gridCol>
                <a:gridCol w="1136083">
                  <a:extLst>
                    <a:ext uri="{9D8B030D-6E8A-4147-A177-3AD203B41FA5}">
                      <a16:colId xmlns:a16="http://schemas.microsoft.com/office/drawing/2014/main" xmlns="" val="31819550"/>
                    </a:ext>
                  </a:extLst>
                </a:gridCol>
                <a:gridCol w="1136083">
                  <a:extLst>
                    <a:ext uri="{9D8B030D-6E8A-4147-A177-3AD203B41FA5}">
                      <a16:colId xmlns:a16="http://schemas.microsoft.com/office/drawing/2014/main" xmlns="" val="2754486567"/>
                    </a:ext>
                  </a:extLst>
                </a:gridCol>
              </a:tblGrid>
              <a:tr h="283845">
                <a:tc>
                  <a:txBody>
                    <a:bodyPr/>
                    <a:lstStyle/>
                    <a:p>
                      <a:pPr algn="ctr" fontAlgn="b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2015/16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2/23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9/30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03405966"/>
                  </a:ext>
                </a:extLst>
              </a:tr>
              <a:tr h="28384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Consumo Mundial de Açúcar (mil toneladas)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 170.556 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193.641 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219.850 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56743616"/>
                  </a:ext>
                </a:extLst>
              </a:tr>
              <a:tr h="28384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Preço (US$/ton)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400 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360 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360 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26752203"/>
                  </a:ext>
                </a:extLst>
              </a:tr>
              <a:tr h="28384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Mercado Total (US$ bilhões)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68,22 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69,71 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79,15 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80714226"/>
                  </a:ext>
                </a:extLst>
              </a:tr>
              <a:tr h="28384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Exportações Mundiais Totais (mil toneladas)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55.000 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69.222 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86.286 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81397050"/>
                  </a:ext>
                </a:extLst>
              </a:tr>
              <a:tr h="28384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Percentual das Exportações em Re</a:t>
                      </a:r>
                      <a:r>
                        <a:rPr lang="bg-BG" sz="1800" b="1" u="none" strike="noStrike" dirty="0">
                          <a:effectLst/>
                        </a:rPr>
                        <a:t>l/</a:t>
                      </a:r>
                      <a:r>
                        <a:rPr lang="pt-BR" sz="1800" b="1" u="none" strike="noStrike" dirty="0">
                          <a:effectLst/>
                        </a:rPr>
                        <a:t> ao Consumo (%)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32%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36%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39%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79686900"/>
                  </a:ext>
                </a:extLst>
              </a:tr>
              <a:tr h="28384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Exportações do Brasil (mil toneladas)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24.400 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34.101 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46.736 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66218504"/>
                  </a:ext>
                </a:extLst>
              </a:tr>
              <a:tr h="3391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Participação do Brasil nas Exportações Mundiais (%)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44%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49%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54%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22530722"/>
                  </a:ext>
                </a:extLst>
              </a:tr>
              <a:tr h="3391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Estimativa de </a:t>
                      </a:r>
                      <a:r>
                        <a:rPr lang="bg-BG" sz="1800" b="1" u="none" strike="noStrike" dirty="0">
                          <a:effectLst/>
                        </a:rPr>
                        <a:t>Exportações</a:t>
                      </a:r>
                      <a:r>
                        <a:rPr lang="pt-BR" sz="1800" b="1" u="none" strike="noStrike" dirty="0">
                          <a:effectLst/>
                        </a:rPr>
                        <a:t> pelo Brasil (US$ bilhões)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9,76 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12,28 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effectLst/>
                        </a:rPr>
                        <a:t>16,82 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48182758"/>
                  </a:ext>
                </a:extLst>
              </a:tr>
            </a:tbl>
          </a:graphicData>
        </a:graphic>
      </p:graphicFrame>
      <p:sp>
        <p:nvSpPr>
          <p:cNvPr id="5" name="CaixaDeTexto 4"/>
          <p:cNvSpPr txBox="1"/>
          <p:nvPr/>
        </p:nvSpPr>
        <p:spPr>
          <a:xfrm>
            <a:off x="107505" y="4293096"/>
            <a:ext cx="3386762" cy="203132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pt-BR" sz="1400" dirty="0"/>
              <a:t>Crescimento médio do consumo: 1,83% a.a.</a:t>
            </a:r>
          </a:p>
          <a:p>
            <a:r>
              <a:rPr lang="pt-BR" sz="1400" dirty="0"/>
              <a:t>Preço: USD 400/t até 2017/18 e USD 360/t até 2030</a:t>
            </a:r>
          </a:p>
          <a:p>
            <a:r>
              <a:rPr lang="pt-BR" sz="1400" dirty="0"/>
              <a:t>Crescimento exportações mundiais: 0,5% pontos percentuais ao ano</a:t>
            </a:r>
          </a:p>
          <a:p>
            <a:r>
              <a:rPr lang="pt-BR" sz="1400" dirty="0"/>
              <a:t>Crescimento participação Brasileira exportações: 0,7% pontos percentuais ao ano</a:t>
            </a:r>
          </a:p>
          <a:p>
            <a:endParaRPr lang="pt-BR" sz="1400" dirty="0"/>
          </a:p>
        </p:txBody>
      </p:sp>
      <p:graphicFrame>
        <p:nvGraphicFramePr>
          <p:cNvPr id="6" name="Gráfico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74955797"/>
              </p:ext>
            </p:extLst>
          </p:nvPr>
        </p:nvGraphicFramePr>
        <p:xfrm>
          <a:off x="3275856" y="4006254"/>
          <a:ext cx="5688632" cy="24635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971600" y="6520974"/>
            <a:ext cx="3167604" cy="276999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pt-BR" sz="1200" dirty="0">
                <a:solidFill>
                  <a:schemeClr val="bg1"/>
                </a:solidFill>
              </a:rPr>
              <a:t>Fonte: Elaborado por Markestrat a partir de ISO</a:t>
            </a:r>
          </a:p>
        </p:txBody>
      </p:sp>
    </p:spTree>
    <p:extLst>
      <p:ext uri="{BB962C8B-B14F-4D97-AF65-F5344CB8AC3E}">
        <p14:creationId xmlns:p14="http://schemas.microsoft.com/office/powerpoint/2010/main" val="1106991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9"/>
          <p:cNvSpPr/>
          <p:nvPr/>
        </p:nvSpPr>
        <p:spPr>
          <a:xfrm>
            <a:off x="1662375" y="2472183"/>
            <a:ext cx="7484785" cy="3960440"/>
          </a:xfrm>
          <a:custGeom>
            <a:avLst/>
            <a:gdLst>
              <a:gd name="connsiteX0" fmla="*/ 0 w 3765837"/>
              <a:gd name="connsiteY0" fmla="*/ 0 h 5331668"/>
              <a:gd name="connsiteX1" fmla="*/ 308040 w 3765837"/>
              <a:gd name="connsiteY1" fmla="*/ 0 h 5331668"/>
              <a:gd name="connsiteX2" fmla="*/ 3765837 w 3765837"/>
              <a:gd name="connsiteY2" fmla="*/ 3457797 h 5331668"/>
              <a:gd name="connsiteX3" fmla="*/ 3765837 w 3765837"/>
              <a:gd name="connsiteY3" fmla="*/ 5331668 h 5331668"/>
              <a:gd name="connsiteX4" fmla="*/ 0 w 3765837"/>
              <a:gd name="connsiteY4" fmla="*/ 5331668 h 5331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65837" h="5331668">
                <a:moveTo>
                  <a:pt x="0" y="0"/>
                </a:moveTo>
                <a:lnTo>
                  <a:pt x="308040" y="0"/>
                </a:lnTo>
                <a:lnTo>
                  <a:pt x="3765837" y="3457797"/>
                </a:lnTo>
                <a:lnTo>
                  <a:pt x="3765837" y="5331668"/>
                </a:lnTo>
                <a:lnTo>
                  <a:pt x="0" y="5331668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Freeform 4"/>
          <p:cNvSpPr/>
          <p:nvPr/>
        </p:nvSpPr>
        <p:spPr>
          <a:xfrm>
            <a:off x="311931" y="2395806"/>
            <a:ext cx="2996181" cy="4036817"/>
          </a:xfrm>
          <a:custGeom>
            <a:avLst/>
            <a:gdLst>
              <a:gd name="connsiteX0" fmla="*/ 323604 w 4522224"/>
              <a:gd name="connsiteY0" fmla="*/ 6062148 h 6062148"/>
              <a:gd name="connsiteX1" fmla="*/ 376944 w 4522224"/>
              <a:gd name="connsiteY1" fmla="*/ 5924988 h 6062148"/>
              <a:gd name="connsiteX2" fmla="*/ 437904 w 4522224"/>
              <a:gd name="connsiteY2" fmla="*/ 5780208 h 6062148"/>
              <a:gd name="connsiteX3" fmla="*/ 468384 w 4522224"/>
              <a:gd name="connsiteY3" fmla="*/ 5665908 h 6062148"/>
              <a:gd name="connsiteX4" fmla="*/ 506484 w 4522224"/>
              <a:gd name="connsiteY4" fmla="*/ 5612568 h 6062148"/>
              <a:gd name="connsiteX5" fmla="*/ 536964 w 4522224"/>
              <a:gd name="connsiteY5" fmla="*/ 5521128 h 6062148"/>
              <a:gd name="connsiteX6" fmla="*/ 559824 w 4522224"/>
              <a:gd name="connsiteY6" fmla="*/ 5353488 h 6062148"/>
              <a:gd name="connsiteX7" fmla="*/ 597924 w 4522224"/>
              <a:gd name="connsiteY7" fmla="*/ 5223948 h 6062148"/>
              <a:gd name="connsiteX8" fmla="*/ 620784 w 4522224"/>
              <a:gd name="connsiteY8" fmla="*/ 5178228 h 6062148"/>
              <a:gd name="connsiteX9" fmla="*/ 696984 w 4522224"/>
              <a:gd name="connsiteY9" fmla="*/ 5071548 h 6062148"/>
              <a:gd name="connsiteX10" fmla="*/ 712224 w 4522224"/>
              <a:gd name="connsiteY10" fmla="*/ 5063928 h 6062148"/>
              <a:gd name="connsiteX11" fmla="*/ 704604 w 4522224"/>
              <a:gd name="connsiteY11" fmla="*/ 5025828 h 6062148"/>
              <a:gd name="connsiteX12" fmla="*/ 696984 w 4522224"/>
              <a:gd name="connsiteY12" fmla="*/ 5002968 h 6062148"/>
              <a:gd name="connsiteX13" fmla="*/ 963684 w 4522224"/>
              <a:gd name="connsiteY13" fmla="*/ 4682928 h 6062148"/>
              <a:gd name="connsiteX14" fmla="*/ 956064 w 4522224"/>
              <a:gd name="connsiteY14" fmla="*/ 4644828 h 6062148"/>
              <a:gd name="connsiteX15" fmla="*/ 1337064 w 4522224"/>
              <a:gd name="connsiteY15" fmla="*/ 4172388 h 6062148"/>
              <a:gd name="connsiteX16" fmla="*/ 1253244 w 4522224"/>
              <a:gd name="connsiteY16" fmla="*/ 4012368 h 6062148"/>
              <a:gd name="connsiteX17" fmla="*/ 1199904 w 4522224"/>
              <a:gd name="connsiteY17" fmla="*/ 3928548 h 6062148"/>
              <a:gd name="connsiteX18" fmla="*/ 1169424 w 4522224"/>
              <a:gd name="connsiteY18" fmla="*/ 3768528 h 6062148"/>
              <a:gd name="connsiteX19" fmla="*/ 1146564 w 4522224"/>
              <a:gd name="connsiteY19" fmla="*/ 3699948 h 6062148"/>
              <a:gd name="connsiteX20" fmla="*/ 1138944 w 4522224"/>
              <a:gd name="connsiteY20" fmla="*/ 3669468 h 6062148"/>
              <a:gd name="connsiteX21" fmla="*/ 1062744 w 4522224"/>
              <a:gd name="connsiteY21" fmla="*/ 3661848 h 6062148"/>
              <a:gd name="connsiteX22" fmla="*/ 933204 w 4522224"/>
              <a:gd name="connsiteY22" fmla="*/ 3669468 h 6062148"/>
              <a:gd name="connsiteX23" fmla="*/ 826524 w 4522224"/>
              <a:gd name="connsiteY23" fmla="*/ 3692328 h 6062148"/>
              <a:gd name="connsiteX24" fmla="*/ 605544 w 4522224"/>
              <a:gd name="connsiteY24" fmla="*/ 3738048 h 6062148"/>
              <a:gd name="connsiteX25" fmla="*/ 384564 w 4522224"/>
              <a:gd name="connsiteY25" fmla="*/ 3638988 h 6062148"/>
              <a:gd name="connsiteX26" fmla="*/ 376944 w 4522224"/>
              <a:gd name="connsiteY26" fmla="*/ 3326568 h 6062148"/>
              <a:gd name="connsiteX27" fmla="*/ 415044 w 4522224"/>
              <a:gd name="connsiteY27" fmla="*/ 3250368 h 6062148"/>
              <a:gd name="connsiteX28" fmla="*/ 415044 w 4522224"/>
              <a:gd name="connsiteY28" fmla="*/ 3227508 h 6062148"/>
              <a:gd name="connsiteX29" fmla="*/ 384564 w 4522224"/>
              <a:gd name="connsiteY29" fmla="*/ 3166548 h 6062148"/>
              <a:gd name="connsiteX30" fmla="*/ 361704 w 4522224"/>
              <a:gd name="connsiteY30" fmla="*/ 3166548 h 6062148"/>
              <a:gd name="connsiteX31" fmla="*/ 346464 w 4522224"/>
              <a:gd name="connsiteY31" fmla="*/ 3105588 h 6062148"/>
              <a:gd name="connsiteX32" fmla="*/ 392184 w 4522224"/>
              <a:gd name="connsiteY32" fmla="*/ 3021768 h 6062148"/>
              <a:gd name="connsiteX33" fmla="*/ 483624 w 4522224"/>
              <a:gd name="connsiteY33" fmla="*/ 2998908 h 6062148"/>
              <a:gd name="connsiteX34" fmla="*/ 460764 w 4522224"/>
              <a:gd name="connsiteY34" fmla="*/ 2930328 h 6062148"/>
              <a:gd name="connsiteX35" fmla="*/ 430284 w 4522224"/>
              <a:gd name="connsiteY35" fmla="*/ 2930328 h 6062148"/>
              <a:gd name="connsiteX36" fmla="*/ 384564 w 4522224"/>
              <a:gd name="connsiteY36" fmla="*/ 2930328 h 6062148"/>
              <a:gd name="connsiteX37" fmla="*/ 300744 w 4522224"/>
              <a:gd name="connsiteY37" fmla="*/ 2876988 h 6062148"/>
              <a:gd name="connsiteX38" fmla="*/ 315984 w 4522224"/>
              <a:gd name="connsiteY38" fmla="*/ 2846508 h 6062148"/>
              <a:gd name="connsiteX39" fmla="*/ 323604 w 4522224"/>
              <a:gd name="connsiteY39" fmla="*/ 2793168 h 6062148"/>
              <a:gd name="connsiteX40" fmla="*/ 308364 w 4522224"/>
              <a:gd name="connsiteY40" fmla="*/ 2732208 h 6062148"/>
              <a:gd name="connsiteX41" fmla="*/ 262644 w 4522224"/>
              <a:gd name="connsiteY41" fmla="*/ 2671248 h 6062148"/>
              <a:gd name="connsiteX42" fmla="*/ 171204 w 4522224"/>
              <a:gd name="connsiteY42" fmla="*/ 2656008 h 6062148"/>
              <a:gd name="connsiteX43" fmla="*/ 49284 w 4522224"/>
              <a:gd name="connsiteY43" fmla="*/ 2610288 h 6062148"/>
              <a:gd name="connsiteX44" fmla="*/ 18804 w 4522224"/>
              <a:gd name="connsiteY44" fmla="*/ 2556948 h 6062148"/>
              <a:gd name="connsiteX45" fmla="*/ 3564 w 4522224"/>
              <a:gd name="connsiteY45" fmla="*/ 2488368 h 6062148"/>
              <a:gd name="connsiteX46" fmla="*/ 87384 w 4522224"/>
              <a:gd name="connsiteY46" fmla="*/ 2335968 h 6062148"/>
              <a:gd name="connsiteX47" fmla="*/ 216924 w 4522224"/>
              <a:gd name="connsiteY47" fmla="*/ 2175948 h 6062148"/>
              <a:gd name="connsiteX48" fmla="*/ 277884 w 4522224"/>
              <a:gd name="connsiteY48" fmla="*/ 2084508 h 6062148"/>
              <a:gd name="connsiteX49" fmla="*/ 323604 w 4522224"/>
              <a:gd name="connsiteY49" fmla="*/ 1977828 h 6062148"/>
              <a:gd name="connsiteX50" fmla="*/ 354084 w 4522224"/>
              <a:gd name="connsiteY50" fmla="*/ 1871148 h 6062148"/>
              <a:gd name="connsiteX51" fmla="*/ 369324 w 4522224"/>
              <a:gd name="connsiteY51" fmla="*/ 1810188 h 6062148"/>
              <a:gd name="connsiteX52" fmla="*/ 338844 w 4522224"/>
              <a:gd name="connsiteY52" fmla="*/ 1756848 h 6062148"/>
              <a:gd name="connsiteX53" fmla="*/ 323604 w 4522224"/>
              <a:gd name="connsiteY53" fmla="*/ 1680648 h 6062148"/>
              <a:gd name="connsiteX54" fmla="*/ 407424 w 4522224"/>
              <a:gd name="connsiteY54" fmla="*/ 1474908 h 6062148"/>
              <a:gd name="connsiteX55" fmla="*/ 437904 w 4522224"/>
              <a:gd name="connsiteY55" fmla="*/ 1307268 h 6062148"/>
              <a:gd name="connsiteX56" fmla="*/ 460764 w 4522224"/>
              <a:gd name="connsiteY56" fmla="*/ 1192968 h 6062148"/>
              <a:gd name="connsiteX57" fmla="*/ 498864 w 4522224"/>
              <a:gd name="connsiteY57" fmla="*/ 1055808 h 6062148"/>
              <a:gd name="connsiteX58" fmla="*/ 552204 w 4522224"/>
              <a:gd name="connsiteY58" fmla="*/ 888168 h 6062148"/>
              <a:gd name="connsiteX59" fmla="*/ 498864 w 4522224"/>
              <a:gd name="connsiteY59" fmla="*/ 888168 h 6062148"/>
              <a:gd name="connsiteX60" fmla="*/ 407424 w 4522224"/>
              <a:gd name="connsiteY60" fmla="*/ 834828 h 6062148"/>
              <a:gd name="connsiteX61" fmla="*/ 323604 w 4522224"/>
              <a:gd name="connsiteY61" fmla="*/ 789108 h 6062148"/>
              <a:gd name="connsiteX62" fmla="*/ 255024 w 4522224"/>
              <a:gd name="connsiteY62" fmla="*/ 773868 h 6062148"/>
              <a:gd name="connsiteX63" fmla="*/ 209304 w 4522224"/>
              <a:gd name="connsiteY63" fmla="*/ 751008 h 6062148"/>
              <a:gd name="connsiteX64" fmla="*/ 255024 w 4522224"/>
              <a:gd name="connsiteY64" fmla="*/ 674808 h 6062148"/>
              <a:gd name="connsiteX65" fmla="*/ 369324 w 4522224"/>
              <a:gd name="connsiteY65" fmla="*/ 606228 h 6062148"/>
              <a:gd name="connsiteX66" fmla="*/ 552204 w 4522224"/>
              <a:gd name="connsiteY66" fmla="*/ 507168 h 6062148"/>
              <a:gd name="connsiteX67" fmla="*/ 651264 w 4522224"/>
              <a:gd name="connsiteY67" fmla="*/ 423348 h 6062148"/>
              <a:gd name="connsiteX68" fmla="*/ 887484 w 4522224"/>
              <a:gd name="connsiteY68" fmla="*/ 232848 h 6062148"/>
              <a:gd name="connsiteX69" fmla="*/ 1169424 w 4522224"/>
              <a:gd name="connsiteY69" fmla="*/ 80448 h 6062148"/>
              <a:gd name="connsiteX70" fmla="*/ 1588524 w 4522224"/>
              <a:gd name="connsiteY70" fmla="*/ 11868 h 6062148"/>
              <a:gd name="connsiteX71" fmla="*/ 1939044 w 4522224"/>
              <a:gd name="connsiteY71" fmla="*/ 4248 h 6062148"/>
              <a:gd name="connsiteX72" fmla="*/ 2167644 w 4522224"/>
              <a:gd name="connsiteY72" fmla="*/ 4248 h 6062148"/>
              <a:gd name="connsiteX73" fmla="*/ 2388624 w 4522224"/>
              <a:gd name="connsiteY73" fmla="*/ 57588 h 6062148"/>
              <a:gd name="connsiteX74" fmla="*/ 2662944 w 4522224"/>
              <a:gd name="connsiteY74" fmla="*/ 133788 h 6062148"/>
              <a:gd name="connsiteX75" fmla="*/ 2815344 w 4522224"/>
              <a:gd name="connsiteY75" fmla="*/ 202368 h 6062148"/>
              <a:gd name="connsiteX76" fmla="*/ 3097284 w 4522224"/>
              <a:gd name="connsiteY76" fmla="*/ 400488 h 6062148"/>
              <a:gd name="connsiteX77" fmla="*/ 3280164 w 4522224"/>
              <a:gd name="connsiteY77" fmla="*/ 651948 h 6062148"/>
              <a:gd name="connsiteX78" fmla="*/ 3402084 w 4522224"/>
              <a:gd name="connsiteY78" fmla="*/ 918648 h 6062148"/>
              <a:gd name="connsiteX79" fmla="*/ 3470664 w 4522224"/>
              <a:gd name="connsiteY79" fmla="*/ 1238688 h 6062148"/>
              <a:gd name="connsiteX80" fmla="*/ 3501144 w 4522224"/>
              <a:gd name="connsiteY80" fmla="*/ 1543488 h 6062148"/>
              <a:gd name="connsiteX81" fmla="*/ 3501144 w 4522224"/>
              <a:gd name="connsiteY81" fmla="*/ 1962588 h 6062148"/>
              <a:gd name="connsiteX82" fmla="*/ 3333504 w 4522224"/>
              <a:gd name="connsiteY82" fmla="*/ 2305488 h 6062148"/>
              <a:gd name="connsiteX83" fmla="*/ 3249684 w 4522224"/>
              <a:gd name="connsiteY83" fmla="*/ 2473128 h 6062148"/>
              <a:gd name="connsiteX84" fmla="*/ 3127764 w 4522224"/>
              <a:gd name="connsiteY84" fmla="*/ 2663628 h 6062148"/>
              <a:gd name="connsiteX85" fmla="*/ 3066804 w 4522224"/>
              <a:gd name="connsiteY85" fmla="*/ 2838888 h 6062148"/>
              <a:gd name="connsiteX86" fmla="*/ 3059184 w 4522224"/>
              <a:gd name="connsiteY86" fmla="*/ 2915088 h 6062148"/>
              <a:gd name="connsiteX87" fmla="*/ 3013464 w 4522224"/>
              <a:gd name="connsiteY87" fmla="*/ 3014148 h 6062148"/>
              <a:gd name="connsiteX88" fmla="*/ 2975364 w 4522224"/>
              <a:gd name="connsiteY88" fmla="*/ 3082728 h 6062148"/>
              <a:gd name="connsiteX89" fmla="*/ 2952504 w 4522224"/>
              <a:gd name="connsiteY89" fmla="*/ 3120828 h 6062148"/>
              <a:gd name="connsiteX90" fmla="*/ 2952504 w 4522224"/>
              <a:gd name="connsiteY90" fmla="*/ 3555168 h 6062148"/>
              <a:gd name="connsiteX91" fmla="*/ 2952504 w 4522224"/>
              <a:gd name="connsiteY91" fmla="*/ 3562788 h 6062148"/>
              <a:gd name="connsiteX92" fmla="*/ 3005844 w 4522224"/>
              <a:gd name="connsiteY92" fmla="*/ 3539928 h 6062148"/>
              <a:gd name="connsiteX93" fmla="*/ 3059184 w 4522224"/>
              <a:gd name="connsiteY93" fmla="*/ 3562788 h 6062148"/>
              <a:gd name="connsiteX94" fmla="*/ 3104904 w 4522224"/>
              <a:gd name="connsiteY94" fmla="*/ 3570408 h 6062148"/>
              <a:gd name="connsiteX95" fmla="*/ 3135384 w 4522224"/>
              <a:gd name="connsiteY95" fmla="*/ 3631368 h 6062148"/>
              <a:gd name="connsiteX96" fmla="*/ 3112524 w 4522224"/>
              <a:gd name="connsiteY96" fmla="*/ 3738048 h 6062148"/>
              <a:gd name="connsiteX97" fmla="*/ 3120144 w 4522224"/>
              <a:gd name="connsiteY97" fmla="*/ 4103808 h 6062148"/>
              <a:gd name="connsiteX98" fmla="*/ 3112524 w 4522224"/>
              <a:gd name="connsiteY98" fmla="*/ 4119048 h 6062148"/>
              <a:gd name="connsiteX99" fmla="*/ 3158244 w 4522224"/>
              <a:gd name="connsiteY99" fmla="*/ 4157148 h 6062148"/>
              <a:gd name="connsiteX100" fmla="*/ 3196344 w 4522224"/>
              <a:gd name="connsiteY100" fmla="*/ 4164768 h 6062148"/>
              <a:gd name="connsiteX101" fmla="*/ 3226824 w 4522224"/>
              <a:gd name="connsiteY101" fmla="*/ 4172388 h 6062148"/>
              <a:gd name="connsiteX102" fmla="*/ 3280164 w 4522224"/>
              <a:gd name="connsiteY102" fmla="*/ 4294308 h 6062148"/>
              <a:gd name="connsiteX103" fmla="*/ 3295404 w 4522224"/>
              <a:gd name="connsiteY103" fmla="*/ 4347648 h 6062148"/>
              <a:gd name="connsiteX104" fmla="*/ 3325884 w 4522224"/>
              <a:gd name="connsiteY104" fmla="*/ 4408608 h 6062148"/>
              <a:gd name="connsiteX105" fmla="*/ 3546864 w 4522224"/>
              <a:gd name="connsiteY105" fmla="*/ 4644828 h 6062148"/>
              <a:gd name="connsiteX106" fmla="*/ 3882144 w 4522224"/>
              <a:gd name="connsiteY106" fmla="*/ 5025828 h 6062148"/>
              <a:gd name="connsiteX107" fmla="*/ 4095504 w 4522224"/>
              <a:gd name="connsiteY107" fmla="*/ 5300148 h 6062148"/>
              <a:gd name="connsiteX108" fmla="*/ 4362204 w 4522224"/>
              <a:gd name="connsiteY108" fmla="*/ 5726868 h 6062148"/>
              <a:gd name="connsiteX109" fmla="*/ 4522224 w 4522224"/>
              <a:gd name="connsiteY109" fmla="*/ 6046908 h 6062148"/>
              <a:gd name="connsiteX0" fmla="*/ 323604 w 4522224"/>
              <a:gd name="connsiteY0" fmla="*/ 6062148 h 6062148"/>
              <a:gd name="connsiteX1" fmla="*/ 376944 w 4522224"/>
              <a:gd name="connsiteY1" fmla="*/ 5924988 h 6062148"/>
              <a:gd name="connsiteX2" fmla="*/ 437904 w 4522224"/>
              <a:gd name="connsiteY2" fmla="*/ 5780208 h 6062148"/>
              <a:gd name="connsiteX3" fmla="*/ 468384 w 4522224"/>
              <a:gd name="connsiteY3" fmla="*/ 5665908 h 6062148"/>
              <a:gd name="connsiteX4" fmla="*/ 506484 w 4522224"/>
              <a:gd name="connsiteY4" fmla="*/ 5612568 h 6062148"/>
              <a:gd name="connsiteX5" fmla="*/ 536964 w 4522224"/>
              <a:gd name="connsiteY5" fmla="*/ 5521128 h 6062148"/>
              <a:gd name="connsiteX6" fmla="*/ 559824 w 4522224"/>
              <a:gd name="connsiteY6" fmla="*/ 5353488 h 6062148"/>
              <a:gd name="connsiteX7" fmla="*/ 597924 w 4522224"/>
              <a:gd name="connsiteY7" fmla="*/ 5223948 h 6062148"/>
              <a:gd name="connsiteX8" fmla="*/ 620784 w 4522224"/>
              <a:gd name="connsiteY8" fmla="*/ 5178228 h 6062148"/>
              <a:gd name="connsiteX9" fmla="*/ 696984 w 4522224"/>
              <a:gd name="connsiteY9" fmla="*/ 5071548 h 6062148"/>
              <a:gd name="connsiteX10" fmla="*/ 712224 w 4522224"/>
              <a:gd name="connsiteY10" fmla="*/ 5063928 h 6062148"/>
              <a:gd name="connsiteX11" fmla="*/ 704604 w 4522224"/>
              <a:gd name="connsiteY11" fmla="*/ 5025828 h 6062148"/>
              <a:gd name="connsiteX12" fmla="*/ 696984 w 4522224"/>
              <a:gd name="connsiteY12" fmla="*/ 5002968 h 6062148"/>
              <a:gd name="connsiteX13" fmla="*/ 963684 w 4522224"/>
              <a:gd name="connsiteY13" fmla="*/ 4682928 h 6062148"/>
              <a:gd name="connsiteX14" fmla="*/ 956064 w 4522224"/>
              <a:gd name="connsiteY14" fmla="*/ 4644828 h 6062148"/>
              <a:gd name="connsiteX15" fmla="*/ 1337064 w 4522224"/>
              <a:gd name="connsiteY15" fmla="*/ 4172388 h 6062148"/>
              <a:gd name="connsiteX16" fmla="*/ 1253244 w 4522224"/>
              <a:gd name="connsiteY16" fmla="*/ 4012368 h 6062148"/>
              <a:gd name="connsiteX17" fmla="*/ 1199904 w 4522224"/>
              <a:gd name="connsiteY17" fmla="*/ 3928548 h 6062148"/>
              <a:gd name="connsiteX18" fmla="*/ 1169424 w 4522224"/>
              <a:gd name="connsiteY18" fmla="*/ 3768528 h 6062148"/>
              <a:gd name="connsiteX19" fmla="*/ 1146564 w 4522224"/>
              <a:gd name="connsiteY19" fmla="*/ 3699948 h 6062148"/>
              <a:gd name="connsiteX20" fmla="*/ 1138944 w 4522224"/>
              <a:gd name="connsiteY20" fmla="*/ 3669468 h 6062148"/>
              <a:gd name="connsiteX21" fmla="*/ 1062744 w 4522224"/>
              <a:gd name="connsiteY21" fmla="*/ 3661848 h 6062148"/>
              <a:gd name="connsiteX22" fmla="*/ 933204 w 4522224"/>
              <a:gd name="connsiteY22" fmla="*/ 3669468 h 6062148"/>
              <a:gd name="connsiteX23" fmla="*/ 826524 w 4522224"/>
              <a:gd name="connsiteY23" fmla="*/ 3692328 h 6062148"/>
              <a:gd name="connsiteX24" fmla="*/ 605544 w 4522224"/>
              <a:gd name="connsiteY24" fmla="*/ 3738048 h 6062148"/>
              <a:gd name="connsiteX25" fmla="*/ 384564 w 4522224"/>
              <a:gd name="connsiteY25" fmla="*/ 3638988 h 6062148"/>
              <a:gd name="connsiteX26" fmla="*/ 376944 w 4522224"/>
              <a:gd name="connsiteY26" fmla="*/ 3326568 h 6062148"/>
              <a:gd name="connsiteX27" fmla="*/ 415044 w 4522224"/>
              <a:gd name="connsiteY27" fmla="*/ 3250368 h 6062148"/>
              <a:gd name="connsiteX28" fmla="*/ 415044 w 4522224"/>
              <a:gd name="connsiteY28" fmla="*/ 3227508 h 6062148"/>
              <a:gd name="connsiteX29" fmla="*/ 384564 w 4522224"/>
              <a:gd name="connsiteY29" fmla="*/ 3166548 h 6062148"/>
              <a:gd name="connsiteX30" fmla="*/ 361704 w 4522224"/>
              <a:gd name="connsiteY30" fmla="*/ 3166548 h 6062148"/>
              <a:gd name="connsiteX31" fmla="*/ 346464 w 4522224"/>
              <a:gd name="connsiteY31" fmla="*/ 3105588 h 6062148"/>
              <a:gd name="connsiteX32" fmla="*/ 392184 w 4522224"/>
              <a:gd name="connsiteY32" fmla="*/ 3021768 h 6062148"/>
              <a:gd name="connsiteX33" fmla="*/ 483624 w 4522224"/>
              <a:gd name="connsiteY33" fmla="*/ 2998908 h 6062148"/>
              <a:gd name="connsiteX34" fmla="*/ 460764 w 4522224"/>
              <a:gd name="connsiteY34" fmla="*/ 2930328 h 6062148"/>
              <a:gd name="connsiteX35" fmla="*/ 430284 w 4522224"/>
              <a:gd name="connsiteY35" fmla="*/ 2930328 h 6062148"/>
              <a:gd name="connsiteX36" fmla="*/ 384564 w 4522224"/>
              <a:gd name="connsiteY36" fmla="*/ 2930328 h 6062148"/>
              <a:gd name="connsiteX37" fmla="*/ 300744 w 4522224"/>
              <a:gd name="connsiteY37" fmla="*/ 2876988 h 6062148"/>
              <a:gd name="connsiteX38" fmla="*/ 315984 w 4522224"/>
              <a:gd name="connsiteY38" fmla="*/ 2846508 h 6062148"/>
              <a:gd name="connsiteX39" fmla="*/ 323604 w 4522224"/>
              <a:gd name="connsiteY39" fmla="*/ 2793168 h 6062148"/>
              <a:gd name="connsiteX40" fmla="*/ 308364 w 4522224"/>
              <a:gd name="connsiteY40" fmla="*/ 2732208 h 6062148"/>
              <a:gd name="connsiteX41" fmla="*/ 262644 w 4522224"/>
              <a:gd name="connsiteY41" fmla="*/ 2671248 h 6062148"/>
              <a:gd name="connsiteX42" fmla="*/ 171204 w 4522224"/>
              <a:gd name="connsiteY42" fmla="*/ 2656008 h 6062148"/>
              <a:gd name="connsiteX43" fmla="*/ 49284 w 4522224"/>
              <a:gd name="connsiteY43" fmla="*/ 2610288 h 6062148"/>
              <a:gd name="connsiteX44" fmla="*/ 18804 w 4522224"/>
              <a:gd name="connsiteY44" fmla="*/ 2556948 h 6062148"/>
              <a:gd name="connsiteX45" fmla="*/ 3564 w 4522224"/>
              <a:gd name="connsiteY45" fmla="*/ 2488368 h 6062148"/>
              <a:gd name="connsiteX46" fmla="*/ 87384 w 4522224"/>
              <a:gd name="connsiteY46" fmla="*/ 2335968 h 6062148"/>
              <a:gd name="connsiteX47" fmla="*/ 216924 w 4522224"/>
              <a:gd name="connsiteY47" fmla="*/ 2175948 h 6062148"/>
              <a:gd name="connsiteX48" fmla="*/ 277884 w 4522224"/>
              <a:gd name="connsiteY48" fmla="*/ 2084508 h 6062148"/>
              <a:gd name="connsiteX49" fmla="*/ 323604 w 4522224"/>
              <a:gd name="connsiteY49" fmla="*/ 1977828 h 6062148"/>
              <a:gd name="connsiteX50" fmla="*/ 354084 w 4522224"/>
              <a:gd name="connsiteY50" fmla="*/ 1871148 h 6062148"/>
              <a:gd name="connsiteX51" fmla="*/ 369324 w 4522224"/>
              <a:gd name="connsiteY51" fmla="*/ 1810188 h 6062148"/>
              <a:gd name="connsiteX52" fmla="*/ 338844 w 4522224"/>
              <a:gd name="connsiteY52" fmla="*/ 1756848 h 6062148"/>
              <a:gd name="connsiteX53" fmla="*/ 323604 w 4522224"/>
              <a:gd name="connsiteY53" fmla="*/ 1680648 h 6062148"/>
              <a:gd name="connsiteX54" fmla="*/ 407424 w 4522224"/>
              <a:gd name="connsiteY54" fmla="*/ 1474908 h 6062148"/>
              <a:gd name="connsiteX55" fmla="*/ 437904 w 4522224"/>
              <a:gd name="connsiteY55" fmla="*/ 1307268 h 6062148"/>
              <a:gd name="connsiteX56" fmla="*/ 460764 w 4522224"/>
              <a:gd name="connsiteY56" fmla="*/ 1192968 h 6062148"/>
              <a:gd name="connsiteX57" fmla="*/ 498864 w 4522224"/>
              <a:gd name="connsiteY57" fmla="*/ 1055808 h 6062148"/>
              <a:gd name="connsiteX58" fmla="*/ 552204 w 4522224"/>
              <a:gd name="connsiteY58" fmla="*/ 888168 h 6062148"/>
              <a:gd name="connsiteX59" fmla="*/ 498864 w 4522224"/>
              <a:gd name="connsiteY59" fmla="*/ 888168 h 6062148"/>
              <a:gd name="connsiteX60" fmla="*/ 407424 w 4522224"/>
              <a:gd name="connsiteY60" fmla="*/ 834828 h 6062148"/>
              <a:gd name="connsiteX61" fmla="*/ 323604 w 4522224"/>
              <a:gd name="connsiteY61" fmla="*/ 789108 h 6062148"/>
              <a:gd name="connsiteX62" fmla="*/ 255024 w 4522224"/>
              <a:gd name="connsiteY62" fmla="*/ 773868 h 6062148"/>
              <a:gd name="connsiteX63" fmla="*/ 209304 w 4522224"/>
              <a:gd name="connsiteY63" fmla="*/ 751008 h 6062148"/>
              <a:gd name="connsiteX64" fmla="*/ 255024 w 4522224"/>
              <a:gd name="connsiteY64" fmla="*/ 674808 h 6062148"/>
              <a:gd name="connsiteX65" fmla="*/ 369324 w 4522224"/>
              <a:gd name="connsiteY65" fmla="*/ 606228 h 6062148"/>
              <a:gd name="connsiteX66" fmla="*/ 552204 w 4522224"/>
              <a:gd name="connsiteY66" fmla="*/ 507168 h 6062148"/>
              <a:gd name="connsiteX67" fmla="*/ 651264 w 4522224"/>
              <a:gd name="connsiteY67" fmla="*/ 423348 h 6062148"/>
              <a:gd name="connsiteX68" fmla="*/ 887484 w 4522224"/>
              <a:gd name="connsiteY68" fmla="*/ 232848 h 6062148"/>
              <a:gd name="connsiteX69" fmla="*/ 1169424 w 4522224"/>
              <a:gd name="connsiteY69" fmla="*/ 80448 h 6062148"/>
              <a:gd name="connsiteX70" fmla="*/ 1588524 w 4522224"/>
              <a:gd name="connsiteY70" fmla="*/ 11868 h 6062148"/>
              <a:gd name="connsiteX71" fmla="*/ 1939044 w 4522224"/>
              <a:gd name="connsiteY71" fmla="*/ 4248 h 6062148"/>
              <a:gd name="connsiteX72" fmla="*/ 2167644 w 4522224"/>
              <a:gd name="connsiteY72" fmla="*/ 4248 h 6062148"/>
              <a:gd name="connsiteX73" fmla="*/ 2388624 w 4522224"/>
              <a:gd name="connsiteY73" fmla="*/ 57588 h 6062148"/>
              <a:gd name="connsiteX74" fmla="*/ 2662944 w 4522224"/>
              <a:gd name="connsiteY74" fmla="*/ 133788 h 6062148"/>
              <a:gd name="connsiteX75" fmla="*/ 2815344 w 4522224"/>
              <a:gd name="connsiteY75" fmla="*/ 202368 h 6062148"/>
              <a:gd name="connsiteX76" fmla="*/ 3097284 w 4522224"/>
              <a:gd name="connsiteY76" fmla="*/ 400488 h 6062148"/>
              <a:gd name="connsiteX77" fmla="*/ 3280164 w 4522224"/>
              <a:gd name="connsiteY77" fmla="*/ 651948 h 6062148"/>
              <a:gd name="connsiteX78" fmla="*/ 3402084 w 4522224"/>
              <a:gd name="connsiteY78" fmla="*/ 918648 h 6062148"/>
              <a:gd name="connsiteX79" fmla="*/ 3470664 w 4522224"/>
              <a:gd name="connsiteY79" fmla="*/ 1238688 h 6062148"/>
              <a:gd name="connsiteX80" fmla="*/ 3501144 w 4522224"/>
              <a:gd name="connsiteY80" fmla="*/ 1543488 h 6062148"/>
              <a:gd name="connsiteX81" fmla="*/ 3501144 w 4522224"/>
              <a:gd name="connsiteY81" fmla="*/ 1962588 h 6062148"/>
              <a:gd name="connsiteX82" fmla="*/ 3333504 w 4522224"/>
              <a:gd name="connsiteY82" fmla="*/ 2305488 h 6062148"/>
              <a:gd name="connsiteX83" fmla="*/ 3249684 w 4522224"/>
              <a:gd name="connsiteY83" fmla="*/ 2473128 h 6062148"/>
              <a:gd name="connsiteX84" fmla="*/ 3127764 w 4522224"/>
              <a:gd name="connsiteY84" fmla="*/ 2663628 h 6062148"/>
              <a:gd name="connsiteX85" fmla="*/ 3066804 w 4522224"/>
              <a:gd name="connsiteY85" fmla="*/ 2838888 h 6062148"/>
              <a:gd name="connsiteX86" fmla="*/ 3059184 w 4522224"/>
              <a:gd name="connsiteY86" fmla="*/ 2915088 h 6062148"/>
              <a:gd name="connsiteX87" fmla="*/ 3013464 w 4522224"/>
              <a:gd name="connsiteY87" fmla="*/ 3014148 h 6062148"/>
              <a:gd name="connsiteX88" fmla="*/ 2975364 w 4522224"/>
              <a:gd name="connsiteY88" fmla="*/ 3082728 h 6062148"/>
              <a:gd name="connsiteX89" fmla="*/ 2952504 w 4522224"/>
              <a:gd name="connsiteY89" fmla="*/ 3120828 h 6062148"/>
              <a:gd name="connsiteX90" fmla="*/ 2952504 w 4522224"/>
              <a:gd name="connsiteY90" fmla="*/ 3555168 h 6062148"/>
              <a:gd name="connsiteX91" fmla="*/ 2952504 w 4522224"/>
              <a:gd name="connsiteY91" fmla="*/ 3562788 h 6062148"/>
              <a:gd name="connsiteX92" fmla="*/ 3005844 w 4522224"/>
              <a:gd name="connsiteY92" fmla="*/ 3539928 h 6062148"/>
              <a:gd name="connsiteX93" fmla="*/ 3059184 w 4522224"/>
              <a:gd name="connsiteY93" fmla="*/ 3562788 h 6062148"/>
              <a:gd name="connsiteX94" fmla="*/ 3104904 w 4522224"/>
              <a:gd name="connsiteY94" fmla="*/ 3570408 h 6062148"/>
              <a:gd name="connsiteX95" fmla="*/ 3135384 w 4522224"/>
              <a:gd name="connsiteY95" fmla="*/ 3631368 h 6062148"/>
              <a:gd name="connsiteX96" fmla="*/ 3112524 w 4522224"/>
              <a:gd name="connsiteY96" fmla="*/ 3738048 h 6062148"/>
              <a:gd name="connsiteX97" fmla="*/ 3120144 w 4522224"/>
              <a:gd name="connsiteY97" fmla="*/ 4103808 h 6062148"/>
              <a:gd name="connsiteX98" fmla="*/ 3112524 w 4522224"/>
              <a:gd name="connsiteY98" fmla="*/ 4119048 h 6062148"/>
              <a:gd name="connsiteX99" fmla="*/ 3158244 w 4522224"/>
              <a:gd name="connsiteY99" fmla="*/ 4157148 h 6062148"/>
              <a:gd name="connsiteX100" fmla="*/ 3196344 w 4522224"/>
              <a:gd name="connsiteY100" fmla="*/ 4164768 h 6062148"/>
              <a:gd name="connsiteX101" fmla="*/ 3226824 w 4522224"/>
              <a:gd name="connsiteY101" fmla="*/ 4172388 h 6062148"/>
              <a:gd name="connsiteX102" fmla="*/ 3280164 w 4522224"/>
              <a:gd name="connsiteY102" fmla="*/ 4294308 h 6062148"/>
              <a:gd name="connsiteX103" fmla="*/ 3295404 w 4522224"/>
              <a:gd name="connsiteY103" fmla="*/ 4347648 h 6062148"/>
              <a:gd name="connsiteX104" fmla="*/ 3325884 w 4522224"/>
              <a:gd name="connsiteY104" fmla="*/ 4408608 h 6062148"/>
              <a:gd name="connsiteX105" fmla="*/ 3546864 w 4522224"/>
              <a:gd name="connsiteY105" fmla="*/ 4644828 h 6062148"/>
              <a:gd name="connsiteX106" fmla="*/ 3882144 w 4522224"/>
              <a:gd name="connsiteY106" fmla="*/ 5025828 h 6062148"/>
              <a:gd name="connsiteX107" fmla="*/ 4095504 w 4522224"/>
              <a:gd name="connsiteY107" fmla="*/ 5300148 h 6062148"/>
              <a:gd name="connsiteX108" fmla="*/ 4362204 w 4522224"/>
              <a:gd name="connsiteY108" fmla="*/ 5726868 h 6062148"/>
              <a:gd name="connsiteX109" fmla="*/ 4522224 w 4522224"/>
              <a:gd name="connsiteY109" fmla="*/ 6046908 h 6062148"/>
              <a:gd name="connsiteX0" fmla="*/ 323604 w 4522224"/>
              <a:gd name="connsiteY0" fmla="*/ 6062148 h 6062148"/>
              <a:gd name="connsiteX1" fmla="*/ 376944 w 4522224"/>
              <a:gd name="connsiteY1" fmla="*/ 5924988 h 6062148"/>
              <a:gd name="connsiteX2" fmla="*/ 437904 w 4522224"/>
              <a:gd name="connsiteY2" fmla="*/ 5780208 h 6062148"/>
              <a:gd name="connsiteX3" fmla="*/ 468384 w 4522224"/>
              <a:gd name="connsiteY3" fmla="*/ 5665908 h 6062148"/>
              <a:gd name="connsiteX4" fmla="*/ 506484 w 4522224"/>
              <a:gd name="connsiteY4" fmla="*/ 5612568 h 6062148"/>
              <a:gd name="connsiteX5" fmla="*/ 536964 w 4522224"/>
              <a:gd name="connsiteY5" fmla="*/ 5521128 h 6062148"/>
              <a:gd name="connsiteX6" fmla="*/ 559824 w 4522224"/>
              <a:gd name="connsiteY6" fmla="*/ 5353488 h 6062148"/>
              <a:gd name="connsiteX7" fmla="*/ 597924 w 4522224"/>
              <a:gd name="connsiteY7" fmla="*/ 5223948 h 6062148"/>
              <a:gd name="connsiteX8" fmla="*/ 620784 w 4522224"/>
              <a:gd name="connsiteY8" fmla="*/ 5178228 h 6062148"/>
              <a:gd name="connsiteX9" fmla="*/ 696984 w 4522224"/>
              <a:gd name="connsiteY9" fmla="*/ 5071548 h 6062148"/>
              <a:gd name="connsiteX10" fmla="*/ 712224 w 4522224"/>
              <a:gd name="connsiteY10" fmla="*/ 5063928 h 6062148"/>
              <a:gd name="connsiteX11" fmla="*/ 704604 w 4522224"/>
              <a:gd name="connsiteY11" fmla="*/ 5025828 h 6062148"/>
              <a:gd name="connsiteX12" fmla="*/ 696984 w 4522224"/>
              <a:gd name="connsiteY12" fmla="*/ 5002968 h 6062148"/>
              <a:gd name="connsiteX13" fmla="*/ 963684 w 4522224"/>
              <a:gd name="connsiteY13" fmla="*/ 4682928 h 6062148"/>
              <a:gd name="connsiteX14" fmla="*/ 956064 w 4522224"/>
              <a:gd name="connsiteY14" fmla="*/ 4644828 h 6062148"/>
              <a:gd name="connsiteX15" fmla="*/ 1337064 w 4522224"/>
              <a:gd name="connsiteY15" fmla="*/ 4172388 h 6062148"/>
              <a:gd name="connsiteX16" fmla="*/ 1253244 w 4522224"/>
              <a:gd name="connsiteY16" fmla="*/ 4012368 h 6062148"/>
              <a:gd name="connsiteX17" fmla="*/ 1199904 w 4522224"/>
              <a:gd name="connsiteY17" fmla="*/ 3928548 h 6062148"/>
              <a:gd name="connsiteX18" fmla="*/ 1169424 w 4522224"/>
              <a:gd name="connsiteY18" fmla="*/ 3768528 h 6062148"/>
              <a:gd name="connsiteX19" fmla="*/ 1146564 w 4522224"/>
              <a:gd name="connsiteY19" fmla="*/ 3699948 h 6062148"/>
              <a:gd name="connsiteX20" fmla="*/ 1138944 w 4522224"/>
              <a:gd name="connsiteY20" fmla="*/ 3669468 h 6062148"/>
              <a:gd name="connsiteX21" fmla="*/ 1062744 w 4522224"/>
              <a:gd name="connsiteY21" fmla="*/ 3661848 h 6062148"/>
              <a:gd name="connsiteX22" fmla="*/ 933204 w 4522224"/>
              <a:gd name="connsiteY22" fmla="*/ 3669468 h 6062148"/>
              <a:gd name="connsiteX23" fmla="*/ 826524 w 4522224"/>
              <a:gd name="connsiteY23" fmla="*/ 3692328 h 6062148"/>
              <a:gd name="connsiteX24" fmla="*/ 605544 w 4522224"/>
              <a:gd name="connsiteY24" fmla="*/ 3738048 h 6062148"/>
              <a:gd name="connsiteX25" fmla="*/ 384564 w 4522224"/>
              <a:gd name="connsiteY25" fmla="*/ 3638988 h 6062148"/>
              <a:gd name="connsiteX26" fmla="*/ 376944 w 4522224"/>
              <a:gd name="connsiteY26" fmla="*/ 3326568 h 6062148"/>
              <a:gd name="connsiteX27" fmla="*/ 415044 w 4522224"/>
              <a:gd name="connsiteY27" fmla="*/ 3227508 h 6062148"/>
              <a:gd name="connsiteX28" fmla="*/ 384564 w 4522224"/>
              <a:gd name="connsiteY28" fmla="*/ 3166548 h 6062148"/>
              <a:gd name="connsiteX29" fmla="*/ 361704 w 4522224"/>
              <a:gd name="connsiteY29" fmla="*/ 3166548 h 6062148"/>
              <a:gd name="connsiteX30" fmla="*/ 346464 w 4522224"/>
              <a:gd name="connsiteY30" fmla="*/ 3105588 h 6062148"/>
              <a:gd name="connsiteX31" fmla="*/ 392184 w 4522224"/>
              <a:gd name="connsiteY31" fmla="*/ 3021768 h 6062148"/>
              <a:gd name="connsiteX32" fmla="*/ 483624 w 4522224"/>
              <a:gd name="connsiteY32" fmla="*/ 2998908 h 6062148"/>
              <a:gd name="connsiteX33" fmla="*/ 460764 w 4522224"/>
              <a:gd name="connsiteY33" fmla="*/ 2930328 h 6062148"/>
              <a:gd name="connsiteX34" fmla="*/ 430284 w 4522224"/>
              <a:gd name="connsiteY34" fmla="*/ 2930328 h 6062148"/>
              <a:gd name="connsiteX35" fmla="*/ 384564 w 4522224"/>
              <a:gd name="connsiteY35" fmla="*/ 2930328 h 6062148"/>
              <a:gd name="connsiteX36" fmla="*/ 300744 w 4522224"/>
              <a:gd name="connsiteY36" fmla="*/ 2876988 h 6062148"/>
              <a:gd name="connsiteX37" fmla="*/ 315984 w 4522224"/>
              <a:gd name="connsiteY37" fmla="*/ 2846508 h 6062148"/>
              <a:gd name="connsiteX38" fmla="*/ 323604 w 4522224"/>
              <a:gd name="connsiteY38" fmla="*/ 2793168 h 6062148"/>
              <a:gd name="connsiteX39" fmla="*/ 308364 w 4522224"/>
              <a:gd name="connsiteY39" fmla="*/ 2732208 h 6062148"/>
              <a:gd name="connsiteX40" fmla="*/ 262644 w 4522224"/>
              <a:gd name="connsiteY40" fmla="*/ 2671248 h 6062148"/>
              <a:gd name="connsiteX41" fmla="*/ 171204 w 4522224"/>
              <a:gd name="connsiteY41" fmla="*/ 2656008 h 6062148"/>
              <a:gd name="connsiteX42" fmla="*/ 49284 w 4522224"/>
              <a:gd name="connsiteY42" fmla="*/ 2610288 h 6062148"/>
              <a:gd name="connsiteX43" fmla="*/ 18804 w 4522224"/>
              <a:gd name="connsiteY43" fmla="*/ 2556948 h 6062148"/>
              <a:gd name="connsiteX44" fmla="*/ 3564 w 4522224"/>
              <a:gd name="connsiteY44" fmla="*/ 2488368 h 6062148"/>
              <a:gd name="connsiteX45" fmla="*/ 87384 w 4522224"/>
              <a:gd name="connsiteY45" fmla="*/ 2335968 h 6062148"/>
              <a:gd name="connsiteX46" fmla="*/ 216924 w 4522224"/>
              <a:gd name="connsiteY46" fmla="*/ 2175948 h 6062148"/>
              <a:gd name="connsiteX47" fmla="*/ 277884 w 4522224"/>
              <a:gd name="connsiteY47" fmla="*/ 2084508 h 6062148"/>
              <a:gd name="connsiteX48" fmla="*/ 323604 w 4522224"/>
              <a:gd name="connsiteY48" fmla="*/ 1977828 h 6062148"/>
              <a:gd name="connsiteX49" fmla="*/ 354084 w 4522224"/>
              <a:gd name="connsiteY49" fmla="*/ 1871148 h 6062148"/>
              <a:gd name="connsiteX50" fmla="*/ 369324 w 4522224"/>
              <a:gd name="connsiteY50" fmla="*/ 1810188 h 6062148"/>
              <a:gd name="connsiteX51" fmla="*/ 338844 w 4522224"/>
              <a:gd name="connsiteY51" fmla="*/ 1756848 h 6062148"/>
              <a:gd name="connsiteX52" fmla="*/ 323604 w 4522224"/>
              <a:gd name="connsiteY52" fmla="*/ 1680648 h 6062148"/>
              <a:gd name="connsiteX53" fmla="*/ 407424 w 4522224"/>
              <a:gd name="connsiteY53" fmla="*/ 1474908 h 6062148"/>
              <a:gd name="connsiteX54" fmla="*/ 437904 w 4522224"/>
              <a:gd name="connsiteY54" fmla="*/ 1307268 h 6062148"/>
              <a:gd name="connsiteX55" fmla="*/ 460764 w 4522224"/>
              <a:gd name="connsiteY55" fmla="*/ 1192968 h 6062148"/>
              <a:gd name="connsiteX56" fmla="*/ 498864 w 4522224"/>
              <a:gd name="connsiteY56" fmla="*/ 1055808 h 6062148"/>
              <a:gd name="connsiteX57" fmla="*/ 552204 w 4522224"/>
              <a:gd name="connsiteY57" fmla="*/ 888168 h 6062148"/>
              <a:gd name="connsiteX58" fmla="*/ 498864 w 4522224"/>
              <a:gd name="connsiteY58" fmla="*/ 888168 h 6062148"/>
              <a:gd name="connsiteX59" fmla="*/ 407424 w 4522224"/>
              <a:gd name="connsiteY59" fmla="*/ 834828 h 6062148"/>
              <a:gd name="connsiteX60" fmla="*/ 323604 w 4522224"/>
              <a:gd name="connsiteY60" fmla="*/ 789108 h 6062148"/>
              <a:gd name="connsiteX61" fmla="*/ 255024 w 4522224"/>
              <a:gd name="connsiteY61" fmla="*/ 773868 h 6062148"/>
              <a:gd name="connsiteX62" fmla="*/ 209304 w 4522224"/>
              <a:gd name="connsiteY62" fmla="*/ 751008 h 6062148"/>
              <a:gd name="connsiteX63" fmla="*/ 255024 w 4522224"/>
              <a:gd name="connsiteY63" fmla="*/ 674808 h 6062148"/>
              <a:gd name="connsiteX64" fmla="*/ 369324 w 4522224"/>
              <a:gd name="connsiteY64" fmla="*/ 606228 h 6062148"/>
              <a:gd name="connsiteX65" fmla="*/ 552204 w 4522224"/>
              <a:gd name="connsiteY65" fmla="*/ 507168 h 6062148"/>
              <a:gd name="connsiteX66" fmla="*/ 651264 w 4522224"/>
              <a:gd name="connsiteY66" fmla="*/ 423348 h 6062148"/>
              <a:gd name="connsiteX67" fmla="*/ 887484 w 4522224"/>
              <a:gd name="connsiteY67" fmla="*/ 232848 h 6062148"/>
              <a:gd name="connsiteX68" fmla="*/ 1169424 w 4522224"/>
              <a:gd name="connsiteY68" fmla="*/ 80448 h 6062148"/>
              <a:gd name="connsiteX69" fmla="*/ 1588524 w 4522224"/>
              <a:gd name="connsiteY69" fmla="*/ 11868 h 6062148"/>
              <a:gd name="connsiteX70" fmla="*/ 1939044 w 4522224"/>
              <a:gd name="connsiteY70" fmla="*/ 4248 h 6062148"/>
              <a:gd name="connsiteX71" fmla="*/ 2167644 w 4522224"/>
              <a:gd name="connsiteY71" fmla="*/ 4248 h 6062148"/>
              <a:gd name="connsiteX72" fmla="*/ 2388624 w 4522224"/>
              <a:gd name="connsiteY72" fmla="*/ 57588 h 6062148"/>
              <a:gd name="connsiteX73" fmla="*/ 2662944 w 4522224"/>
              <a:gd name="connsiteY73" fmla="*/ 133788 h 6062148"/>
              <a:gd name="connsiteX74" fmla="*/ 2815344 w 4522224"/>
              <a:gd name="connsiteY74" fmla="*/ 202368 h 6062148"/>
              <a:gd name="connsiteX75" fmla="*/ 3097284 w 4522224"/>
              <a:gd name="connsiteY75" fmla="*/ 400488 h 6062148"/>
              <a:gd name="connsiteX76" fmla="*/ 3280164 w 4522224"/>
              <a:gd name="connsiteY76" fmla="*/ 651948 h 6062148"/>
              <a:gd name="connsiteX77" fmla="*/ 3402084 w 4522224"/>
              <a:gd name="connsiteY77" fmla="*/ 918648 h 6062148"/>
              <a:gd name="connsiteX78" fmla="*/ 3470664 w 4522224"/>
              <a:gd name="connsiteY78" fmla="*/ 1238688 h 6062148"/>
              <a:gd name="connsiteX79" fmla="*/ 3501144 w 4522224"/>
              <a:gd name="connsiteY79" fmla="*/ 1543488 h 6062148"/>
              <a:gd name="connsiteX80" fmla="*/ 3501144 w 4522224"/>
              <a:gd name="connsiteY80" fmla="*/ 1962588 h 6062148"/>
              <a:gd name="connsiteX81" fmla="*/ 3333504 w 4522224"/>
              <a:gd name="connsiteY81" fmla="*/ 2305488 h 6062148"/>
              <a:gd name="connsiteX82" fmla="*/ 3249684 w 4522224"/>
              <a:gd name="connsiteY82" fmla="*/ 2473128 h 6062148"/>
              <a:gd name="connsiteX83" fmla="*/ 3127764 w 4522224"/>
              <a:gd name="connsiteY83" fmla="*/ 2663628 h 6062148"/>
              <a:gd name="connsiteX84" fmla="*/ 3066804 w 4522224"/>
              <a:gd name="connsiteY84" fmla="*/ 2838888 h 6062148"/>
              <a:gd name="connsiteX85" fmla="*/ 3059184 w 4522224"/>
              <a:gd name="connsiteY85" fmla="*/ 2915088 h 6062148"/>
              <a:gd name="connsiteX86" fmla="*/ 3013464 w 4522224"/>
              <a:gd name="connsiteY86" fmla="*/ 3014148 h 6062148"/>
              <a:gd name="connsiteX87" fmla="*/ 2975364 w 4522224"/>
              <a:gd name="connsiteY87" fmla="*/ 3082728 h 6062148"/>
              <a:gd name="connsiteX88" fmla="*/ 2952504 w 4522224"/>
              <a:gd name="connsiteY88" fmla="*/ 3120828 h 6062148"/>
              <a:gd name="connsiteX89" fmla="*/ 2952504 w 4522224"/>
              <a:gd name="connsiteY89" fmla="*/ 3555168 h 6062148"/>
              <a:gd name="connsiteX90" fmla="*/ 2952504 w 4522224"/>
              <a:gd name="connsiteY90" fmla="*/ 3562788 h 6062148"/>
              <a:gd name="connsiteX91" fmla="*/ 3005844 w 4522224"/>
              <a:gd name="connsiteY91" fmla="*/ 3539928 h 6062148"/>
              <a:gd name="connsiteX92" fmla="*/ 3059184 w 4522224"/>
              <a:gd name="connsiteY92" fmla="*/ 3562788 h 6062148"/>
              <a:gd name="connsiteX93" fmla="*/ 3104904 w 4522224"/>
              <a:gd name="connsiteY93" fmla="*/ 3570408 h 6062148"/>
              <a:gd name="connsiteX94" fmla="*/ 3135384 w 4522224"/>
              <a:gd name="connsiteY94" fmla="*/ 3631368 h 6062148"/>
              <a:gd name="connsiteX95" fmla="*/ 3112524 w 4522224"/>
              <a:gd name="connsiteY95" fmla="*/ 3738048 h 6062148"/>
              <a:gd name="connsiteX96" fmla="*/ 3120144 w 4522224"/>
              <a:gd name="connsiteY96" fmla="*/ 4103808 h 6062148"/>
              <a:gd name="connsiteX97" fmla="*/ 3112524 w 4522224"/>
              <a:gd name="connsiteY97" fmla="*/ 4119048 h 6062148"/>
              <a:gd name="connsiteX98" fmla="*/ 3158244 w 4522224"/>
              <a:gd name="connsiteY98" fmla="*/ 4157148 h 6062148"/>
              <a:gd name="connsiteX99" fmla="*/ 3196344 w 4522224"/>
              <a:gd name="connsiteY99" fmla="*/ 4164768 h 6062148"/>
              <a:gd name="connsiteX100" fmla="*/ 3226824 w 4522224"/>
              <a:gd name="connsiteY100" fmla="*/ 4172388 h 6062148"/>
              <a:gd name="connsiteX101" fmla="*/ 3280164 w 4522224"/>
              <a:gd name="connsiteY101" fmla="*/ 4294308 h 6062148"/>
              <a:gd name="connsiteX102" fmla="*/ 3295404 w 4522224"/>
              <a:gd name="connsiteY102" fmla="*/ 4347648 h 6062148"/>
              <a:gd name="connsiteX103" fmla="*/ 3325884 w 4522224"/>
              <a:gd name="connsiteY103" fmla="*/ 4408608 h 6062148"/>
              <a:gd name="connsiteX104" fmla="*/ 3546864 w 4522224"/>
              <a:gd name="connsiteY104" fmla="*/ 4644828 h 6062148"/>
              <a:gd name="connsiteX105" fmla="*/ 3882144 w 4522224"/>
              <a:gd name="connsiteY105" fmla="*/ 5025828 h 6062148"/>
              <a:gd name="connsiteX106" fmla="*/ 4095504 w 4522224"/>
              <a:gd name="connsiteY106" fmla="*/ 5300148 h 6062148"/>
              <a:gd name="connsiteX107" fmla="*/ 4362204 w 4522224"/>
              <a:gd name="connsiteY107" fmla="*/ 5726868 h 6062148"/>
              <a:gd name="connsiteX108" fmla="*/ 4522224 w 4522224"/>
              <a:gd name="connsiteY108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66706 w 4527226"/>
              <a:gd name="connsiteY29" fmla="*/ 3166548 h 6062148"/>
              <a:gd name="connsiteX30" fmla="*/ 351466 w 4527226"/>
              <a:gd name="connsiteY30" fmla="*/ 3105588 h 6062148"/>
              <a:gd name="connsiteX31" fmla="*/ 397186 w 4527226"/>
              <a:gd name="connsiteY31" fmla="*/ 3021768 h 6062148"/>
              <a:gd name="connsiteX32" fmla="*/ 488626 w 4527226"/>
              <a:gd name="connsiteY32" fmla="*/ 2998908 h 6062148"/>
              <a:gd name="connsiteX33" fmla="*/ 465766 w 4527226"/>
              <a:gd name="connsiteY33" fmla="*/ 2930328 h 6062148"/>
              <a:gd name="connsiteX34" fmla="*/ 435286 w 4527226"/>
              <a:gd name="connsiteY34" fmla="*/ 2930328 h 6062148"/>
              <a:gd name="connsiteX35" fmla="*/ 389566 w 4527226"/>
              <a:gd name="connsiteY35" fmla="*/ 2930328 h 6062148"/>
              <a:gd name="connsiteX36" fmla="*/ 305746 w 4527226"/>
              <a:gd name="connsiteY36" fmla="*/ 2876988 h 6062148"/>
              <a:gd name="connsiteX37" fmla="*/ 320986 w 4527226"/>
              <a:gd name="connsiteY37" fmla="*/ 2846508 h 6062148"/>
              <a:gd name="connsiteX38" fmla="*/ 328606 w 4527226"/>
              <a:gd name="connsiteY38" fmla="*/ 2793168 h 6062148"/>
              <a:gd name="connsiteX39" fmla="*/ 313366 w 4527226"/>
              <a:gd name="connsiteY39" fmla="*/ 2732208 h 6062148"/>
              <a:gd name="connsiteX40" fmla="*/ 267646 w 4527226"/>
              <a:gd name="connsiteY40" fmla="*/ 2671248 h 6062148"/>
              <a:gd name="connsiteX41" fmla="*/ 176206 w 4527226"/>
              <a:gd name="connsiteY41" fmla="*/ 2656008 h 6062148"/>
              <a:gd name="connsiteX42" fmla="*/ 54286 w 4527226"/>
              <a:gd name="connsiteY42" fmla="*/ 2610288 h 6062148"/>
              <a:gd name="connsiteX43" fmla="*/ 7931 w 4527226"/>
              <a:gd name="connsiteY43" fmla="*/ 2563298 h 6062148"/>
              <a:gd name="connsiteX44" fmla="*/ 8566 w 4527226"/>
              <a:gd name="connsiteY44" fmla="*/ 2488368 h 6062148"/>
              <a:gd name="connsiteX45" fmla="*/ 92386 w 4527226"/>
              <a:gd name="connsiteY45" fmla="*/ 2335968 h 6062148"/>
              <a:gd name="connsiteX46" fmla="*/ 221926 w 4527226"/>
              <a:gd name="connsiteY46" fmla="*/ 2175948 h 6062148"/>
              <a:gd name="connsiteX47" fmla="*/ 282886 w 4527226"/>
              <a:gd name="connsiteY47" fmla="*/ 2084508 h 6062148"/>
              <a:gd name="connsiteX48" fmla="*/ 328606 w 4527226"/>
              <a:gd name="connsiteY48" fmla="*/ 1977828 h 6062148"/>
              <a:gd name="connsiteX49" fmla="*/ 359086 w 4527226"/>
              <a:gd name="connsiteY49" fmla="*/ 1871148 h 6062148"/>
              <a:gd name="connsiteX50" fmla="*/ 374326 w 4527226"/>
              <a:gd name="connsiteY50" fmla="*/ 1810188 h 6062148"/>
              <a:gd name="connsiteX51" fmla="*/ 343846 w 4527226"/>
              <a:gd name="connsiteY51" fmla="*/ 1756848 h 6062148"/>
              <a:gd name="connsiteX52" fmla="*/ 328606 w 4527226"/>
              <a:gd name="connsiteY52" fmla="*/ 1680648 h 6062148"/>
              <a:gd name="connsiteX53" fmla="*/ 412426 w 4527226"/>
              <a:gd name="connsiteY53" fmla="*/ 1474908 h 6062148"/>
              <a:gd name="connsiteX54" fmla="*/ 442906 w 4527226"/>
              <a:gd name="connsiteY54" fmla="*/ 1307268 h 6062148"/>
              <a:gd name="connsiteX55" fmla="*/ 465766 w 4527226"/>
              <a:gd name="connsiteY55" fmla="*/ 1192968 h 6062148"/>
              <a:gd name="connsiteX56" fmla="*/ 503866 w 4527226"/>
              <a:gd name="connsiteY56" fmla="*/ 1055808 h 6062148"/>
              <a:gd name="connsiteX57" fmla="*/ 557206 w 4527226"/>
              <a:gd name="connsiteY57" fmla="*/ 888168 h 6062148"/>
              <a:gd name="connsiteX58" fmla="*/ 503866 w 4527226"/>
              <a:gd name="connsiteY58" fmla="*/ 888168 h 6062148"/>
              <a:gd name="connsiteX59" fmla="*/ 412426 w 4527226"/>
              <a:gd name="connsiteY59" fmla="*/ 834828 h 6062148"/>
              <a:gd name="connsiteX60" fmla="*/ 328606 w 4527226"/>
              <a:gd name="connsiteY60" fmla="*/ 789108 h 6062148"/>
              <a:gd name="connsiteX61" fmla="*/ 260026 w 4527226"/>
              <a:gd name="connsiteY61" fmla="*/ 773868 h 6062148"/>
              <a:gd name="connsiteX62" fmla="*/ 214306 w 4527226"/>
              <a:gd name="connsiteY62" fmla="*/ 751008 h 6062148"/>
              <a:gd name="connsiteX63" fmla="*/ 260026 w 4527226"/>
              <a:gd name="connsiteY63" fmla="*/ 674808 h 6062148"/>
              <a:gd name="connsiteX64" fmla="*/ 374326 w 4527226"/>
              <a:gd name="connsiteY64" fmla="*/ 606228 h 6062148"/>
              <a:gd name="connsiteX65" fmla="*/ 557206 w 4527226"/>
              <a:gd name="connsiteY65" fmla="*/ 507168 h 6062148"/>
              <a:gd name="connsiteX66" fmla="*/ 656266 w 4527226"/>
              <a:gd name="connsiteY66" fmla="*/ 423348 h 6062148"/>
              <a:gd name="connsiteX67" fmla="*/ 892486 w 4527226"/>
              <a:gd name="connsiteY67" fmla="*/ 232848 h 6062148"/>
              <a:gd name="connsiteX68" fmla="*/ 1174426 w 4527226"/>
              <a:gd name="connsiteY68" fmla="*/ 80448 h 6062148"/>
              <a:gd name="connsiteX69" fmla="*/ 1593526 w 4527226"/>
              <a:gd name="connsiteY69" fmla="*/ 11868 h 6062148"/>
              <a:gd name="connsiteX70" fmla="*/ 1944046 w 4527226"/>
              <a:gd name="connsiteY70" fmla="*/ 4248 h 6062148"/>
              <a:gd name="connsiteX71" fmla="*/ 2172646 w 4527226"/>
              <a:gd name="connsiteY71" fmla="*/ 4248 h 6062148"/>
              <a:gd name="connsiteX72" fmla="*/ 2393626 w 4527226"/>
              <a:gd name="connsiteY72" fmla="*/ 57588 h 6062148"/>
              <a:gd name="connsiteX73" fmla="*/ 2667946 w 4527226"/>
              <a:gd name="connsiteY73" fmla="*/ 133788 h 6062148"/>
              <a:gd name="connsiteX74" fmla="*/ 2820346 w 4527226"/>
              <a:gd name="connsiteY74" fmla="*/ 202368 h 6062148"/>
              <a:gd name="connsiteX75" fmla="*/ 3102286 w 4527226"/>
              <a:gd name="connsiteY75" fmla="*/ 400488 h 6062148"/>
              <a:gd name="connsiteX76" fmla="*/ 3285166 w 4527226"/>
              <a:gd name="connsiteY76" fmla="*/ 651948 h 6062148"/>
              <a:gd name="connsiteX77" fmla="*/ 3407086 w 4527226"/>
              <a:gd name="connsiteY77" fmla="*/ 918648 h 6062148"/>
              <a:gd name="connsiteX78" fmla="*/ 3475666 w 4527226"/>
              <a:gd name="connsiteY78" fmla="*/ 1238688 h 6062148"/>
              <a:gd name="connsiteX79" fmla="*/ 3506146 w 4527226"/>
              <a:gd name="connsiteY79" fmla="*/ 1543488 h 6062148"/>
              <a:gd name="connsiteX80" fmla="*/ 3506146 w 4527226"/>
              <a:gd name="connsiteY80" fmla="*/ 1962588 h 6062148"/>
              <a:gd name="connsiteX81" fmla="*/ 3338506 w 4527226"/>
              <a:gd name="connsiteY81" fmla="*/ 2305488 h 6062148"/>
              <a:gd name="connsiteX82" fmla="*/ 3254686 w 4527226"/>
              <a:gd name="connsiteY82" fmla="*/ 2473128 h 6062148"/>
              <a:gd name="connsiteX83" fmla="*/ 3132766 w 4527226"/>
              <a:gd name="connsiteY83" fmla="*/ 2663628 h 6062148"/>
              <a:gd name="connsiteX84" fmla="*/ 3071806 w 4527226"/>
              <a:gd name="connsiteY84" fmla="*/ 2838888 h 6062148"/>
              <a:gd name="connsiteX85" fmla="*/ 3064186 w 4527226"/>
              <a:gd name="connsiteY85" fmla="*/ 2915088 h 6062148"/>
              <a:gd name="connsiteX86" fmla="*/ 3018466 w 4527226"/>
              <a:gd name="connsiteY86" fmla="*/ 3014148 h 6062148"/>
              <a:gd name="connsiteX87" fmla="*/ 2980366 w 4527226"/>
              <a:gd name="connsiteY87" fmla="*/ 3082728 h 6062148"/>
              <a:gd name="connsiteX88" fmla="*/ 2957506 w 4527226"/>
              <a:gd name="connsiteY88" fmla="*/ 3120828 h 6062148"/>
              <a:gd name="connsiteX89" fmla="*/ 2957506 w 4527226"/>
              <a:gd name="connsiteY89" fmla="*/ 3555168 h 6062148"/>
              <a:gd name="connsiteX90" fmla="*/ 2957506 w 4527226"/>
              <a:gd name="connsiteY90" fmla="*/ 3562788 h 6062148"/>
              <a:gd name="connsiteX91" fmla="*/ 3010846 w 4527226"/>
              <a:gd name="connsiteY91" fmla="*/ 3539928 h 6062148"/>
              <a:gd name="connsiteX92" fmla="*/ 3064186 w 4527226"/>
              <a:gd name="connsiteY92" fmla="*/ 3562788 h 6062148"/>
              <a:gd name="connsiteX93" fmla="*/ 3109906 w 4527226"/>
              <a:gd name="connsiteY93" fmla="*/ 3570408 h 6062148"/>
              <a:gd name="connsiteX94" fmla="*/ 3140386 w 4527226"/>
              <a:gd name="connsiteY94" fmla="*/ 3631368 h 6062148"/>
              <a:gd name="connsiteX95" fmla="*/ 3117526 w 4527226"/>
              <a:gd name="connsiteY95" fmla="*/ 3738048 h 6062148"/>
              <a:gd name="connsiteX96" fmla="*/ 3125146 w 4527226"/>
              <a:gd name="connsiteY96" fmla="*/ 4103808 h 6062148"/>
              <a:gd name="connsiteX97" fmla="*/ 3117526 w 4527226"/>
              <a:gd name="connsiteY97" fmla="*/ 4119048 h 6062148"/>
              <a:gd name="connsiteX98" fmla="*/ 3163246 w 4527226"/>
              <a:gd name="connsiteY98" fmla="*/ 4157148 h 6062148"/>
              <a:gd name="connsiteX99" fmla="*/ 3201346 w 4527226"/>
              <a:gd name="connsiteY99" fmla="*/ 4164768 h 6062148"/>
              <a:gd name="connsiteX100" fmla="*/ 3231826 w 4527226"/>
              <a:gd name="connsiteY100" fmla="*/ 4172388 h 6062148"/>
              <a:gd name="connsiteX101" fmla="*/ 3285166 w 4527226"/>
              <a:gd name="connsiteY101" fmla="*/ 4294308 h 6062148"/>
              <a:gd name="connsiteX102" fmla="*/ 3300406 w 4527226"/>
              <a:gd name="connsiteY102" fmla="*/ 4347648 h 6062148"/>
              <a:gd name="connsiteX103" fmla="*/ 3330886 w 4527226"/>
              <a:gd name="connsiteY103" fmla="*/ 4408608 h 6062148"/>
              <a:gd name="connsiteX104" fmla="*/ 3551866 w 4527226"/>
              <a:gd name="connsiteY104" fmla="*/ 4644828 h 6062148"/>
              <a:gd name="connsiteX105" fmla="*/ 3887146 w 4527226"/>
              <a:gd name="connsiteY105" fmla="*/ 5025828 h 6062148"/>
              <a:gd name="connsiteX106" fmla="*/ 4100506 w 4527226"/>
              <a:gd name="connsiteY106" fmla="*/ 5300148 h 6062148"/>
              <a:gd name="connsiteX107" fmla="*/ 4367206 w 4527226"/>
              <a:gd name="connsiteY107" fmla="*/ 5726868 h 6062148"/>
              <a:gd name="connsiteX108" fmla="*/ 4527226 w 4527226"/>
              <a:gd name="connsiteY108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65766 w 4527226"/>
              <a:gd name="connsiteY32" fmla="*/ 2930328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05746 w 4527226"/>
              <a:gd name="connsiteY35" fmla="*/ 2876988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2957506 w 4527226"/>
              <a:gd name="connsiteY89" fmla="*/ 3562788 h 6062148"/>
              <a:gd name="connsiteX90" fmla="*/ 3010846 w 4527226"/>
              <a:gd name="connsiteY90" fmla="*/ 3539928 h 6062148"/>
              <a:gd name="connsiteX91" fmla="*/ 3064186 w 4527226"/>
              <a:gd name="connsiteY91" fmla="*/ 3562788 h 6062148"/>
              <a:gd name="connsiteX92" fmla="*/ 3109906 w 4527226"/>
              <a:gd name="connsiteY92" fmla="*/ 3570408 h 6062148"/>
              <a:gd name="connsiteX93" fmla="*/ 3140386 w 4527226"/>
              <a:gd name="connsiteY93" fmla="*/ 3631368 h 6062148"/>
              <a:gd name="connsiteX94" fmla="*/ 3117526 w 4527226"/>
              <a:gd name="connsiteY94" fmla="*/ 3738048 h 6062148"/>
              <a:gd name="connsiteX95" fmla="*/ 3125146 w 4527226"/>
              <a:gd name="connsiteY95" fmla="*/ 4103808 h 6062148"/>
              <a:gd name="connsiteX96" fmla="*/ 3117526 w 4527226"/>
              <a:gd name="connsiteY96" fmla="*/ 4119048 h 6062148"/>
              <a:gd name="connsiteX97" fmla="*/ 3163246 w 4527226"/>
              <a:gd name="connsiteY97" fmla="*/ 4157148 h 6062148"/>
              <a:gd name="connsiteX98" fmla="*/ 3201346 w 4527226"/>
              <a:gd name="connsiteY98" fmla="*/ 4164768 h 6062148"/>
              <a:gd name="connsiteX99" fmla="*/ 3231826 w 4527226"/>
              <a:gd name="connsiteY99" fmla="*/ 4172388 h 6062148"/>
              <a:gd name="connsiteX100" fmla="*/ 3285166 w 4527226"/>
              <a:gd name="connsiteY100" fmla="*/ 4294308 h 6062148"/>
              <a:gd name="connsiteX101" fmla="*/ 3300406 w 4527226"/>
              <a:gd name="connsiteY101" fmla="*/ 4347648 h 6062148"/>
              <a:gd name="connsiteX102" fmla="*/ 3330886 w 4527226"/>
              <a:gd name="connsiteY102" fmla="*/ 4408608 h 6062148"/>
              <a:gd name="connsiteX103" fmla="*/ 3551866 w 4527226"/>
              <a:gd name="connsiteY103" fmla="*/ 4644828 h 6062148"/>
              <a:gd name="connsiteX104" fmla="*/ 3887146 w 4527226"/>
              <a:gd name="connsiteY104" fmla="*/ 5025828 h 6062148"/>
              <a:gd name="connsiteX105" fmla="*/ 4100506 w 4527226"/>
              <a:gd name="connsiteY105" fmla="*/ 5300148 h 6062148"/>
              <a:gd name="connsiteX106" fmla="*/ 4367206 w 4527226"/>
              <a:gd name="connsiteY106" fmla="*/ 5726868 h 6062148"/>
              <a:gd name="connsiteX107" fmla="*/ 4527226 w 4527226"/>
              <a:gd name="connsiteY107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65766 w 4527226"/>
              <a:gd name="connsiteY32" fmla="*/ 2930328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2957506 w 4527226"/>
              <a:gd name="connsiteY89" fmla="*/ 3562788 h 6062148"/>
              <a:gd name="connsiteX90" fmla="*/ 3010846 w 4527226"/>
              <a:gd name="connsiteY90" fmla="*/ 3539928 h 6062148"/>
              <a:gd name="connsiteX91" fmla="*/ 3064186 w 4527226"/>
              <a:gd name="connsiteY91" fmla="*/ 3562788 h 6062148"/>
              <a:gd name="connsiteX92" fmla="*/ 3109906 w 4527226"/>
              <a:gd name="connsiteY92" fmla="*/ 3570408 h 6062148"/>
              <a:gd name="connsiteX93" fmla="*/ 3140386 w 4527226"/>
              <a:gd name="connsiteY93" fmla="*/ 3631368 h 6062148"/>
              <a:gd name="connsiteX94" fmla="*/ 3117526 w 4527226"/>
              <a:gd name="connsiteY94" fmla="*/ 3738048 h 6062148"/>
              <a:gd name="connsiteX95" fmla="*/ 3125146 w 4527226"/>
              <a:gd name="connsiteY95" fmla="*/ 4103808 h 6062148"/>
              <a:gd name="connsiteX96" fmla="*/ 3117526 w 4527226"/>
              <a:gd name="connsiteY96" fmla="*/ 4119048 h 6062148"/>
              <a:gd name="connsiteX97" fmla="*/ 3163246 w 4527226"/>
              <a:gd name="connsiteY97" fmla="*/ 4157148 h 6062148"/>
              <a:gd name="connsiteX98" fmla="*/ 3201346 w 4527226"/>
              <a:gd name="connsiteY98" fmla="*/ 4164768 h 6062148"/>
              <a:gd name="connsiteX99" fmla="*/ 3231826 w 4527226"/>
              <a:gd name="connsiteY99" fmla="*/ 4172388 h 6062148"/>
              <a:gd name="connsiteX100" fmla="*/ 3285166 w 4527226"/>
              <a:gd name="connsiteY100" fmla="*/ 4294308 h 6062148"/>
              <a:gd name="connsiteX101" fmla="*/ 3300406 w 4527226"/>
              <a:gd name="connsiteY101" fmla="*/ 4347648 h 6062148"/>
              <a:gd name="connsiteX102" fmla="*/ 3330886 w 4527226"/>
              <a:gd name="connsiteY102" fmla="*/ 4408608 h 6062148"/>
              <a:gd name="connsiteX103" fmla="*/ 3551866 w 4527226"/>
              <a:gd name="connsiteY103" fmla="*/ 4644828 h 6062148"/>
              <a:gd name="connsiteX104" fmla="*/ 3887146 w 4527226"/>
              <a:gd name="connsiteY104" fmla="*/ 5025828 h 6062148"/>
              <a:gd name="connsiteX105" fmla="*/ 4100506 w 4527226"/>
              <a:gd name="connsiteY105" fmla="*/ 5300148 h 6062148"/>
              <a:gd name="connsiteX106" fmla="*/ 4367206 w 4527226"/>
              <a:gd name="connsiteY106" fmla="*/ 5726868 h 6062148"/>
              <a:gd name="connsiteX107" fmla="*/ 4527226 w 4527226"/>
              <a:gd name="connsiteY107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2957506 w 4527226"/>
              <a:gd name="connsiteY89" fmla="*/ 3562788 h 6062148"/>
              <a:gd name="connsiteX90" fmla="*/ 3010846 w 4527226"/>
              <a:gd name="connsiteY90" fmla="*/ 3539928 h 6062148"/>
              <a:gd name="connsiteX91" fmla="*/ 3064186 w 4527226"/>
              <a:gd name="connsiteY91" fmla="*/ 3562788 h 6062148"/>
              <a:gd name="connsiteX92" fmla="*/ 3109906 w 4527226"/>
              <a:gd name="connsiteY92" fmla="*/ 3570408 h 6062148"/>
              <a:gd name="connsiteX93" fmla="*/ 3140386 w 4527226"/>
              <a:gd name="connsiteY93" fmla="*/ 3631368 h 6062148"/>
              <a:gd name="connsiteX94" fmla="*/ 3117526 w 4527226"/>
              <a:gd name="connsiteY94" fmla="*/ 3738048 h 6062148"/>
              <a:gd name="connsiteX95" fmla="*/ 3125146 w 4527226"/>
              <a:gd name="connsiteY95" fmla="*/ 4103808 h 6062148"/>
              <a:gd name="connsiteX96" fmla="*/ 3117526 w 4527226"/>
              <a:gd name="connsiteY96" fmla="*/ 4119048 h 6062148"/>
              <a:gd name="connsiteX97" fmla="*/ 3163246 w 4527226"/>
              <a:gd name="connsiteY97" fmla="*/ 4157148 h 6062148"/>
              <a:gd name="connsiteX98" fmla="*/ 3201346 w 4527226"/>
              <a:gd name="connsiteY98" fmla="*/ 4164768 h 6062148"/>
              <a:gd name="connsiteX99" fmla="*/ 3231826 w 4527226"/>
              <a:gd name="connsiteY99" fmla="*/ 4172388 h 6062148"/>
              <a:gd name="connsiteX100" fmla="*/ 3285166 w 4527226"/>
              <a:gd name="connsiteY100" fmla="*/ 4294308 h 6062148"/>
              <a:gd name="connsiteX101" fmla="*/ 3300406 w 4527226"/>
              <a:gd name="connsiteY101" fmla="*/ 4347648 h 6062148"/>
              <a:gd name="connsiteX102" fmla="*/ 3330886 w 4527226"/>
              <a:gd name="connsiteY102" fmla="*/ 4408608 h 6062148"/>
              <a:gd name="connsiteX103" fmla="*/ 3551866 w 4527226"/>
              <a:gd name="connsiteY103" fmla="*/ 4644828 h 6062148"/>
              <a:gd name="connsiteX104" fmla="*/ 3887146 w 4527226"/>
              <a:gd name="connsiteY104" fmla="*/ 5025828 h 6062148"/>
              <a:gd name="connsiteX105" fmla="*/ 4100506 w 4527226"/>
              <a:gd name="connsiteY105" fmla="*/ 5300148 h 6062148"/>
              <a:gd name="connsiteX106" fmla="*/ 4367206 w 4527226"/>
              <a:gd name="connsiteY106" fmla="*/ 5726868 h 6062148"/>
              <a:gd name="connsiteX107" fmla="*/ 4527226 w 4527226"/>
              <a:gd name="connsiteY107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3010846 w 4527226"/>
              <a:gd name="connsiteY89" fmla="*/ 3539928 h 6062148"/>
              <a:gd name="connsiteX90" fmla="*/ 3064186 w 4527226"/>
              <a:gd name="connsiteY90" fmla="*/ 3562788 h 6062148"/>
              <a:gd name="connsiteX91" fmla="*/ 3109906 w 4527226"/>
              <a:gd name="connsiteY91" fmla="*/ 3570408 h 6062148"/>
              <a:gd name="connsiteX92" fmla="*/ 3140386 w 4527226"/>
              <a:gd name="connsiteY92" fmla="*/ 3631368 h 6062148"/>
              <a:gd name="connsiteX93" fmla="*/ 3117526 w 4527226"/>
              <a:gd name="connsiteY93" fmla="*/ 3738048 h 6062148"/>
              <a:gd name="connsiteX94" fmla="*/ 3125146 w 4527226"/>
              <a:gd name="connsiteY94" fmla="*/ 4103808 h 6062148"/>
              <a:gd name="connsiteX95" fmla="*/ 3117526 w 4527226"/>
              <a:gd name="connsiteY95" fmla="*/ 4119048 h 6062148"/>
              <a:gd name="connsiteX96" fmla="*/ 3163246 w 4527226"/>
              <a:gd name="connsiteY96" fmla="*/ 4157148 h 6062148"/>
              <a:gd name="connsiteX97" fmla="*/ 3201346 w 4527226"/>
              <a:gd name="connsiteY97" fmla="*/ 4164768 h 6062148"/>
              <a:gd name="connsiteX98" fmla="*/ 3231826 w 4527226"/>
              <a:gd name="connsiteY98" fmla="*/ 4172388 h 6062148"/>
              <a:gd name="connsiteX99" fmla="*/ 3285166 w 4527226"/>
              <a:gd name="connsiteY99" fmla="*/ 4294308 h 6062148"/>
              <a:gd name="connsiteX100" fmla="*/ 3300406 w 4527226"/>
              <a:gd name="connsiteY100" fmla="*/ 4347648 h 6062148"/>
              <a:gd name="connsiteX101" fmla="*/ 3330886 w 4527226"/>
              <a:gd name="connsiteY101" fmla="*/ 4408608 h 6062148"/>
              <a:gd name="connsiteX102" fmla="*/ 3551866 w 4527226"/>
              <a:gd name="connsiteY102" fmla="*/ 4644828 h 6062148"/>
              <a:gd name="connsiteX103" fmla="*/ 3887146 w 4527226"/>
              <a:gd name="connsiteY103" fmla="*/ 5025828 h 6062148"/>
              <a:gd name="connsiteX104" fmla="*/ 4100506 w 4527226"/>
              <a:gd name="connsiteY104" fmla="*/ 5300148 h 6062148"/>
              <a:gd name="connsiteX105" fmla="*/ 4367206 w 4527226"/>
              <a:gd name="connsiteY105" fmla="*/ 5726868 h 6062148"/>
              <a:gd name="connsiteX106" fmla="*/ 4527226 w 4527226"/>
              <a:gd name="connsiteY106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3010846 w 4527226"/>
              <a:gd name="connsiteY89" fmla="*/ 3539928 h 6062148"/>
              <a:gd name="connsiteX90" fmla="*/ 3109906 w 4527226"/>
              <a:gd name="connsiteY90" fmla="*/ 3570408 h 6062148"/>
              <a:gd name="connsiteX91" fmla="*/ 3140386 w 4527226"/>
              <a:gd name="connsiteY91" fmla="*/ 3631368 h 6062148"/>
              <a:gd name="connsiteX92" fmla="*/ 3117526 w 4527226"/>
              <a:gd name="connsiteY92" fmla="*/ 3738048 h 6062148"/>
              <a:gd name="connsiteX93" fmla="*/ 3125146 w 4527226"/>
              <a:gd name="connsiteY93" fmla="*/ 4103808 h 6062148"/>
              <a:gd name="connsiteX94" fmla="*/ 3117526 w 4527226"/>
              <a:gd name="connsiteY94" fmla="*/ 4119048 h 6062148"/>
              <a:gd name="connsiteX95" fmla="*/ 3163246 w 4527226"/>
              <a:gd name="connsiteY95" fmla="*/ 4157148 h 6062148"/>
              <a:gd name="connsiteX96" fmla="*/ 3201346 w 4527226"/>
              <a:gd name="connsiteY96" fmla="*/ 4164768 h 6062148"/>
              <a:gd name="connsiteX97" fmla="*/ 3231826 w 4527226"/>
              <a:gd name="connsiteY97" fmla="*/ 4172388 h 6062148"/>
              <a:gd name="connsiteX98" fmla="*/ 3285166 w 4527226"/>
              <a:gd name="connsiteY98" fmla="*/ 4294308 h 6062148"/>
              <a:gd name="connsiteX99" fmla="*/ 3300406 w 4527226"/>
              <a:gd name="connsiteY99" fmla="*/ 4347648 h 6062148"/>
              <a:gd name="connsiteX100" fmla="*/ 3330886 w 4527226"/>
              <a:gd name="connsiteY100" fmla="*/ 4408608 h 6062148"/>
              <a:gd name="connsiteX101" fmla="*/ 3551866 w 4527226"/>
              <a:gd name="connsiteY101" fmla="*/ 4644828 h 6062148"/>
              <a:gd name="connsiteX102" fmla="*/ 3887146 w 4527226"/>
              <a:gd name="connsiteY102" fmla="*/ 5025828 h 6062148"/>
              <a:gd name="connsiteX103" fmla="*/ 4100506 w 4527226"/>
              <a:gd name="connsiteY103" fmla="*/ 5300148 h 6062148"/>
              <a:gd name="connsiteX104" fmla="*/ 4367206 w 4527226"/>
              <a:gd name="connsiteY104" fmla="*/ 5726868 h 6062148"/>
              <a:gd name="connsiteX105" fmla="*/ 4527226 w 4527226"/>
              <a:gd name="connsiteY105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3010846 w 4527226"/>
              <a:gd name="connsiteY89" fmla="*/ 3539928 h 6062148"/>
              <a:gd name="connsiteX90" fmla="*/ 3109906 w 4527226"/>
              <a:gd name="connsiteY90" fmla="*/ 3570408 h 6062148"/>
              <a:gd name="connsiteX91" fmla="*/ 3140386 w 4527226"/>
              <a:gd name="connsiteY91" fmla="*/ 3631368 h 6062148"/>
              <a:gd name="connsiteX92" fmla="*/ 3117526 w 4527226"/>
              <a:gd name="connsiteY92" fmla="*/ 3738048 h 6062148"/>
              <a:gd name="connsiteX93" fmla="*/ 3125146 w 4527226"/>
              <a:gd name="connsiteY93" fmla="*/ 4103808 h 6062148"/>
              <a:gd name="connsiteX94" fmla="*/ 3163246 w 4527226"/>
              <a:gd name="connsiteY94" fmla="*/ 4157148 h 6062148"/>
              <a:gd name="connsiteX95" fmla="*/ 3201346 w 4527226"/>
              <a:gd name="connsiteY95" fmla="*/ 4164768 h 6062148"/>
              <a:gd name="connsiteX96" fmla="*/ 3231826 w 4527226"/>
              <a:gd name="connsiteY96" fmla="*/ 4172388 h 6062148"/>
              <a:gd name="connsiteX97" fmla="*/ 3285166 w 4527226"/>
              <a:gd name="connsiteY97" fmla="*/ 4294308 h 6062148"/>
              <a:gd name="connsiteX98" fmla="*/ 3300406 w 4527226"/>
              <a:gd name="connsiteY98" fmla="*/ 4347648 h 6062148"/>
              <a:gd name="connsiteX99" fmla="*/ 3330886 w 4527226"/>
              <a:gd name="connsiteY99" fmla="*/ 4408608 h 6062148"/>
              <a:gd name="connsiteX100" fmla="*/ 3551866 w 4527226"/>
              <a:gd name="connsiteY100" fmla="*/ 4644828 h 6062148"/>
              <a:gd name="connsiteX101" fmla="*/ 3887146 w 4527226"/>
              <a:gd name="connsiteY101" fmla="*/ 5025828 h 6062148"/>
              <a:gd name="connsiteX102" fmla="*/ 4100506 w 4527226"/>
              <a:gd name="connsiteY102" fmla="*/ 5300148 h 6062148"/>
              <a:gd name="connsiteX103" fmla="*/ 4367206 w 4527226"/>
              <a:gd name="connsiteY103" fmla="*/ 5726868 h 6062148"/>
              <a:gd name="connsiteX104" fmla="*/ 4527226 w 4527226"/>
              <a:gd name="connsiteY104" fmla="*/ 6046908 h 6062148"/>
              <a:gd name="connsiteX0" fmla="*/ 381946 w 4527226"/>
              <a:gd name="connsiteY0" fmla="*/ 5924988 h 6046908"/>
              <a:gd name="connsiteX1" fmla="*/ 442906 w 4527226"/>
              <a:gd name="connsiteY1" fmla="*/ 5780208 h 6046908"/>
              <a:gd name="connsiteX2" fmla="*/ 473386 w 4527226"/>
              <a:gd name="connsiteY2" fmla="*/ 5665908 h 6046908"/>
              <a:gd name="connsiteX3" fmla="*/ 511486 w 4527226"/>
              <a:gd name="connsiteY3" fmla="*/ 5612568 h 6046908"/>
              <a:gd name="connsiteX4" fmla="*/ 541966 w 4527226"/>
              <a:gd name="connsiteY4" fmla="*/ 5521128 h 6046908"/>
              <a:gd name="connsiteX5" fmla="*/ 564826 w 4527226"/>
              <a:gd name="connsiteY5" fmla="*/ 5353488 h 6046908"/>
              <a:gd name="connsiteX6" fmla="*/ 602926 w 4527226"/>
              <a:gd name="connsiteY6" fmla="*/ 5223948 h 6046908"/>
              <a:gd name="connsiteX7" fmla="*/ 625786 w 4527226"/>
              <a:gd name="connsiteY7" fmla="*/ 5178228 h 6046908"/>
              <a:gd name="connsiteX8" fmla="*/ 701986 w 4527226"/>
              <a:gd name="connsiteY8" fmla="*/ 5071548 h 6046908"/>
              <a:gd name="connsiteX9" fmla="*/ 717226 w 4527226"/>
              <a:gd name="connsiteY9" fmla="*/ 5063928 h 6046908"/>
              <a:gd name="connsiteX10" fmla="*/ 709606 w 4527226"/>
              <a:gd name="connsiteY10" fmla="*/ 5025828 h 6046908"/>
              <a:gd name="connsiteX11" fmla="*/ 701986 w 4527226"/>
              <a:gd name="connsiteY11" fmla="*/ 5002968 h 6046908"/>
              <a:gd name="connsiteX12" fmla="*/ 968686 w 4527226"/>
              <a:gd name="connsiteY12" fmla="*/ 4682928 h 6046908"/>
              <a:gd name="connsiteX13" fmla="*/ 961066 w 4527226"/>
              <a:gd name="connsiteY13" fmla="*/ 4644828 h 6046908"/>
              <a:gd name="connsiteX14" fmla="*/ 1342066 w 4527226"/>
              <a:gd name="connsiteY14" fmla="*/ 4172388 h 6046908"/>
              <a:gd name="connsiteX15" fmla="*/ 1258246 w 4527226"/>
              <a:gd name="connsiteY15" fmla="*/ 4012368 h 6046908"/>
              <a:gd name="connsiteX16" fmla="*/ 1204906 w 4527226"/>
              <a:gd name="connsiteY16" fmla="*/ 3928548 h 6046908"/>
              <a:gd name="connsiteX17" fmla="*/ 1174426 w 4527226"/>
              <a:gd name="connsiteY17" fmla="*/ 3768528 h 6046908"/>
              <a:gd name="connsiteX18" fmla="*/ 1151566 w 4527226"/>
              <a:gd name="connsiteY18" fmla="*/ 3699948 h 6046908"/>
              <a:gd name="connsiteX19" fmla="*/ 1143946 w 4527226"/>
              <a:gd name="connsiteY19" fmla="*/ 3669468 h 6046908"/>
              <a:gd name="connsiteX20" fmla="*/ 1067746 w 4527226"/>
              <a:gd name="connsiteY20" fmla="*/ 3661848 h 6046908"/>
              <a:gd name="connsiteX21" fmla="*/ 938206 w 4527226"/>
              <a:gd name="connsiteY21" fmla="*/ 3669468 h 6046908"/>
              <a:gd name="connsiteX22" fmla="*/ 831526 w 4527226"/>
              <a:gd name="connsiteY22" fmla="*/ 3692328 h 6046908"/>
              <a:gd name="connsiteX23" fmla="*/ 610546 w 4527226"/>
              <a:gd name="connsiteY23" fmla="*/ 3738048 h 6046908"/>
              <a:gd name="connsiteX24" fmla="*/ 389566 w 4527226"/>
              <a:gd name="connsiteY24" fmla="*/ 3638988 h 6046908"/>
              <a:gd name="connsiteX25" fmla="*/ 381946 w 4527226"/>
              <a:gd name="connsiteY25" fmla="*/ 3326568 h 6046908"/>
              <a:gd name="connsiteX26" fmla="*/ 420046 w 4527226"/>
              <a:gd name="connsiteY26" fmla="*/ 3227508 h 6046908"/>
              <a:gd name="connsiteX27" fmla="*/ 389566 w 4527226"/>
              <a:gd name="connsiteY27" fmla="*/ 3166548 h 6046908"/>
              <a:gd name="connsiteX28" fmla="*/ 351466 w 4527226"/>
              <a:gd name="connsiteY28" fmla="*/ 3105588 h 6046908"/>
              <a:gd name="connsiteX29" fmla="*/ 397186 w 4527226"/>
              <a:gd name="connsiteY29" fmla="*/ 3021768 h 6046908"/>
              <a:gd name="connsiteX30" fmla="*/ 488626 w 4527226"/>
              <a:gd name="connsiteY30" fmla="*/ 2998908 h 6046908"/>
              <a:gd name="connsiteX31" fmla="*/ 471956 w 4527226"/>
              <a:gd name="connsiteY31" fmla="*/ 2942709 h 6046908"/>
              <a:gd name="connsiteX32" fmla="*/ 435286 w 4527226"/>
              <a:gd name="connsiteY32" fmla="*/ 2930328 h 6046908"/>
              <a:gd name="connsiteX33" fmla="*/ 389566 w 4527226"/>
              <a:gd name="connsiteY33" fmla="*/ 2930328 h 6046908"/>
              <a:gd name="connsiteX34" fmla="*/ 314000 w 4527226"/>
              <a:gd name="connsiteY34" fmla="*/ 2893495 h 6046908"/>
              <a:gd name="connsiteX35" fmla="*/ 320986 w 4527226"/>
              <a:gd name="connsiteY35" fmla="*/ 2846508 h 6046908"/>
              <a:gd name="connsiteX36" fmla="*/ 328606 w 4527226"/>
              <a:gd name="connsiteY36" fmla="*/ 2793168 h 6046908"/>
              <a:gd name="connsiteX37" fmla="*/ 313366 w 4527226"/>
              <a:gd name="connsiteY37" fmla="*/ 2732208 h 6046908"/>
              <a:gd name="connsiteX38" fmla="*/ 267646 w 4527226"/>
              <a:gd name="connsiteY38" fmla="*/ 2671248 h 6046908"/>
              <a:gd name="connsiteX39" fmla="*/ 176206 w 4527226"/>
              <a:gd name="connsiteY39" fmla="*/ 2656008 h 6046908"/>
              <a:gd name="connsiteX40" fmla="*/ 54286 w 4527226"/>
              <a:gd name="connsiteY40" fmla="*/ 2610288 h 6046908"/>
              <a:gd name="connsiteX41" fmla="*/ 7931 w 4527226"/>
              <a:gd name="connsiteY41" fmla="*/ 2563298 h 6046908"/>
              <a:gd name="connsiteX42" fmla="*/ 8566 w 4527226"/>
              <a:gd name="connsiteY42" fmla="*/ 2488368 h 6046908"/>
              <a:gd name="connsiteX43" fmla="*/ 92386 w 4527226"/>
              <a:gd name="connsiteY43" fmla="*/ 2335968 h 6046908"/>
              <a:gd name="connsiteX44" fmla="*/ 221926 w 4527226"/>
              <a:gd name="connsiteY44" fmla="*/ 2175948 h 6046908"/>
              <a:gd name="connsiteX45" fmla="*/ 282886 w 4527226"/>
              <a:gd name="connsiteY45" fmla="*/ 2084508 h 6046908"/>
              <a:gd name="connsiteX46" fmla="*/ 328606 w 4527226"/>
              <a:gd name="connsiteY46" fmla="*/ 1977828 h 6046908"/>
              <a:gd name="connsiteX47" fmla="*/ 359086 w 4527226"/>
              <a:gd name="connsiteY47" fmla="*/ 1871148 h 6046908"/>
              <a:gd name="connsiteX48" fmla="*/ 374326 w 4527226"/>
              <a:gd name="connsiteY48" fmla="*/ 1810188 h 6046908"/>
              <a:gd name="connsiteX49" fmla="*/ 343846 w 4527226"/>
              <a:gd name="connsiteY49" fmla="*/ 1756848 h 6046908"/>
              <a:gd name="connsiteX50" fmla="*/ 328606 w 4527226"/>
              <a:gd name="connsiteY50" fmla="*/ 1680648 h 6046908"/>
              <a:gd name="connsiteX51" fmla="*/ 412426 w 4527226"/>
              <a:gd name="connsiteY51" fmla="*/ 1474908 h 6046908"/>
              <a:gd name="connsiteX52" fmla="*/ 442906 w 4527226"/>
              <a:gd name="connsiteY52" fmla="*/ 1307268 h 6046908"/>
              <a:gd name="connsiteX53" fmla="*/ 465766 w 4527226"/>
              <a:gd name="connsiteY53" fmla="*/ 1192968 h 6046908"/>
              <a:gd name="connsiteX54" fmla="*/ 503866 w 4527226"/>
              <a:gd name="connsiteY54" fmla="*/ 1055808 h 6046908"/>
              <a:gd name="connsiteX55" fmla="*/ 557206 w 4527226"/>
              <a:gd name="connsiteY55" fmla="*/ 888168 h 6046908"/>
              <a:gd name="connsiteX56" fmla="*/ 503866 w 4527226"/>
              <a:gd name="connsiteY56" fmla="*/ 888168 h 6046908"/>
              <a:gd name="connsiteX57" fmla="*/ 412426 w 4527226"/>
              <a:gd name="connsiteY57" fmla="*/ 834828 h 6046908"/>
              <a:gd name="connsiteX58" fmla="*/ 328606 w 4527226"/>
              <a:gd name="connsiteY58" fmla="*/ 789108 h 6046908"/>
              <a:gd name="connsiteX59" fmla="*/ 260026 w 4527226"/>
              <a:gd name="connsiteY59" fmla="*/ 773868 h 6046908"/>
              <a:gd name="connsiteX60" fmla="*/ 214306 w 4527226"/>
              <a:gd name="connsiteY60" fmla="*/ 751008 h 6046908"/>
              <a:gd name="connsiteX61" fmla="*/ 260026 w 4527226"/>
              <a:gd name="connsiteY61" fmla="*/ 674808 h 6046908"/>
              <a:gd name="connsiteX62" fmla="*/ 374326 w 4527226"/>
              <a:gd name="connsiteY62" fmla="*/ 606228 h 6046908"/>
              <a:gd name="connsiteX63" fmla="*/ 557206 w 4527226"/>
              <a:gd name="connsiteY63" fmla="*/ 507168 h 6046908"/>
              <a:gd name="connsiteX64" fmla="*/ 656266 w 4527226"/>
              <a:gd name="connsiteY64" fmla="*/ 423348 h 6046908"/>
              <a:gd name="connsiteX65" fmla="*/ 892486 w 4527226"/>
              <a:gd name="connsiteY65" fmla="*/ 232848 h 6046908"/>
              <a:gd name="connsiteX66" fmla="*/ 1174426 w 4527226"/>
              <a:gd name="connsiteY66" fmla="*/ 80448 h 6046908"/>
              <a:gd name="connsiteX67" fmla="*/ 1593526 w 4527226"/>
              <a:gd name="connsiteY67" fmla="*/ 11868 h 6046908"/>
              <a:gd name="connsiteX68" fmla="*/ 1944046 w 4527226"/>
              <a:gd name="connsiteY68" fmla="*/ 4248 h 6046908"/>
              <a:gd name="connsiteX69" fmla="*/ 2172646 w 4527226"/>
              <a:gd name="connsiteY69" fmla="*/ 4248 h 6046908"/>
              <a:gd name="connsiteX70" fmla="*/ 2393626 w 4527226"/>
              <a:gd name="connsiteY70" fmla="*/ 57588 h 6046908"/>
              <a:gd name="connsiteX71" fmla="*/ 2667946 w 4527226"/>
              <a:gd name="connsiteY71" fmla="*/ 133788 h 6046908"/>
              <a:gd name="connsiteX72" fmla="*/ 2820346 w 4527226"/>
              <a:gd name="connsiteY72" fmla="*/ 202368 h 6046908"/>
              <a:gd name="connsiteX73" fmla="*/ 3102286 w 4527226"/>
              <a:gd name="connsiteY73" fmla="*/ 400488 h 6046908"/>
              <a:gd name="connsiteX74" fmla="*/ 3285166 w 4527226"/>
              <a:gd name="connsiteY74" fmla="*/ 651948 h 6046908"/>
              <a:gd name="connsiteX75" fmla="*/ 3407086 w 4527226"/>
              <a:gd name="connsiteY75" fmla="*/ 918648 h 6046908"/>
              <a:gd name="connsiteX76" fmla="*/ 3475666 w 4527226"/>
              <a:gd name="connsiteY76" fmla="*/ 1238688 h 6046908"/>
              <a:gd name="connsiteX77" fmla="*/ 3506146 w 4527226"/>
              <a:gd name="connsiteY77" fmla="*/ 1543488 h 6046908"/>
              <a:gd name="connsiteX78" fmla="*/ 3506146 w 4527226"/>
              <a:gd name="connsiteY78" fmla="*/ 1962588 h 6046908"/>
              <a:gd name="connsiteX79" fmla="*/ 3338506 w 4527226"/>
              <a:gd name="connsiteY79" fmla="*/ 2305488 h 6046908"/>
              <a:gd name="connsiteX80" fmla="*/ 3254686 w 4527226"/>
              <a:gd name="connsiteY80" fmla="*/ 2473128 h 6046908"/>
              <a:gd name="connsiteX81" fmla="*/ 3132766 w 4527226"/>
              <a:gd name="connsiteY81" fmla="*/ 2663628 h 6046908"/>
              <a:gd name="connsiteX82" fmla="*/ 3071806 w 4527226"/>
              <a:gd name="connsiteY82" fmla="*/ 2838888 h 6046908"/>
              <a:gd name="connsiteX83" fmla="*/ 3064186 w 4527226"/>
              <a:gd name="connsiteY83" fmla="*/ 2915088 h 6046908"/>
              <a:gd name="connsiteX84" fmla="*/ 3018466 w 4527226"/>
              <a:gd name="connsiteY84" fmla="*/ 3014148 h 6046908"/>
              <a:gd name="connsiteX85" fmla="*/ 2980366 w 4527226"/>
              <a:gd name="connsiteY85" fmla="*/ 3082728 h 6046908"/>
              <a:gd name="connsiteX86" fmla="*/ 2957506 w 4527226"/>
              <a:gd name="connsiteY86" fmla="*/ 3120828 h 6046908"/>
              <a:gd name="connsiteX87" fmla="*/ 2957506 w 4527226"/>
              <a:gd name="connsiteY87" fmla="*/ 3555168 h 6046908"/>
              <a:gd name="connsiteX88" fmla="*/ 3010846 w 4527226"/>
              <a:gd name="connsiteY88" fmla="*/ 3539928 h 6046908"/>
              <a:gd name="connsiteX89" fmla="*/ 3109906 w 4527226"/>
              <a:gd name="connsiteY89" fmla="*/ 3570408 h 6046908"/>
              <a:gd name="connsiteX90" fmla="*/ 3140386 w 4527226"/>
              <a:gd name="connsiteY90" fmla="*/ 3631368 h 6046908"/>
              <a:gd name="connsiteX91" fmla="*/ 3117526 w 4527226"/>
              <a:gd name="connsiteY91" fmla="*/ 3738048 h 6046908"/>
              <a:gd name="connsiteX92" fmla="*/ 3125146 w 4527226"/>
              <a:gd name="connsiteY92" fmla="*/ 4103808 h 6046908"/>
              <a:gd name="connsiteX93" fmla="*/ 3163246 w 4527226"/>
              <a:gd name="connsiteY93" fmla="*/ 4157148 h 6046908"/>
              <a:gd name="connsiteX94" fmla="*/ 3201346 w 4527226"/>
              <a:gd name="connsiteY94" fmla="*/ 4164768 h 6046908"/>
              <a:gd name="connsiteX95" fmla="*/ 3231826 w 4527226"/>
              <a:gd name="connsiteY95" fmla="*/ 4172388 h 6046908"/>
              <a:gd name="connsiteX96" fmla="*/ 3285166 w 4527226"/>
              <a:gd name="connsiteY96" fmla="*/ 4294308 h 6046908"/>
              <a:gd name="connsiteX97" fmla="*/ 3300406 w 4527226"/>
              <a:gd name="connsiteY97" fmla="*/ 4347648 h 6046908"/>
              <a:gd name="connsiteX98" fmla="*/ 3330886 w 4527226"/>
              <a:gd name="connsiteY98" fmla="*/ 4408608 h 6046908"/>
              <a:gd name="connsiteX99" fmla="*/ 3551866 w 4527226"/>
              <a:gd name="connsiteY99" fmla="*/ 4644828 h 6046908"/>
              <a:gd name="connsiteX100" fmla="*/ 3887146 w 4527226"/>
              <a:gd name="connsiteY100" fmla="*/ 5025828 h 6046908"/>
              <a:gd name="connsiteX101" fmla="*/ 4100506 w 4527226"/>
              <a:gd name="connsiteY101" fmla="*/ 5300148 h 6046908"/>
              <a:gd name="connsiteX102" fmla="*/ 4367206 w 4527226"/>
              <a:gd name="connsiteY102" fmla="*/ 5726868 h 6046908"/>
              <a:gd name="connsiteX103" fmla="*/ 4527226 w 4527226"/>
              <a:gd name="connsiteY103" fmla="*/ 6046908 h 6046908"/>
              <a:gd name="connsiteX0" fmla="*/ 442906 w 4527226"/>
              <a:gd name="connsiteY0" fmla="*/ 5780208 h 6046908"/>
              <a:gd name="connsiteX1" fmla="*/ 473386 w 4527226"/>
              <a:gd name="connsiteY1" fmla="*/ 5665908 h 6046908"/>
              <a:gd name="connsiteX2" fmla="*/ 511486 w 4527226"/>
              <a:gd name="connsiteY2" fmla="*/ 5612568 h 6046908"/>
              <a:gd name="connsiteX3" fmla="*/ 541966 w 4527226"/>
              <a:gd name="connsiteY3" fmla="*/ 5521128 h 6046908"/>
              <a:gd name="connsiteX4" fmla="*/ 564826 w 4527226"/>
              <a:gd name="connsiteY4" fmla="*/ 5353488 h 6046908"/>
              <a:gd name="connsiteX5" fmla="*/ 602926 w 4527226"/>
              <a:gd name="connsiteY5" fmla="*/ 5223948 h 6046908"/>
              <a:gd name="connsiteX6" fmla="*/ 625786 w 4527226"/>
              <a:gd name="connsiteY6" fmla="*/ 5178228 h 6046908"/>
              <a:gd name="connsiteX7" fmla="*/ 701986 w 4527226"/>
              <a:gd name="connsiteY7" fmla="*/ 5071548 h 6046908"/>
              <a:gd name="connsiteX8" fmla="*/ 717226 w 4527226"/>
              <a:gd name="connsiteY8" fmla="*/ 5063928 h 6046908"/>
              <a:gd name="connsiteX9" fmla="*/ 709606 w 4527226"/>
              <a:gd name="connsiteY9" fmla="*/ 5025828 h 6046908"/>
              <a:gd name="connsiteX10" fmla="*/ 701986 w 4527226"/>
              <a:gd name="connsiteY10" fmla="*/ 5002968 h 6046908"/>
              <a:gd name="connsiteX11" fmla="*/ 968686 w 4527226"/>
              <a:gd name="connsiteY11" fmla="*/ 4682928 h 6046908"/>
              <a:gd name="connsiteX12" fmla="*/ 961066 w 4527226"/>
              <a:gd name="connsiteY12" fmla="*/ 4644828 h 6046908"/>
              <a:gd name="connsiteX13" fmla="*/ 1342066 w 4527226"/>
              <a:gd name="connsiteY13" fmla="*/ 4172388 h 6046908"/>
              <a:gd name="connsiteX14" fmla="*/ 1258246 w 4527226"/>
              <a:gd name="connsiteY14" fmla="*/ 4012368 h 6046908"/>
              <a:gd name="connsiteX15" fmla="*/ 1204906 w 4527226"/>
              <a:gd name="connsiteY15" fmla="*/ 3928548 h 6046908"/>
              <a:gd name="connsiteX16" fmla="*/ 1174426 w 4527226"/>
              <a:gd name="connsiteY16" fmla="*/ 3768528 h 6046908"/>
              <a:gd name="connsiteX17" fmla="*/ 1151566 w 4527226"/>
              <a:gd name="connsiteY17" fmla="*/ 3699948 h 6046908"/>
              <a:gd name="connsiteX18" fmla="*/ 1143946 w 4527226"/>
              <a:gd name="connsiteY18" fmla="*/ 3669468 h 6046908"/>
              <a:gd name="connsiteX19" fmla="*/ 1067746 w 4527226"/>
              <a:gd name="connsiteY19" fmla="*/ 3661848 h 6046908"/>
              <a:gd name="connsiteX20" fmla="*/ 938206 w 4527226"/>
              <a:gd name="connsiteY20" fmla="*/ 3669468 h 6046908"/>
              <a:gd name="connsiteX21" fmla="*/ 831526 w 4527226"/>
              <a:gd name="connsiteY21" fmla="*/ 3692328 h 6046908"/>
              <a:gd name="connsiteX22" fmla="*/ 610546 w 4527226"/>
              <a:gd name="connsiteY22" fmla="*/ 3738048 h 6046908"/>
              <a:gd name="connsiteX23" fmla="*/ 389566 w 4527226"/>
              <a:gd name="connsiteY23" fmla="*/ 3638988 h 6046908"/>
              <a:gd name="connsiteX24" fmla="*/ 381946 w 4527226"/>
              <a:gd name="connsiteY24" fmla="*/ 3326568 h 6046908"/>
              <a:gd name="connsiteX25" fmla="*/ 420046 w 4527226"/>
              <a:gd name="connsiteY25" fmla="*/ 3227508 h 6046908"/>
              <a:gd name="connsiteX26" fmla="*/ 389566 w 4527226"/>
              <a:gd name="connsiteY26" fmla="*/ 3166548 h 6046908"/>
              <a:gd name="connsiteX27" fmla="*/ 351466 w 4527226"/>
              <a:gd name="connsiteY27" fmla="*/ 3105588 h 6046908"/>
              <a:gd name="connsiteX28" fmla="*/ 397186 w 4527226"/>
              <a:gd name="connsiteY28" fmla="*/ 3021768 h 6046908"/>
              <a:gd name="connsiteX29" fmla="*/ 488626 w 4527226"/>
              <a:gd name="connsiteY29" fmla="*/ 2998908 h 6046908"/>
              <a:gd name="connsiteX30" fmla="*/ 471956 w 4527226"/>
              <a:gd name="connsiteY30" fmla="*/ 2942709 h 6046908"/>
              <a:gd name="connsiteX31" fmla="*/ 435286 w 4527226"/>
              <a:gd name="connsiteY31" fmla="*/ 2930328 h 6046908"/>
              <a:gd name="connsiteX32" fmla="*/ 389566 w 4527226"/>
              <a:gd name="connsiteY32" fmla="*/ 2930328 h 6046908"/>
              <a:gd name="connsiteX33" fmla="*/ 314000 w 4527226"/>
              <a:gd name="connsiteY33" fmla="*/ 2893495 h 6046908"/>
              <a:gd name="connsiteX34" fmla="*/ 320986 w 4527226"/>
              <a:gd name="connsiteY34" fmla="*/ 2846508 h 6046908"/>
              <a:gd name="connsiteX35" fmla="*/ 328606 w 4527226"/>
              <a:gd name="connsiteY35" fmla="*/ 2793168 h 6046908"/>
              <a:gd name="connsiteX36" fmla="*/ 313366 w 4527226"/>
              <a:gd name="connsiteY36" fmla="*/ 2732208 h 6046908"/>
              <a:gd name="connsiteX37" fmla="*/ 267646 w 4527226"/>
              <a:gd name="connsiteY37" fmla="*/ 2671248 h 6046908"/>
              <a:gd name="connsiteX38" fmla="*/ 176206 w 4527226"/>
              <a:gd name="connsiteY38" fmla="*/ 2656008 h 6046908"/>
              <a:gd name="connsiteX39" fmla="*/ 54286 w 4527226"/>
              <a:gd name="connsiteY39" fmla="*/ 2610288 h 6046908"/>
              <a:gd name="connsiteX40" fmla="*/ 7931 w 4527226"/>
              <a:gd name="connsiteY40" fmla="*/ 2563298 h 6046908"/>
              <a:gd name="connsiteX41" fmla="*/ 8566 w 4527226"/>
              <a:gd name="connsiteY41" fmla="*/ 2488368 h 6046908"/>
              <a:gd name="connsiteX42" fmla="*/ 92386 w 4527226"/>
              <a:gd name="connsiteY42" fmla="*/ 2335968 h 6046908"/>
              <a:gd name="connsiteX43" fmla="*/ 221926 w 4527226"/>
              <a:gd name="connsiteY43" fmla="*/ 2175948 h 6046908"/>
              <a:gd name="connsiteX44" fmla="*/ 282886 w 4527226"/>
              <a:gd name="connsiteY44" fmla="*/ 2084508 h 6046908"/>
              <a:gd name="connsiteX45" fmla="*/ 328606 w 4527226"/>
              <a:gd name="connsiteY45" fmla="*/ 1977828 h 6046908"/>
              <a:gd name="connsiteX46" fmla="*/ 359086 w 4527226"/>
              <a:gd name="connsiteY46" fmla="*/ 1871148 h 6046908"/>
              <a:gd name="connsiteX47" fmla="*/ 374326 w 4527226"/>
              <a:gd name="connsiteY47" fmla="*/ 1810188 h 6046908"/>
              <a:gd name="connsiteX48" fmla="*/ 343846 w 4527226"/>
              <a:gd name="connsiteY48" fmla="*/ 1756848 h 6046908"/>
              <a:gd name="connsiteX49" fmla="*/ 328606 w 4527226"/>
              <a:gd name="connsiteY49" fmla="*/ 1680648 h 6046908"/>
              <a:gd name="connsiteX50" fmla="*/ 412426 w 4527226"/>
              <a:gd name="connsiteY50" fmla="*/ 1474908 h 6046908"/>
              <a:gd name="connsiteX51" fmla="*/ 442906 w 4527226"/>
              <a:gd name="connsiteY51" fmla="*/ 1307268 h 6046908"/>
              <a:gd name="connsiteX52" fmla="*/ 465766 w 4527226"/>
              <a:gd name="connsiteY52" fmla="*/ 1192968 h 6046908"/>
              <a:gd name="connsiteX53" fmla="*/ 503866 w 4527226"/>
              <a:gd name="connsiteY53" fmla="*/ 1055808 h 6046908"/>
              <a:gd name="connsiteX54" fmla="*/ 557206 w 4527226"/>
              <a:gd name="connsiteY54" fmla="*/ 888168 h 6046908"/>
              <a:gd name="connsiteX55" fmla="*/ 503866 w 4527226"/>
              <a:gd name="connsiteY55" fmla="*/ 888168 h 6046908"/>
              <a:gd name="connsiteX56" fmla="*/ 412426 w 4527226"/>
              <a:gd name="connsiteY56" fmla="*/ 834828 h 6046908"/>
              <a:gd name="connsiteX57" fmla="*/ 328606 w 4527226"/>
              <a:gd name="connsiteY57" fmla="*/ 789108 h 6046908"/>
              <a:gd name="connsiteX58" fmla="*/ 260026 w 4527226"/>
              <a:gd name="connsiteY58" fmla="*/ 773868 h 6046908"/>
              <a:gd name="connsiteX59" fmla="*/ 214306 w 4527226"/>
              <a:gd name="connsiteY59" fmla="*/ 751008 h 6046908"/>
              <a:gd name="connsiteX60" fmla="*/ 260026 w 4527226"/>
              <a:gd name="connsiteY60" fmla="*/ 674808 h 6046908"/>
              <a:gd name="connsiteX61" fmla="*/ 374326 w 4527226"/>
              <a:gd name="connsiteY61" fmla="*/ 606228 h 6046908"/>
              <a:gd name="connsiteX62" fmla="*/ 557206 w 4527226"/>
              <a:gd name="connsiteY62" fmla="*/ 507168 h 6046908"/>
              <a:gd name="connsiteX63" fmla="*/ 656266 w 4527226"/>
              <a:gd name="connsiteY63" fmla="*/ 423348 h 6046908"/>
              <a:gd name="connsiteX64" fmla="*/ 892486 w 4527226"/>
              <a:gd name="connsiteY64" fmla="*/ 232848 h 6046908"/>
              <a:gd name="connsiteX65" fmla="*/ 1174426 w 4527226"/>
              <a:gd name="connsiteY65" fmla="*/ 80448 h 6046908"/>
              <a:gd name="connsiteX66" fmla="*/ 1593526 w 4527226"/>
              <a:gd name="connsiteY66" fmla="*/ 11868 h 6046908"/>
              <a:gd name="connsiteX67" fmla="*/ 1944046 w 4527226"/>
              <a:gd name="connsiteY67" fmla="*/ 4248 h 6046908"/>
              <a:gd name="connsiteX68" fmla="*/ 2172646 w 4527226"/>
              <a:gd name="connsiteY68" fmla="*/ 4248 h 6046908"/>
              <a:gd name="connsiteX69" fmla="*/ 2393626 w 4527226"/>
              <a:gd name="connsiteY69" fmla="*/ 57588 h 6046908"/>
              <a:gd name="connsiteX70" fmla="*/ 2667946 w 4527226"/>
              <a:gd name="connsiteY70" fmla="*/ 133788 h 6046908"/>
              <a:gd name="connsiteX71" fmla="*/ 2820346 w 4527226"/>
              <a:gd name="connsiteY71" fmla="*/ 202368 h 6046908"/>
              <a:gd name="connsiteX72" fmla="*/ 3102286 w 4527226"/>
              <a:gd name="connsiteY72" fmla="*/ 400488 h 6046908"/>
              <a:gd name="connsiteX73" fmla="*/ 3285166 w 4527226"/>
              <a:gd name="connsiteY73" fmla="*/ 651948 h 6046908"/>
              <a:gd name="connsiteX74" fmla="*/ 3407086 w 4527226"/>
              <a:gd name="connsiteY74" fmla="*/ 918648 h 6046908"/>
              <a:gd name="connsiteX75" fmla="*/ 3475666 w 4527226"/>
              <a:gd name="connsiteY75" fmla="*/ 1238688 h 6046908"/>
              <a:gd name="connsiteX76" fmla="*/ 3506146 w 4527226"/>
              <a:gd name="connsiteY76" fmla="*/ 1543488 h 6046908"/>
              <a:gd name="connsiteX77" fmla="*/ 3506146 w 4527226"/>
              <a:gd name="connsiteY77" fmla="*/ 1962588 h 6046908"/>
              <a:gd name="connsiteX78" fmla="*/ 3338506 w 4527226"/>
              <a:gd name="connsiteY78" fmla="*/ 2305488 h 6046908"/>
              <a:gd name="connsiteX79" fmla="*/ 3254686 w 4527226"/>
              <a:gd name="connsiteY79" fmla="*/ 2473128 h 6046908"/>
              <a:gd name="connsiteX80" fmla="*/ 3132766 w 4527226"/>
              <a:gd name="connsiteY80" fmla="*/ 2663628 h 6046908"/>
              <a:gd name="connsiteX81" fmla="*/ 3071806 w 4527226"/>
              <a:gd name="connsiteY81" fmla="*/ 2838888 h 6046908"/>
              <a:gd name="connsiteX82" fmla="*/ 3064186 w 4527226"/>
              <a:gd name="connsiteY82" fmla="*/ 2915088 h 6046908"/>
              <a:gd name="connsiteX83" fmla="*/ 3018466 w 4527226"/>
              <a:gd name="connsiteY83" fmla="*/ 3014148 h 6046908"/>
              <a:gd name="connsiteX84" fmla="*/ 2980366 w 4527226"/>
              <a:gd name="connsiteY84" fmla="*/ 3082728 h 6046908"/>
              <a:gd name="connsiteX85" fmla="*/ 2957506 w 4527226"/>
              <a:gd name="connsiteY85" fmla="*/ 3120828 h 6046908"/>
              <a:gd name="connsiteX86" fmla="*/ 2957506 w 4527226"/>
              <a:gd name="connsiteY86" fmla="*/ 3555168 h 6046908"/>
              <a:gd name="connsiteX87" fmla="*/ 3010846 w 4527226"/>
              <a:gd name="connsiteY87" fmla="*/ 3539928 h 6046908"/>
              <a:gd name="connsiteX88" fmla="*/ 3109906 w 4527226"/>
              <a:gd name="connsiteY88" fmla="*/ 3570408 h 6046908"/>
              <a:gd name="connsiteX89" fmla="*/ 3140386 w 4527226"/>
              <a:gd name="connsiteY89" fmla="*/ 3631368 h 6046908"/>
              <a:gd name="connsiteX90" fmla="*/ 3117526 w 4527226"/>
              <a:gd name="connsiteY90" fmla="*/ 3738048 h 6046908"/>
              <a:gd name="connsiteX91" fmla="*/ 3125146 w 4527226"/>
              <a:gd name="connsiteY91" fmla="*/ 4103808 h 6046908"/>
              <a:gd name="connsiteX92" fmla="*/ 3163246 w 4527226"/>
              <a:gd name="connsiteY92" fmla="*/ 4157148 h 6046908"/>
              <a:gd name="connsiteX93" fmla="*/ 3201346 w 4527226"/>
              <a:gd name="connsiteY93" fmla="*/ 4164768 h 6046908"/>
              <a:gd name="connsiteX94" fmla="*/ 3231826 w 4527226"/>
              <a:gd name="connsiteY94" fmla="*/ 4172388 h 6046908"/>
              <a:gd name="connsiteX95" fmla="*/ 3285166 w 4527226"/>
              <a:gd name="connsiteY95" fmla="*/ 4294308 h 6046908"/>
              <a:gd name="connsiteX96" fmla="*/ 3300406 w 4527226"/>
              <a:gd name="connsiteY96" fmla="*/ 4347648 h 6046908"/>
              <a:gd name="connsiteX97" fmla="*/ 3330886 w 4527226"/>
              <a:gd name="connsiteY97" fmla="*/ 4408608 h 6046908"/>
              <a:gd name="connsiteX98" fmla="*/ 3551866 w 4527226"/>
              <a:gd name="connsiteY98" fmla="*/ 4644828 h 6046908"/>
              <a:gd name="connsiteX99" fmla="*/ 3887146 w 4527226"/>
              <a:gd name="connsiteY99" fmla="*/ 5025828 h 6046908"/>
              <a:gd name="connsiteX100" fmla="*/ 4100506 w 4527226"/>
              <a:gd name="connsiteY100" fmla="*/ 5300148 h 6046908"/>
              <a:gd name="connsiteX101" fmla="*/ 4367206 w 4527226"/>
              <a:gd name="connsiteY101" fmla="*/ 5726868 h 6046908"/>
              <a:gd name="connsiteX102" fmla="*/ 4527226 w 4527226"/>
              <a:gd name="connsiteY102" fmla="*/ 6046908 h 6046908"/>
              <a:gd name="connsiteX0" fmla="*/ 473386 w 4527226"/>
              <a:gd name="connsiteY0" fmla="*/ 5665908 h 6046908"/>
              <a:gd name="connsiteX1" fmla="*/ 511486 w 4527226"/>
              <a:gd name="connsiteY1" fmla="*/ 5612568 h 6046908"/>
              <a:gd name="connsiteX2" fmla="*/ 541966 w 4527226"/>
              <a:gd name="connsiteY2" fmla="*/ 5521128 h 6046908"/>
              <a:gd name="connsiteX3" fmla="*/ 564826 w 4527226"/>
              <a:gd name="connsiteY3" fmla="*/ 5353488 h 6046908"/>
              <a:gd name="connsiteX4" fmla="*/ 602926 w 4527226"/>
              <a:gd name="connsiteY4" fmla="*/ 5223948 h 6046908"/>
              <a:gd name="connsiteX5" fmla="*/ 625786 w 4527226"/>
              <a:gd name="connsiteY5" fmla="*/ 5178228 h 6046908"/>
              <a:gd name="connsiteX6" fmla="*/ 701986 w 4527226"/>
              <a:gd name="connsiteY6" fmla="*/ 5071548 h 6046908"/>
              <a:gd name="connsiteX7" fmla="*/ 717226 w 4527226"/>
              <a:gd name="connsiteY7" fmla="*/ 5063928 h 6046908"/>
              <a:gd name="connsiteX8" fmla="*/ 709606 w 4527226"/>
              <a:gd name="connsiteY8" fmla="*/ 5025828 h 6046908"/>
              <a:gd name="connsiteX9" fmla="*/ 701986 w 4527226"/>
              <a:gd name="connsiteY9" fmla="*/ 5002968 h 6046908"/>
              <a:gd name="connsiteX10" fmla="*/ 968686 w 4527226"/>
              <a:gd name="connsiteY10" fmla="*/ 4682928 h 6046908"/>
              <a:gd name="connsiteX11" fmla="*/ 961066 w 4527226"/>
              <a:gd name="connsiteY11" fmla="*/ 4644828 h 6046908"/>
              <a:gd name="connsiteX12" fmla="*/ 1342066 w 4527226"/>
              <a:gd name="connsiteY12" fmla="*/ 4172388 h 6046908"/>
              <a:gd name="connsiteX13" fmla="*/ 1258246 w 4527226"/>
              <a:gd name="connsiteY13" fmla="*/ 4012368 h 6046908"/>
              <a:gd name="connsiteX14" fmla="*/ 1204906 w 4527226"/>
              <a:gd name="connsiteY14" fmla="*/ 3928548 h 6046908"/>
              <a:gd name="connsiteX15" fmla="*/ 1174426 w 4527226"/>
              <a:gd name="connsiteY15" fmla="*/ 3768528 h 6046908"/>
              <a:gd name="connsiteX16" fmla="*/ 1151566 w 4527226"/>
              <a:gd name="connsiteY16" fmla="*/ 3699948 h 6046908"/>
              <a:gd name="connsiteX17" fmla="*/ 1143946 w 4527226"/>
              <a:gd name="connsiteY17" fmla="*/ 3669468 h 6046908"/>
              <a:gd name="connsiteX18" fmla="*/ 1067746 w 4527226"/>
              <a:gd name="connsiteY18" fmla="*/ 3661848 h 6046908"/>
              <a:gd name="connsiteX19" fmla="*/ 938206 w 4527226"/>
              <a:gd name="connsiteY19" fmla="*/ 3669468 h 6046908"/>
              <a:gd name="connsiteX20" fmla="*/ 831526 w 4527226"/>
              <a:gd name="connsiteY20" fmla="*/ 3692328 h 6046908"/>
              <a:gd name="connsiteX21" fmla="*/ 610546 w 4527226"/>
              <a:gd name="connsiteY21" fmla="*/ 3738048 h 6046908"/>
              <a:gd name="connsiteX22" fmla="*/ 389566 w 4527226"/>
              <a:gd name="connsiteY22" fmla="*/ 3638988 h 6046908"/>
              <a:gd name="connsiteX23" fmla="*/ 381946 w 4527226"/>
              <a:gd name="connsiteY23" fmla="*/ 3326568 h 6046908"/>
              <a:gd name="connsiteX24" fmla="*/ 420046 w 4527226"/>
              <a:gd name="connsiteY24" fmla="*/ 3227508 h 6046908"/>
              <a:gd name="connsiteX25" fmla="*/ 389566 w 4527226"/>
              <a:gd name="connsiteY25" fmla="*/ 3166548 h 6046908"/>
              <a:gd name="connsiteX26" fmla="*/ 351466 w 4527226"/>
              <a:gd name="connsiteY26" fmla="*/ 3105588 h 6046908"/>
              <a:gd name="connsiteX27" fmla="*/ 397186 w 4527226"/>
              <a:gd name="connsiteY27" fmla="*/ 3021768 h 6046908"/>
              <a:gd name="connsiteX28" fmla="*/ 488626 w 4527226"/>
              <a:gd name="connsiteY28" fmla="*/ 2998908 h 6046908"/>
              <a:gd name="connsiteX29" fmla="*/ 471956 w 4527226"/>
              <a:gd name="connsiteY29" fmla="*/ 2942709 h 6046908"/>
              <a:gd name="connsiteX30" fmla="*/ 435286 w 4527226"/>
              <a:gd name="connsiteY30" fmla="*/ 2930328 h 6046908"/>
              <a:gd name="connsiteX31" fmla="*/ 389566 w 4527226"/>
              <a:gd name="connsiteY31" fmla="*/ 2930328 h 6046908"/>
              <a:gd name="connsiteX32" fmla="*/ 314000 w 4527226"/>
              <a:gd name="connsiteY32" fmla="*/ 2893495 h 6046908"/>
              <a:gd name="connsiteX33" fmla="*/ 320986 w 4527226"/>
              <a:gd name="connsiteY33" fmla="*/ 2846508 h 6046908"/>
              <a:gd name="connsiteX34" fmla="*/ 328606 w 4527226"/>
              <a:gd name="connsiteY34" fmla="*/ 2793168 h 6046908"/>
              <a:gd name="connsiteX35" fmla="*/ 313366 w 4527226"/>
              <a:gd name="connsiteY35" fmla="*/ 2732208 h 6046908"/>
              <a:gd name="connsiteX36" fmla="*/ 267646 w 4527226"/>
              <a:gd name="connsiteY36" fmla="*/ 2671248 h 6046908"/>
              <a:gd name="connsiteX37" fmla="*/ 176206 w 4527226"/>
              <a:gd name="connsiteY37" fmla="*/ 2656008 h 6046908"/>
              <a:gd name="connsiteX38" fmla="*/ 54286 w 4527226"/>
              <a:gd name="connsiteY38" fmla="*/ 2610288 h 6046908"/>
              <a:gd name="connsiteX39" fmla="*/ 7931 w 4527226"/>
              <a:gd name="connsiteY39" fmla="*/ 2563298 h 6046908"/>
              <a:gd name="connsiteX40" fmla="*/ 8566 w 4527226"/>
              <a:gd name="connsiteY40" fmla="*/ 2488368 h 6046908"/>
              <a:gd name="connsiteX41" fmla="*/ 92386 w 4527226"/>
              <a:gd name="connsiteY41" fmla="*/ 2335968 h 6046908"/>
              <a:gd name="connsiteX42" fmla="*/ 221926 w 4527226"/>
              <a:gd name="connsiteY42" fmla="*/ 2175948 h 6046908"/>
              <a:gd name="connsiteX43" fmla="*/ 282886 w 4527226"/>
              <a:gd name="connsiteY43" fmla="*/ 2084508 h 6046908"/>
              <a:gd name="connsiteX44" fmla="*/ 328606 w 4527226"/>
              <a:gd name="connsiteY44" fmla="*/ 1977828 h 6046908"/>
              <a:gd name="connsiteX45" fmla="*/ 359086 w 4527226"/>
              <a:gd name="connsiteY45" fmla="*/ 1871148 h 6046908"/>
              <a:gd name="connsiteX46" fmla="*/ 374326 w 4527226"/>
              <a:gd name="connsiteY46" fmla="*/ 1810188 h 6046908"/>
              <a:gd name="connsiteX47" fmla="*/ 343846 w 4527226"/>
              <a:gd name="connsiteY47" fmla="*/ 1756848 h 6046908"/>
              <a:gd name="connsiteX48" fmla="*/ 328606 w 4527226"/>
              <a:gd name="connsiteY48" fmla="*/ 1680648 h 6046908"/>
              <a:gd name="connsiteX49" fmla="*/ 412426 w 4527226"/>
              <a:gd name="connsiteY49" fmla="*/ 1474908 h 6046908"/>
              <a:gd name="connsiteX50" fmla="*/ 442906 w 4527226"/>
              <a:gd name="connsiteY50" fmla="*/ 1307268 h 6046908"/>
              <a:gd name="connsiteX51" fmla="*/ 465766 w 4527226"/>
              <a:gd name="connsiteY51" fmla="*/ 1192968 h 6046908"/>
              <a:gd name="connsiteX52" fmla="*/ 503866 w 4527226"/>
              <a:gd name="connsiteY52" fmla="*/ 1055808 h 6046908"/>
              <a:gd name="connsiteX53" fmla="*/ 557206 w 4527226"/>
              <a:gd name="connsiteY53" fmla="*/ 888168 h 6046908"/>
              <a:gd name="connsiteX54" fmla="*/ 503866 w 4527226"/>
              <a:gd name="connsiteY54" fmla="*/ 888168 h 6046908"/>
              <a:gd name="connsiteX55" fmla="*/ 412426 w 4527226"/>
              <a:gd name="connsiteY55" fmla="*/ 834828 h 6046908"/>
              <a:gd name="connsiteX56" fmla="*/ 328606 w 4527226"/>
              <a:gd name="connsiteY56" fmla="*/ 789108 h 6046908"/>
              <a:gd name="connsiteX57" fmla="*/ 260026 w 4527226"/>
              <a:gd name="connsiteY57" fmla="*/ 773868 h 6046908"/>
              <a:gd name="connsiteX58" fmla="*/ 214306 w 4527226"/>
              <a:gd name="connsiteY58" fmla="*/ 751008 h 6046908"/>
              <a:gd name="connsiteX59" fmla="*/ 260026 w 4527226"/>
              <a:gd name="connsiteY59" fmla="*/ 674808 h 6046908"/>
              <a:gd name="connsiteX60" fmla="*/ 374326 w 4527226"/>
              <a:gd name="connsiteY60" fmla="*/ 606228 h 6046908"/>
              <a:gd name="connsiteX61" fmla="*/ 557206 w 4527226"/>
              <a:gd name="connsiteY61" fmla="*/ 507168 h 6046908"/>
              <a:gd name="connsiteX62" fmla="*/ 656266 w 4527226"/>
              <a:gd name="connsiteY62" fmla="*/ 423348 h 6046908"/>
              <a:gd name="connsiteX63" fmla="*/ 892486 w 4527226"/>
              <a:gd name="connsiteY63" fmla="*/ 232848 h 6046908"/>
              <a:gd name="connsiteX64" fmla="*/ 1174426 w 4527226"/>
              <a:gd name="connsiteY64" fmla="*/ 80448 h 6046908"/>
              <a:gd name="connsiteX65" fmla="*/ 1593526 w 4527226"/>
              <a:gd name="connsiteY65" fmla="*/ 11868 h 6046908"/>
              <a:gd name="connsiteX66" fmla="*/ 1944046 w 4527226"/>
              <a:gd name="connsiteY66" fmla="*/ 4248 h 6046908"/>
              <a:gd name="connsiteX67" fmla="*/ 2172646 w 4527226"/>
              <a:gd name="connsiteY67" fmla="*/ 4248 h 6046908"/>
              <a:gd name="connsiteX68" fmla="*/ 2393626 w 4527226"/>
              <a:gd name="connsiteY68" fmla="*/ 57588 h 6046908"/>
              <a:gd name="connsiteX69" fmla="*/ 2667946 w 4527226"/>
              <a:gd name="connsiteY69" fmla="*/ 133788 h 6046908"/>
              <a:gd name="connsiteX70" fmla="*/ 2820346 w 4527226"/>
              <a:gd name="connsiteY70" fmla="*/ 202368 h 6046908"/>
              <a:gd name="connsiteX71" fmla="*/ 3102286 w 4527226"/>
              <a:gd name="connsiteY71" fmla="*/ 400488 h 6046908"/>
              <a:gd name="connsiteX72" fmla="*/ 3285166 w 4527226"/>
              <a:gd name="connsiteY72" fmla="*/ 651948 h 6046908"/>
              <a:gd name="connsiteX73" fmla="*/ 3407086 w 4527226"/>
              <a:gd name="connsiteY73" fmla="*/ 918648 h 6046908"/>
              <a:gd name="connsiteX74" fmla="*/ 3475666 w 4527226"/>
              <a:gd name="connsiteY74" fmla="*/ 1238688 h 6046908"/>
              <a:gd name="connsiteX75" fmla="*/ 3506146 w 4527226"/>
              <a:gd name="connsiteY75" fmla="*/ 1543488 h 6046908"/>
              <a:gd name="connsiteX76" fmla="*/ 3506146 w 4527226"/>
              <a:gd name="connsiteY76" fmla="*/ 1962588 h 6046908"/>
              <a:gd name="connsiteX77" fmla="*/ 3338506 w 4527226"/>
              <a:gd name="connsiteY77" fmla="*/ 2305488 h 6046908"/>
              <a:gd name="connsiteX78" fmla="*/ 3254686 w 4527226"/>
              <a:gd name="connsiteY78" fmla="*/ 2473128 h 6046908"/>
              <a:gd name="connsiteX79" fmla="*/ 3132766 w 4527226"/>
              <a:gd name="connsiteY79" fmla="*/ 2663628 h 6046908"/>
              <a:gd name="connsiteX80" fmla="*/ 3071806 w 4527226"/>
              <a:gd name="connsiteY80" fmla="*/ 2838888 h 6046908"/>
              <a:gd name="connsiteX81" fmla="*/ 3064186 w 4527226"/>
              <a:gd name="connsiteY81" fmla="*/ 2915088 h 6046908"/>
              <a:gd name="connsiteX82" fmla="*/ 3018466 w 4527226"/>
              <a:gd name="connsiteY82" fmla="*/ 3014148 h 6046908"/>
              <a:gd name="connsiteX83" fmla="*/ 2980366 w 4527226"/>
              <a:gd name="connsiteY83" fmla="*/ 3082728 h 6046908"/>
              <a:gd name="connsiteX84" fmla="*/ 2957506 w 4527226"/>
              <a:gd name="connsiteY84" fmla="*/ 3120828 h 6046908"/>
              <a:gd name="connsiteX85" fmla="*/ 2957506 w 4527226"/>
              <a:gd name="connsiteY85" fmla="*/ 3555168 h 6046908"/>
              <a:gd name="connsiteX86" fmla="*/ 3010846 w 4527226"/>
              <a:gd name="connsiteY86" fmla="*/ 3539928 h 6046908"/>
              <a:gd name="connsiteX87" fmla="*/ 3109906 w 4527226"/>
              <a:gd name="connsiteY87" fmla="*/ 3570408 h 6046908"/>
              <a:gd name="connsiteX88" fmla="*/ 3140386 w 4527226"/>
              <a:gd name="connsiteY88" fmla="*/ 3631368 h 6046908"/>
              <a:gd name="connsiteX89" fmla="*/ 3117526 w 4527226"/>
              <a:gd name="connsiteY89" fmla="*/ 3738048 h 6046908"/>
              <a:gd name="connsiteX90" fmla="*/ 3125146 w 4527226"/>
              <a:gd name="connsiteY90" fmla="*/ 4103808 h 6046908"/>
              <a:gd name="connsiteX91" fmla="*/ 3163246 w 4527226"/>
              <a:gd name="connsiteY91" fmla="*/ 4157148 h 6046908"/>
              <a:gd name="connsiteX92" fmla="*/ 3201346 w 4527226"/>
              <a:gd name="connsiteY92" fmla="*/ 4164768 h 6046908"/>
              <a:gd name="connsiteX93" fmla="*/ 3231826 w 4527226"/>
              <a:gd name="connsiteY93" fmla="*/ 4172388 h 6046908"/>
              <a:gd name="connsiteX94" fmla="*/ 3285166 w 4527226"/>
              <a:gd name="connsiteY94" fmla="*/ 4294308 h 6046908"/>
              <a:gd name="connsiteX95" fmla="*/ 3300406 w 4527226"/>
              <a:gd name="connsiteY95" fmla="*/ 4347648 h 6046908"/>
              <a:gd name="connsiteX96" fmla="*/ 3330886 w 4527226"/>
              <a:gd name="connsiteY96" fmla="*/ 4408608 h 6046908"/>
              <a:gd name="connsiteX97" fmla="*/ 3551866 w 4527226"/>
              <a:gd name="connsiteY97" fmla="*/ 4644828 h 6046908"/>
              <a:gd name="connsiteX98" fmla="*/ 3887146 w 4527226"/>
              <a:gd name="connsiteY98" fmla="*/ 5025828 h 6046908"/>
              <a:gd name="connsiteX99" fmla="*/ 4100506 w 4527226"/>
              <a:gd name="connsiteY99" fmla="*/ 5300148 h 6046908"/>
              <a:gd name="connsiteX100" fmla="*/ 4367206 w 4527226"/>
              <a:gd name="connsiteY100" fmla="*/ 5726868 h 6046908"/>
              <a:gd name="connsiteX101" fmla="*/ 4527226 w 4527226"/>
              <a:gd name="connsiteY101" fmla="*/ 6046908 h 6046908"/>
              <a:gd name="connsiteX0" fmla="*/ 511486 w 4527226"/>
              <a:gd name="connsiteY0" fmla="*/ 5612568 h 6046908"/>
              <a:gd name="connsiteX1" fmla="*/ 541966 w 4527226"/>
              <a:gd name="connsiteY1" fmla="*/ 5521128 h 6046908"/>
              <a:gd name="connsiteX2" fmla="*/ 564826 w 4527226"/>
              <a:gd name="connsiteY2" fmla="*/ 5353488 h 6046908"/>
              <a:gd name="connsiteX3" fmla="*/ 602926 w 4527226"/>
              <a:gd name="connsiteY3" fmla="*/ 5223948 h 6046908"/>
              <a:gd name="connsiteX4" fmla="*/ 625786 w 4527226"/>
              <a:gd name="connsiteY4" fmla="*/ 5178228 h 6046908"/>
              <a:gd name="connsiteX5" fmla="*/ 701986 w 4527226"/>
              <a:gd name="connsiteY5" fmla="*/ 5071548 h 6046908"/>
              <a:gd name="connsiteX6" fmla="*/ 717226 w 4527226"/>
              <a:gd name="connsiteY6" fmla="*/ 5063928 h 6046908"/>
              <a:gd name="connsiteX7" fmla="*/ 709606 w 4527226"/>
              <a:gd name="connsiteY7" fmla="*/ 5025828 h 6046908"/>
              <a:gd name="connsiteX8" fmla="*/ 701986 w 4527226"/>
              <a:gd name="connsiteY8" fmla="*/ 5002968 h 6046908"/>
              <a:gd name="connsiteX9" fmla="*/ 968686 w 4527226"/>
              <a:gd name="connsiteY9" fmla="*/ 4682928 h 6046908"/>
              <a:gd name="connsiteX10" fmla="*/ 961066 w 4527226"/>
              <a:gd name="connsiteY10" fmla="*/ 4644828 h 6046908"/>
              <a:gd name="connsiteX11" fmla="*/ 1342066 w 4527226"/>
              <a:gd name="connsiteY11" fmla="*/ 4172388 h 6046908"/>
              <a:gd name="connsiteX12" fmla="*/ 1258246 w 4527226"/>
              <a:gd name="connsiteY12" fmla="*/ 4012368 h 6046908"/>
              <a:gd name="connsiteX13" fmla="*/ 1204906 w 4527226"/>
              <a:gd name="connsiteY13" fmla="*/ 3928548 h 6046908"/>
              <a:gd name="connsiteX14" fmla="*/ 1174426 w 4527226"/>
              <a:gd name="connsiteY14" fmla="*/ 3768528 h 6046908"/>
              <a:gd name="connsiteX15" fmla="*/ 1151566 w 4527226"/>
              <a:gd name="connsiteY15" fmla="*/ 3699948 h 6046908"/>
              <a:gd name="connsiteX16" fmla="*/ 1143946 w 4527226"/>
              <a:gd name="connsiteY16" fmla="*/ 3669468 h 6046908"/>
              <a:gd name="connsiteX17" fmla="*/ 1067746 w 4527226"/>
              <a:gd name="connsiteY17" fmla="*/ 3661848 h 6046908"/>
              <a:gd name="connsiteX18" fmla="*/ 938206 w 4527226"/>
              <a:gd name="connsiteY18" fmla="*/ 3669468 h 6046908"/>
              <a:gd name="connsiteX19" fmla="*/ 831526 w 4527226"/>
              <a:gd name="connsiteY19" fmla="*/ 3692328 h 6046908"/>
              <a:gd name="connsiteX20" fmla="*/ 610546 w 4527226"/>
              <a:gd name="connsiteY20" fmla="*/ 3738048 h 6046908"/>
              <a:gd name="connsiteX21" fmla="*/ 389566 w 4527226"/>
              <a:gd name="connsiteY21" fmla="*/ 3638988 h 6046908"/>
              <a:gd name="connsiteX22" fmla="*/ 381946 w 4527226"/>
              <a:gd name="connsiteY22" fmla="*/ 3326568 h 6046908"/>
              <a:gd name="connsiteX23" fmla="*/ 420046 w 4527226"/>
              <a:gd name="connsiteY23" fmla="*/ 3227508 h 6046908"/>
              <a:gd name="connsiteX24" fmla="*/ 389566 w 4527226"/>
              <a:gd name="connsiteY24" fmla="*/ 3166548 h 6046908"/>
              <a:gd name="connsiteX25" fmla="*/ 351466 w 4527226"/>
              <a:gd name="connsiteY25" fmla="*/ 3105588 h 6046908"/>
              <a:gd name="connsiteX26" fmla="*/ 397186 w 4527226"/>
              <a:gd name="connsiteY26" fmla="*/ 3021768 h 6046908"/>
              <a:gd name="connsiteX27" fmla="*/ 488626 w 4527226"/>
              <a:gd name="connsiteY27" fmla="*/ 2998908 h 6046908"/>
              <a:gd name="connsiteX28" fmla="*/ 471956 w 4527226"/>
              <a:gd name="connsiteY28" fmla="*/ 2942709 h 6046908"/>
              <a:gd name="connsiteX29" fmla="*/ 435286 w 4527226"/>
              <a:gd name="connsiteY29" fmla="*/ 2930328 h 6046908"/>
              <a:gd name="connsiteX30" fmla="*/ 389566 w 4527226"/>
              <a:gd name="connsiteY30" fmla="*/ 2930328 h 6046908"/>
              <a:gd name="connsiteX31" fmla="*/ 314000 w 4527226"/>
              <a:gd name="connsiteY31" fmla="*/ 2893495 h 6046908"/>
              <a:gd name="connsiteX32" fmla="*/ 320986 w 4527226"/>
              <a:gd name="connsiteY32" fmla="*/ 2846508 h 6046908"/>
              <a:gd name="connsiteX33" fmla="*/ 328606 w 4527226"/>
              <a:gd name="connsiteY33" fmla="*/ 2793168 h 6046908"/>
              <a:gd name="connsiteX34" fmla="*/ 313366 w 4527226"/>
              <a:gd name="connsiteY34" fmla="*/ 2732208 h 6046908"/>
              <a:gd name="connsiteX35" fmla="*/ 267646 w 4527226"/>
              <a:gd name="connsiteY35" fmla="*/ 2671248 h 6046908"/>
              <a:gd name="connsiteX36" fmla="*/ 176206 w 4527226"/>
              <a:gd name="connsiteY36" fmla="*/ 2656008 h 6046908"/>
              <a:gd name="connsiteX37" fmla="*/ 54286 w 4527226"/>
              <a:gd name="connsiteY37" fmla="*/ 2610288 h 6046908"/>
              <a:gd name="connsiteX38" fmla="*/ 7931 w 4527226"/>
              <a:gd name="connsiteY38" fmla="*/ 2563298 h 6046908"/>
              <a:gd name="connsiteX39" fmla="*/ 8566 w 4527226"/>
              <a:gd name="connsiteY39" fmla="*/ 2488368 h 6046908"/>
              <a:gd name="connsiteX40" fmla="*/ 92386 w 4527226"/>
              <a:gd name="connsiteY40" fmla="*/ 2335968 h 6046908"/>
              <a:gd name="connsiteX41" fmla="*/ 221926 w 4527226"/>
              <a:gd name="connsiteY41" fmla="*/ 2175948 h 6046908"/>
              <a:gd name="connsiteX42" fmla="*/ 282886 w 4527226"/>
              <a:gd name="connsiteY42" fmla="*/ 2084508 h 6046908"/>
              <a:gd name="connsiteX43" fmla="*/ 328606 w 4527226"/>
              <a:gd name="connsiteY43" fmla="*/ 1977828 h 6046908"/>
              <a:gd name="connsiteX44" fmla="*/ 359086 w 4527226"/>
              <a:gd name="connsiteY44" fmla="*/ 1871148 h 6046908"/>
              <a:gd name="connsiteX45" fmla="*/ 374326 w 4527226"/>
              <a:gd name="connsiteY45" fmla="*/ 1810188 h 6046908"/>
              <a:gd name="connsiteX46" fmla="*/ 343846 w 4527226"/>
              <a:gd name="connsiteY46" fmla="*/ 1756848 h 6046908"/>
              <a:gd name="connsiteX47" fmla="*/ 328606 w 4527226"/>
              <a:gd name="connsiteY47" fmla="*/ 1680648 h 6046908"/>
              <a:gd name="connsiteX48" fmla="*/ 412426 w 4527226"/>
              <a:gd name="connsiteY48" fmla="*/ 1474908 h 6046908"/>
              <a:gd name="connsiteX49" fmla="*/ 442906 w 4527226"/>
              <a:gd name="connsiteY49" fmla="*/ 1307268 h 6046908"/>
              <a:gd name="connsiteX50" fmla="*/ 465766 w 4527226"/>
              <a:gd name="connsiteY50" fmla="*/ 1192968 h 6046908"/>
              <a:gd name="connsiteX51" fmla="*/ 503866 w 4527226"/>
              <a:gd name="connsiteY51" fmla="*/ 1055808 h 6046908"/>
              <a:gd name="connsiteX52" fmla="*/ 557206 w 4527226"/>
              <a:gd name="connsiteY52" fmla="*/ 888168 h 6046908"/>
              <a:gd name="connsiteX53" fmla="*/ 503866 w 4527226"/>
              <a:gd name="connsiteY53" fmla="*/ 888168 h 6046908"/>
              <a:gd name="connsiteX54" fmla="*/ 412426 w 4527226"/>
              <a:gd name="connsiteY54" fmla="*/ 834828 h 6046908"/>
              <a:gd name="connsiteX55" fmla="*/ 328606 w 4527226"/>
              <a:gd name="connsiteY55" fmla="*/ 789108 h 6046908"/>
              <a:gd name="connsiteX56" fmla="*/ 260026 w 4527226"/>
              <a:gd name="connsiteY56" fmla="*/ 773868 h 6046908"/>
              <a:gd name="connsiteX57" fmla="*/ 214306 w 4527226"/>
              <a:gd name="connsiteY57" fmla="*/ 751008 h 6046908"/>
              <a:gd name="connsiteX58" fmla="*/ 260026 w 4527226"/>
              <a:gd name="connsiteY58" fmla="*/ 674808 h 6046908"/>
              <a:gd name="connsiteX59" fmla="*/ 374326 w 4527226"/>
              <a:gd name="connsiteY59" fmla="*/ 606228 h 6046908"/>
              <a:gd name="connsiteX60" fmla="*/ 557206 w 4527226"/>
              <a:gd name="connsiteY60" fmla="*/ 507168 h 6046908"/>
              <a:gd name="connsiteX61" fmla="*/ 656266 w 4527226"/>
              <a:gd name="connsiteY61" fmla="*/ 423348 h 6046908"/>
              <a:gd name="connsiteX62" fmla="*/ 892486 w 4527226"/>
              <a:gd name="connsiteY62" fmla="*/ 232848 h 6046908"/>
              <a:gd name="connsiteX63" fmla="*/ 1174426 w 4527226"/>
              <a:gd name="connsiteY63" fmla="*/ 80448 h 6046908"/>
              <a:gd name="connsiteX64" fmla="*/ 1593526 w 4527226"/>
              <a:gd name="connsiteY64" fmla="*/ 11868 h 6046908"/>
              <a:gd name="connsiteX65" fmla="*/ 1944046 w 4527226"/>
              <a:gd name="connsiteY65" fmla="*/ 4248 h 6046908"/>
              <a:gd name="connsiteX66" fmla="*/ 2172646 w 4527226"/>
              <a:gd name="connsiteY66" fmla="*/ 4248 h 6046908"/>
              <a:gd name="connsiteX67" fmla="*/ 2393626 w 4527226"/>
              <a:gd name="connsiteY67" fmla="*/ 57588 h 6046908"/>
              <a:gd name="connsiteX68" fmla="*/ 2667946 w 4527226"/>
              <a:gd name="connsiteY68" fmla="*/ 133788 h 6046908"/>
              <a:gd name="connsiteX69" fmla="*/ 2820346 w 4527226"/>
              <a:gd name="connsiteY69" fmla="*/ 202368 h 6046908"/>
              <a:gd name="connsiteX70" fmla="*/ 3102286 w 4527226"/>
              <a:gd name="connsiteY70" fmla="*/ 400488 h 6046908"/>
              <a:gd name="connsiteX71" fmla="*/ 3285166 w 4527226"/>
              <a:gd name="connsiteY71" fmla="*/ 651948 h 6046908"/>
              <a:gd name="connsiteX72" fmla="*/ 3407086 w 4527226"/>
              <a:gd name="connsiteY72" fmla="*/ 918648 h 6046908"/>
              <a:gd name="connsiteX73" fmla="*/ 3475666 w 4527226"/>
              <a:gd name="connsiteY73" fmla="*/ 1238688 h 6046908"/>
              <a:gd name="connsiteX74" fmla="*/ 3506146 w 4527226"/>
              <a:gd name="connsiteY74" fmla="*/ 1543488 h 6046908"/>
              <a:gd name="connsiteX75" fmla="*/ 3506146 w 4527226"/>
              <a:gd name="connsiteY75" fmla="*/ 1962588 h 6046908"/>
              <a:gd name="connsiteX76" fmla="*/ 3338506 w 4527226"/>
              <a:gd name="connsiteY76" fmla="*/ 2305488 h 6046908"/>
              <a:gd name="connsiteX77" fmla="*/ 3254686 w 4527226"/>
              <a:gd name="connsiteY77" fmla="*/ 2473128 h 6046908"/>
              <a:gd name="connsiteX78" fmla="*/ 3132766 w 4527226"/>
              <a:gd name="connsiteY78" fmla="*/ 2663628 h 6046908"/>
              <a:gd name="connsiteX79" fmla="*/ 3071806 w 4527226"/>
              <a:gd name="connsiteY79" fmla="*/ 2838888 h 6046908"/>
              <a:gd name="connsiteX80" fmla="*/ 3064186 w 4527226"/>
              <a:gd name="connsiteY80" fmla="*/ 2915088 h 6046908"/>
              <a:gd name="connsiteX81" fmla="*/ 3018466 w 4527226"/>
              <a:gd name="connsiteY81" fmla="*/ 3014148 h 6046908"/>
              <a:gd name="connsiteX82" fmla="*/ 2980366 w 4527226"/>
              <a:gd name="connsiteY82" fmla="*/ 3082728 h 6046908"/>
              <a:gd name="connsiteX83" fmla="*/ 2957506 w 4527226"/>
              <a:gd name="connsiteY83" fmla="*/ 3120828 h 6046908"/>
              <a:gd name="connsiteX84" fmla="*/ 2957506 w 4527226"/>
              <a:gd name="connsiteY84" fmla="*/ 3555168 h 6046908"/>
              <a:gd name="connsiteX85" fmla="*/ 3010846 w 4527226"/>
              <a:gd name="connsiteY85" fmla="*/ 3539928 h 6046908"/>
              <a:gd name="connsiteX86" fmla="*/ 3109906 w 4527226"/>
              <a:gd name="connsiteY86" fmla="*/ 3570408 h 6046908"/>
              <a:gd name="connsiteX87" fmla="*/ 3140386 w 4527226"/>
              <a:gd name="connsiteY87" fmla="*/ 3631368 h 6046908"/>
              <a:gd name="connsiteX88" fmla="*/ 3117526 w 4527226"/>
              <a:gd name="connsiteY88" fmla="*/ 3738048 h 6046908"/>
              <a:gd name="connsiteX89" fmla="*/ 3125146 w 4527226"/>
              <a:gd name="connsiteY89" fmla="*/ 4103808 h 6046908"/>
              <a:gd name="connsiteX90" fmla="*/ 3163246 w 4527226"/>
              <a:gd name="connsiteY90" fmla="*/ 4157148 h 6046908"/>
              <a:gd name="connsiteX91" fmla="*/ 3201346 w 4527226"/>
              <a:gd name="connsiteY91" fmla="*/ 4164768 h 6046908"/>
              <a:gd name="connsiteX92" fmla="*/ 3231826 w 4527226"/>
              <a:gd name="connsiteY92" fmla="*/ 4172388 h 6046908"/>
              <a:gd name="connsiteX93" fmla="*/ 3285166 w 4527226"/>
              <a:gd name="connsiteY93" fmla="*/ 4294308 h 6046908"/>
              <a:gd name="connsiteX94" fmla="*/ 3300406 w 4527226"/>
              <a:gd name="connsiteY94" fmla="*/ 4347648 h 6046908"/>
              <a:gd name="connsiteX95" fmla="*/ 3330886 w 4527226"/>
              <a:gd name="connsiteY95" fmla="*/ 4408608 h 6046908"/>
              <a:gd name="connsiteX96" fmla="*/ 3551866 w 4527226"/>
              <a:gd name="connsiteY96" fmla="*/ 4644828 h 6046908"/>
              <a:gd name="connsiteX97" fmla="*/ 3887146 w 4527226"/>
              <a:gd name="connsiteY97" fmla="*/ 5025828 h 6046908"/>
              <a:gd name="connsiteX98" fmla="*/ 4100506 w 4527226"/>
              <a:gd name="connsiteY98" fmla="*/ 5300148 h 6046908"/>
              <a:gd name="connsiteX99" fmla="*/ 4367206 w 4527226"/>
              <a:gd name="connsiteY99" fmla="*/ 5726868 h 6046908"/>
              <a:gd name="connsiteX100" fmla="*/ 4527226 w 4527226"/>
              <a:gd name="connsiteY100" fmla="*/ 6046908 h 6046908"/>
              <a:gd name="connsiteX0" fmla="*/ 541966 w 4527226"/>
              <a:gd name="connsiteY0" fmla="*/ 5521128 h 6046908"/>
              <a:gd name="connsiteX1" fmla="*/ 564826 w 4527226"/>
              <a:gd name="connsiteY1" fmla="*/ 5353488 h 6046908"/>
              <a:gd name="connsiteX2" fmla="*/ 602926 w 4527226"/>
              <a:gd name="connsiteY2" fmla="*/ 5223948 h 6046908"/>
              <a:gd name="connsiteX3" fmla="*/ 625786 w 4527226"/>
              <a:gd name="connsiteY3" fmla="*/ 5178228 h 6046908"/>
              <a:gd name="connsiteX4" fmla="*/ 701986 w 4527226"/>
              <a:gd name="connsiteY4" fmla="*/ 5071548 h 6046908"/>
              <a:gd name="connsiteX5" fmla="*/ 717226 w 4527226"/>
              <a:gd name="connsiteY5" fmla="*/ 5063928 h 6046908"/>
              <a:gd name="connsiteX6" fmla="*/ 709606 w 4527226"/>
              <a:gd name="connsiteY6" fmla="*/ 5025828 h 6046908"/>
              <a:gd name="connsiteX7" fmla="*/ 701986 w 4527226"/>
              <a:gd name="connsiteY7" fmla="*/ 5002968 h 6046908"/>
              <a:gd name="connsiteX8" fmla="*/ 968686 w 4527226"/>
              <a:gd name="connsiteY8" fmla="*/ 4682928 h 6046908"/>
              <a:gd name="connsiteX9" fmla="*/ 961066 w 4527226"/>
              <a:gd name="connsiteY9" fmla="*/ 4644828 h 6046908"/>
              <a:gd name="connsiteX10" fmla="*/ 1342066 w 4527226"/>
              <a:gd name="connsiteY10" fmla="*/ 4172388 h 6046908"/>
              <a:gd name="connsiteX11" fmla="*/ 1258246 w 4527226"/>
              <a:gd name="connsiteY11" fmla="*/ 4012368 h 6046908"/>
              <a:gd name="connsiteX12" fmla="*/ 1204906 w 4527226"/>
              <a:gd name="connsiteY12" fmla="*/ 3928548 h 6046908"/>
              <a:gd name="connsiteX13" fmla="*/ 1174426 w 4527226"/>
              <a:gd name="connsiteY13" fmla="*/ 3768528 h 6046908"/>
              <a:gd name="connsiteX14" fmla="*/ 1151566 w 4527226"/>
              <a:gd name="connsiteY14" fmla="*/ 3699948 h 6046908"/>
              <a:gd name="connsiteX15" fmla="*/ 1143946 w 4527226"/>
              <a:gd name="connsiteY15" fmla="*/ 3669468 h 6046908"/>
              <a:gd name="connsiteX16" fmla="*/ 1067746 w 4527226"/>
              <a:gd name="connsiteY16" fmla="*/ 3661848 h 6046908"/>
              <a:gd name="connsiteX17" fmla="*/ 938206 w 4527226"/>
              <a:gd name="connsiteY17" fmla="*/ 3669468 h 6046908"/>
              <a:gd name="connsiteX18" fmla="*/ 831526 w 4527226"/>
              <a:gd name="connsiteY18" fmla="*/ 3692328 h 6046908"/>
              <a:gd name="connsiteX19" fmla="*/ 610546 w 4527226"/>
              <a:gd name="connsiteY19" fmla="*/ 3738048 h 6046908"/>
              <a:gd name="connsiteX20" fmla="*/ 389566 w 4527226"/>
              <a:gd name="connsiteY20" fmla="*/ 3638988 h 6046908"/>
              <a:gd name="connsiteX21" fmla="*/ 381946 w 4527226"/>
              <a:gd name="connsiteY21" fmla="*/ 3326568 h 6046908"/>
              <a:gd name="connsiteX22" fmla="*/ 420046 w 4527226"/>
              <a:gd name="connsiteY22" fmla="*/ 3227508 h 6046908"/>
              <a:gd name="connsiteX23" fmla="*/ 389566 w 4527226"/>
              <a:gd name="connsiteY23" fmla="*/ 3166548 h 6046908"/>
              <a:gd name="connsiteX24" fmla="*/ 351466 w 4527226"/>
              <a:gd name="connsiteY24" fmla="*/ 3105588 h 6046908"/>
              <a:gd name="connsiteX25" fmla="*/ 397186 w 4527226"/>
              <a:gd name="connsiteY25" fmla="*/ 3021768 h 6046908"/>
              <a:gd name="connsiteX26" fmla="*/ 488626 w 4527226"/>
              <a:gd name="connsiteY26" fmla="*/ 2998908 h 6046908"/>
              <a:gd name="connsiteX27" fmla="*/ 471956 w 4527226"/>
              <a:gd name="connsiteY27" fmla="*/ 2942709 h 6046908"/>
              <a:gd name="connsiteX28" fmla="*/ 435286 w 4527226"/>
              <a:gd name="connsiteY28" fmla="*/ 2930328 h 6046908"/>
              <a:gd name="connsiteX29" fmla="*/ 389566 w 4527226"/>
              <a:gd name="connsiteY29" fmla="*/ 2930328 h 6046908"/>
              <a:gd name="connsiteX30" fmla="*/ 314000 w 4527226"/>
              <a:gd name="connsiteY30" fmla="*/ 2893495 h 6046908"/>
              <a:gd name="connsiteX31" fmla="*/ 320986 w 4527226"/>
              <a:gd name="connsiteY31" fmla="*/ 2846508 h 6046908"/>
              <a:gd name="connsiteX32" fmla="*/ 328606 w 4527226"/>
              <a:gd name="connsiteY32" fmla="*/ 2793168 h 6046908"/>
              <a:gd name="connsiteX33" fmla="*/ 313366 w 4527226"/>
              <a:gd name="connsiteY33" fmla="*/ 2732208 h 6046908"/>
              <a:gd name="connsiteX34" fmla="*/ 267646 w 4527226"/>
              <a:gd name="connsiteY34" fmla="*/ 2671248 h 6046908"/>
              <a:gd name="connsiteX35" fmla="*/ 176206 w 4527226"/>
              <a:gd name="connsiteY35" fmla="*/ 2656008 h 6046908"/>
              <a:gd name="connsiteX36" fmla="*/ 54286 w 4527226"/>
              <a:gd name="connsiteY36" fmla="*/ 2610288 h 6046908"/>
              <a:gd name="connsiteX37" fmla="*/ 7931 w 4527226"/>
              <a:gd name="connsiteY37" fmla="*/ 2563298 h 6046908"/>
              <a:gd name="connsiteX38" fmla="*/ 8566 w 4527226"/>
              <a:gd name="connsiteY38" fmla="*/ 2488368 h 6046908"/>
              <a:gd name="connsiteX39" fmla="*/ 92386 w 4527226"/>
              <a:gd name="connsiteY39" fmla="*/ 2335968 h 6046908"/>
              <a:gd name="connsiteX40" fmla="*/ 221926 w 4527226"/>
              <a:gd name="connsiteY40" fmla="*/ 2175948 h 6046908"/>
              <a:gd name="connsiteX41" fmla="*/ 282886 w 4527226"/>
              <a:gd name="connsiteY41" fmla="*/ 2084508 h 6046908"/>
              <a:gd name="connsiteX42" fmla="*/ 328606 w 4527226"/>
              <a:gd name="connsiteY42" fmla="*/ 1977828 h 6046908"/>
              <a:gd name="connsiteX43" fmla="*/ 359086 w 4527226"/>
              <a:gd name="connsiteY43" fmla="*/ 1871148 h 6046908"/>
              <a:gd name="connsiteX44" fmla="*/ 374326 w 4527226"/>
              <a:gd name="connsiteY44" fmla="*/ 1810188 h 6046908"/>
              <a:gd name="connsiteX45" fmla="*/ 343846 w 4527226"/>
              <a:gd name="connsiteY45" fmla="*/ 1756848 h 6046908"/>
              <a:gd name="connsiteX46" fmla="*/ 328606 w 4527226"/>
              <a:gd name="connsiteY46" fmla="*/ 1680648 h 6046908"/>
              <a:gd name="connsiteX47" fmla="*/ 412426 w 4527226"/>
              <a:gd name="connsiteY47" fmla="*/ 1474908 h 6046908"/>
              <a:gd name="connsiteX48" fmla="*/ 442906 w 4527226"/>
              <a:gd name="connsiteY48" fmla="*/ 1307268 h 6046908"/>
              <a:gd name="connsiteX49" fmla="*/ 465766 w 4527226"/>
              <a:gd name="connsiteY49" fmla="*/ 1192968 h 6046908"/>
              <a:gd name="connsiteX50" fmla="*/ 503866 w 4527226"/>
              <a:gd name="connsiteY50" fmla="*/ 1055808 h 6046908"/>
              <a:gd name="connsiteX51" fmla="*/ 557206 w 4527226"/>
              <a:gd name="connsiteY51" fmla="*/ 888168 h 6046908"/>
              <a:gd name="connsiteX52" fmla="*/ 503866 w 4527226"/>
              <a:gd name="connsiteY52" fmla="*/ 888168 h 6046908"/>
              <a:gd name="connsiteX53" fmla="*/ 412426 w 4527226"/>
              <a:gd name="connsiteY53" fmla="*/ 834828 h 6046908"/>
              <a:gd name="connsiteX54" fmla="*/ 328606 w 4527226"/>
              <a:gd name="connsiteY54" fmla="*/ 789108 h 6046908"/>
              <a:gd name="connsiteX55" fmla="*/ 260026 w 4527226"/>
              <a:gd name="connsiteY55" fmla="*/ 773868 h 6046908"/>
              <a:gd name="connsiteX56" fmla="*/ 214306 w 4527226"/>
              <a:gd name="connsiteY56" fmla="*/ 751008 h 6046908"/>
              <a:gd name="connsiteX57" fmla="*/ 260026 w 4527226"/>
              <a:gd name="connsiteY57" fmla="*/ 674808 h 6046908"/>
              <a:gd name="connsiteX58" fmla="*/ 374326 w 4527226"/>
              <a:gd name="connsiteY58" fmla="*/ 606228 h 6046908"/>
              <a:gd name="connsiteX59" fmla="*/ 557206 w 4527226"/>
              <a:gd name="connsiteY59" fmla="*/ 507168 h 6046908"/>
              <a:gd name="connsiteX60" fmla="*/ 656266 w 4527226"/>
              <a:gd name="connsiteY60" fmla="*/ 423348 h 6046908"/>
              <a:gd name="connsiteX61" fmla="*/ 892486 w 4527226"/>
              <a:gd name="connsiteY61" fmla="*/ 232848 h 6046908"/>
              <a:gd name="connsiteX62" fmla="*/ 1174426 w 4527226"/>
              <a:gd name="connsiteY62" fmla="*/ 80448 h 6046908"/>
              <a:gd name="connsiteX63" fmla="*/ 1593526 w 4527226"/>
              <a:gd name="connsiteY63" fmla="*/ 11868 h 6046908"/>
              <a:gd name="connsiteX64" fmla="*/ 1944046 w 4527226"/>
              <a:gd name="connsiteY64" fmla="*/ 4248 h 6046908"/>
              <a:gd name="connsiteX65" fmla="*/ 2172646 w 4527226"/>
              <a:gd name="connsiteY65" fmla="*/ 4248 h 6046908"/>
              <a:gd name="connsiteX66" fmla="*/ 2393626 w 4527226"/>
              <a:gd name="connsiteY66" fmla="*/ 57588 h 6046908"/>
              <a:gd name="connsiteX67" fmla="*/ 2667946 w 4527226"/>
              <a:gd name="connsiteY67" fmla="*/ 133788 h 6046908"/>
              <a:gd name="connsiteX68" fmla="*/ 2820346 w 4527226"/>
              <a:gd name="connsiteY68" fmla="*/ 202368 h 6046908"/>
              <a:gd name="connsiteX69" fmla="*/ 3102286 w 4527226"/>
              <a:gd name="connsiteY69" fmla="*/ 400488 h 6046908"/>
              <a:gd name="connsiteX70" fmla="*/ 3285166 w 4527226"/>
              <a:gd name="connsiteY70" fmla="*/ 651948 h 6046908"/>
              <a:gd name="connsiteX71" fmla="*/ 3407086 w 4527226"/>
              <a:gd name="connsiteY71" fmla="*/ 918648 h 6046908"/>
              <a:gd name="connsiteX72" fmla="*/ 3475666 w 4527226"/>
              <a:gd name="connsiteY72" fmla="*/ 1238688 h 6046908"/>
              <a:gd name="connsiteX73" fmla="*/ 3506146 w 4527226"/>
              <a:gd name="connsiteY73" fmla="*/ 1543488 h 6046908"/>
              <a:gd name="connsiteX74" fmla="*/ 3506146 w 4527226"/>
              <a:gd name="connsiteY74" fmla="*/ 1962588 h 6046908"/>
              <a:gd name="connsiteX75" fmla="*/ 3338506 w 4527226"/>
              <a:gd name="connsiteY75" fmla="*/ 2305488 h 6046908"/>
              <a:gd name="connsiteX76" fmla="*/ 3254686 w 4527226"/>
              <a:gd name="connsiteY76" fmla="*/ 2473128 h 6046908"/>
              <a:gd name="connsiteX77" fmla="*/ 3132766 w 4527226"/>
              <a:gd name="connsiteY77" fmla="*/ 2663628 h 6046908"/>
              <a:gd name="connsiteX78" fmla="*/ 3071806 w 4527226"/>
              <a:gd name="connsiteY78" fmla="*/ 2838888 h 6046908"/>
              <a:gd name="connsiteX79" fmla="*/ 3064186 w 4527226"/>
              <a:gd name="connsiteY79" fmla="*/ 2915088 h 6046908"/>
              <a:gd name="connsiteX80" fmla="*/ 3018466 w 4527226"/>
              <a:gd name="connsiteY80" fmla="*/ 3014148 h 6046908"/>
              <a:gd name="connsiteX81" fmla="*/ 2980366 w 4527226"/>
              <a:gd name="connsiteY81" fmla="*/ 3082728 h 6046908"/>
              <a:gd name="connsiteX82" fmla="*/ 2957506 w 4527226"/>
              <a:gd name="connsiteY82" fmla="*/ 3120828 h 6046908"/>
              <a:gd name="connsiteX83" fmla="*/ 2957506 w 4527226"/>
              <a:gd name="connsiteY83" fmla="*/ 3555168 h 6046908"/>
              <a:gd name="connsiteX84" fmla="*/ 3010846 w 4527226"/>
              <a:gd name="connsiteY84" fmla="*/ 3539928 h 6046908"/>
              <a:gd name="connsiteX85" fmla="*/ 3109906 w 4527226"/>
              <a:gd name="connsiteY85" fmla="*/ 3570408 h 6046908"/>
              <a:gd name="connsiteX86" fmla="*/ 3140386 w 4527226"/>
              <a:gd name="connsiteY86" fmla="*/ 3631368 h 6046908"/>
              <a:gd name="connsiteX87" fmla="*/ 3117526 w 4527226"/>
              <a:gd name="connsiteY87" fmla="*/ 3738048 h 6046908"/>
              <a:gd name="connsiteX88" fmla="*/ 3125146 w 4527226"/>
              <a:gd name="connsiteY88" fmla="*/ 4103808 h 6046908"/>
              <a:gd name="connsiteX89" fmla="*/ 3163246 w 4527226"/>
              <a:gd name="connsiteY89" fmla="*/ 4157148 h 6046908"/>
              <a:gd name="connsiteX90" fmla="*/ 3201346 w 4527226"/>
              <a:gd name="connsiteY90" fmla="*/ 4164768 h 6046908"/>
              <a:gd name="connsiteX91" fmla="*/ 3231826 w 4527226"/>
              <a:gd name="connsiteY91" fmla="*/ 4172388 h 6046908"/>
              <a:gd name="connsiteX92" fmla="*/ 3285166 w 4527226"/>
              <a:gd name="connsiteY92" fmla="*/ 4294308 h 6046908"/>
              <a:gd name="connsiteX93" fmla="*/ 3300406 w 4527226"/>
              <a:gd name="connsiteY93" fmla="*/ 4347648 h 6046908"/>
              <a:gd name="connsiteX94" fmla="*/ 3330886 w 4527226"/>
              <a:gd name="connsiteY94" fmla="*/ 4408608 h 6046908"/>
              <a:gd name="connsiteX95" fmla="*/ 3551866 w 4527226"/>
              <a:gd name="connsiteY95" fmla="*/ 4644828 h 6046908"/>
              <a:gd name="connsiteX96" fmla="*/ 3887146 w 4527226"/>
              <a:gd name="connsiteY96" fmla="*/ 5025828 h 6046908"/>
              <a:gd name="connsiteX97" fmla="*/ 4100506 w 4527226"/>
              <a:gd name="connsiteY97" fmla="*/ 5300148 h 6046908"/>
              <a:gd name="connsiteX98" fmla="*/ 4367206 w 4527226"/>
              <a:gd name="connsiteY98" fmla="*/ 5726868 h 6046908"/>
              <a:gd name="connsiteX99" fmla="*/ 4527226 w 4527226"/>
              <a:gd name="connsiteY99" fmla="*/ 6046908 h 6046908"/>
              <a:gd name="connsiteX0" fmla="*/ 564826 w 4527226"/>
              <a:gd name="connsiteY0" fmla="*/ 5353488 h 6046908"/>
              <a:gd name="connsiteX1" fmla="*/ 602926 w 4527226"/>
              <a:gd name="connsiteY1" fmla="*/ 5223948 h 6046908"/>
              <a:gd name="connsiteX2" fmla="*/ 625786 w 4527226"/>
              <a:gd name="connsiteY2" fmla="*/ 5178228 h 6046908"/>
              <a:gd name="connsiteX3" fmla="*/ 701986 w 4527226"/>
              <a:gd name="connsiteY3" fmla="*/ 5071548 h 6046908"/>
              <a:gd name="connsiteX4" fmla="*/ 717226 w 4527226"/>
              <a:gd name="connsiteY4" fmla="*/ 5063928 h 6046908"/>
              <a:gd name="connsiteX5" fmla="*/ 709606 w 4527226"/>
              <a:gd name="connsiteY5" fmla="*/ 5025828 h 6046908"/>
              <a:gd name="connsiteX6" fmla="*/ 701986 w 4527226"/>
              <a:gd name="connsiteY6" fmla="*/ 5002968 h 6046908"/>
              <a:gd name="connsiteX7" fmla="*/ 968686 w 4527226"/>
              <a:gd name="connsiteY7" fmla="*/ 4682928 h 6046908"/>
              <a:gd name="connsiteX8" fmla="*/ 961066 w 4527226"/>
              <a:gd name="connsiteY8" fmla="*/ 4644828 h 6046908"/>
              <a:gd name="connsiteX9" fmla="*/ 1342066 w 4527226"/>
              <a:gd name="connsiteY9" fmla="*/ 4172388 h 6046908"/>
              <a:gd name="connsiteX10" fmla="*/ 1258246 w 4527226"/>
              <a:gd name="connsiteY10" fmla="*/ 4012368 h 6046908"/>
              <a:gd name="connsiteX11" fmla="*/ 1204906 w 4527226"/>
              <a:gd name="connsiteY11" fmla="*/ 3928548 h 6046908"/>
              <a:gd name="connsiteX12" fmla="*/ 1174426 w 4527226"/>
              <a:gd name="connsiteY12" fmla="*/ 3768528 h 6046908"/>
              <a:gd name="connsiteX13" fmla="*/ 1151566 w 4527226"/>
              <a:gd name="connsiteY13" fmla="*/ 3699948 h 6046908"/>
              <a:gd name="connsiteX14" fmla="*/ 1143946 w 4527226"/>
              <a:gd name="connsiteY14" fmla="*/ 3669468 h 6046908"/>
              <a:gd name="connsiteX15" fmla="*/ 1067746 w 4527226"/>
              <a:gd name="connsiteY15" fmla="*/ 3661848 h 6046908"/>
              <a:gd name="connsiteX16" fmla="*/ 938206 w 4527226"/>
              <a:gd name="connsiteY16" fmla="*/ 3669468 h 6046908"/>
              <a:gd name="connsiteX17" fmla="*/ 831526 w 4527226"/>
              <a:gd name="connsiteY17" fmla="*/ 3692328 h 6046908"/>
              <a:gd name="connsiteX18" fmla="*/ 610546 w 4527226"/>
              <a:gd name="connsiteY18" fmla="*/ 3738048 h 6046908"/>
              <a:gd name="connsiteX19" fmla="*/ 389566 w 4527226"/>
              <a:gd name="connsiteY19" fmla="*/ 3638988 h 6046908"/>
              <a:gd name="connsiteX20" fmla="*/ 381946 w 4527226"/>
              <a:gd name="connsiteY20" fmla="*/ 3326568 h 6046908"/>
              <a:gd name="connsiteX21" fmla="*/ 420046 w 4527226"/>
              <a:gd name="connsiteY21" fmla="*/ 3227508 h 6046908"/>
              <a:gd name="connsiteX22" fmla="*/ 389566 w 4527226"/>
              <a:gd name="connsiteY22" fmla="*/ 3166548 h 6046908"/>
              <a:gd name="connsiteX23" fmla="*/ 351466 w 4527226"/>
              <a:gd name="connsiteY23" fmla="*/ 3105588 h 6046908"/>
              <a:gd name="connsiteX24" fmla="*/ 397186 w 4527226"/>
              <a:gd name="connsiteY24" fmla="*/ 3021768 h 6046908"/>
              <a:gd name="connsiteX25" fmla="*/ 488626 w 4527226"/>
              <a:gd name="connsiteY25" fmla="*/ 2998908 h 6046908"/>
              <a:gd name="connsiteX26" fmla="*/ 471956 w 4527226"/>
              <a:gd name="connsiteY26" fmla="*/ 2942709 h 6046908"/>
              <a:gd name="connsiteX27" fmla="*/ 435286 w 4527226"/>
              <a:gd name="connsiteY27" fmla="*/ 2930328 h 6046908"/>
              <a:gd name="connsiteX28" fmla="*/ 389566 w 4527226"/>
              <a:gd name="connsiteY28" fmla="*/ 2930328 h 6046908"/>
              <a:gd name="connsiteX29" fmla="*/ 314000 w 4527226"/>
              <a:gd name="connsiteY29" fmla="*/ 2893495 h 6046908"/>
              <a:gd name="connsiteX30" fmla="*/ 320986 w 4527226"/>
              <a:gd name="connsiteY30" fmla="*/ 2846508 h 6046908"/>
              <a:gd name="connsiteX31" fmla="*/ 328606 w 4527226"/>
              <a:gd name="connsiteY31" fmla="*/ 2793168 h 6046908"/>
              <a:gd name="connsiteX32" fmla="*/ 313366 w 4527226"/>
              <a:gd name="connsiteY32" fmla="*/ 2732208 h 6046908"/>
              <a:gd name="connsiteX33" fmla="*/ 267646 w 4527226"/>
              <a:gd name="connsiteY33" fmla="*/ 2671248 h 6046908"/>
              <a:gd name="connsiteX34" fmla="*/ 176206 w 4527226"/>
              <a:gd name="connsiteY34" fmla="*/ 2656008 h 6046908"/>
              <a:gd name="connsiteX35" fmla="*/ 54286 w 4527226"/>
              <a:gd name="connsiteY35" fmla="*/ 2610288 h 6046908"/>
              <a:gd name="connsiteX36" fmla="*/ 7931 w 4527226"/>
              <a:gd name="connsiteY36" fmla="*/ 2563298 h 6046908"/>
              <a:gd name="connsiteX37" fmla="*/ 8566 w 4527226"/>
              <a:gd name="connsiteY37" fmla="*/ 2488368 h 6046908"/>
              <a:gd name="connsiteX38" fmla="*/ 92386 w 4527226"/>
              <a:gd name="connsiteY38" fmla="*/ 2335968 h 6046908"/>
              <a:gd name="connsiteX39" fmla="*/ 221926 w 4527226"/>
              <a:gd name="connsiteY39" fmla="*/ 2175948 h 6046908"/>
              <a:gd name="connsiteX40" fmla="*/ 282886 w 4527226"/>
              <a:gd name="connsiteY40" fmla="*/ 2084508 h 6046908"/>
              <a:gd name="connsiteX41" fmla="*/ 328606 w 4527226"/>
              <a:gd name="connsiteY41" fmla="*/ 1977828 h 6046908"/>
              <a:gd name="connsiteX42" fmla="*/ 359086 w 4527226"/>
              <a:gd name="connsiteY42" fmla="*/ 1871148 h 6046908"/>
              <a:gd name="connsiteX43" fmla="*/ 374326 w 4527226"/>
              <a:gd name="connsiteY43" fmla="*/ 1810188 h 6046908"/>
              <a:gd name="connsiteX44" fmla="*/ 343846 w 4527226"/>
              <a:gd name="connsiteY44" fmla="*/ 1756848 h 6046908"/>
              <a:gd name="connsiteX45" fmla="*/ 328606 w 4527226"/>
              <a:gd name="connsiteY45" fmla="*/ 1680648 h 6046908"/>
              <a:gd name="connsiteX46" fmla="*/ 412426 w 4527226"/>
              <a:gd name="connsiteY46" fmla="*/ 1474908 h 6046908"/>
              <a:gd name="connsiteX47" fmla="*/ 442906 w 4527226"/>
              <a:gd name="connsiteY47" fmla="*/ 1307268 h 6046908"/>
              <a:gd name="connsiteX48" fmla="*/ 465766 w 4527226"/>
              <a:gd name="connsiteY48" fmla="*/ 1192968 h 6046908"/>
              <a:gd name="connsiteX49" fmla="*/ 503866 w 4527226"/>
              <a:gd name="connsiteY49" fmla="*/ 1055808 h 6046908"/>
              <a:gd name="connsiteX50" fmla="*/ 557206 w 4527226"/>
              <a:gd name="connsiteY50" fmla="*/ 888168 h 6046908"/>
              <a:gd name="connsiteX51" fmla="*/ 503866 w 4527226"/>
              <a:gd name="connsiteY51" fmla="*/ 888168 h 6046908"/>
              <a:gd name="connsiteX52" fmla="*/ 412426 w 4527226"/>
              <a:gd name="connsiteY52" fmla="*/ 834828 h 6046908"/>
              <a:gd name="connsiteX53" fmla="*/ 328606 w 4527226"/>
              <a:gd name="connsiteY53" fmla="*/ 789108 h 6046908"/>
              <a:gd name="connsiteX54" fmla="*/ 260026 w 4527226"/>
              <a:gd name="connsiteY54" fmla="*/ 773868 h 6046908"/>
              <a:gd name="connsiteX55" fmla="*/ 214306 w 4527226"/>
              <a:gd name="connsiteY55" fmla="*/ 751008 h 6046908"/>
              <a:gd name="connsiteX56" fmla="*/ 260026 w 4527226"/>
              <a:gd name="connsiteY56" fmla="*/ 674808 h 6046908"/>
              <a:gd name="connsiteX57" fmla="*/ 374326 w 4527226"/>
              <a:gd name="connsiteY57" fmla="*/ 606228 h 6046908"/>
              <a:gd name="connsiteX58" fmla="*/ 557206 w 4527226"/>
              <a:gd name="connsiteY58" fmla="*/ 507168 h 6046908"/>
              <a:gd name="connsiteX59" fmla="*/ 656266 w 4527226"/>
              <a:gd name="connsiteY59" fmla="*/ 423348 h 6046908"/>
              <a:gd name="connsiteX60" fmla="*/ 892486 w 4527226"/>
              <a:gd name="connsiteY60" fmla="*/ 232848 h 6046908"/>
              <a:gd name="connsiteX61" fmla="*/ 1174426 w 4527226"/>
              <a:gd name="connsiteY61" fmla="*/ 80448 h 6046908"/>
              <a:gd name="connsiteX62" fmla="*/ 1593526 w 4527226"/>
              <a:gd name="connsiteY62" fmla="*/ 11868 h 6046908"/>
              <a:gd name="connsiteX63" fmla="*/ 1944046 w 4527226"/>
              <a:gd name="connsiteY63" fmla="*/ 4248 h 6046908"/>
              <a:gd name="connsiteX64" fmla="*/ 2172646 w 4527226"/>
              <a:gd name="connsiteY64" fmla="*/ 4248 h 6046908"/>
              <a:gd name="connsiteX65" fmla="*/ 2393626 w 4527226"/>
              <a:gd name="connsiteY65" fmla="*/ 57588 h 6046908"/>
              <a:gd name="connsiteX66" fmla="*/ 2667946 w 4527226"/>
              <a:gd name="connsiteY66" fmla="*/ 133788 h 6046908"/>
              <a:gd name="connsiteX67" fmla="*/ 2820346 w 4527226"/>
              <a:gd name="connsiteY67" fmla="*/ 202368 h 6046908"/>
              <a:gd name="connsiteX68" fmla="*/ 3102286 w 4527226"/>
              <a:gd name="connsiteY68" fmla="*/ 400488 h 6046908"/>
              <a:gd name="connsiteX69" fmla="*/ 3285166 w 4527226"/>
              <a:gd name="connsiteY69" fmla="*/ 651948 h 6046908"/>
              <a:gd name="connsiteX70" fmla="*/ 3407086 w 4527226"/>
              <a:gd name="connsiteY70" fmla="*/ 918648 h 6046908"/>
              <a:gd name="connsiteX71" fmla="*/ 3475666 w 4527226"/>
              <a:gd name="connsiteY71" fmla="*/ 1238688 h 6046908"/>
              <a:gd name="connsiteX72" fmla="*/ 3506146 w 4527226"/>
              <a:gd name="connsiteY72" fmla="*/ 1543488 h 6046908"/>
              <a:gd name="connsiteX73" fmla="*/ 3506146 w 4527226"/>
              <a:gd name="connsiteY73" fmla="*/ 1962588 h 6046908"/>
              <a:gd name="connsiteX74" fmla="*/ 3338506 w 4527226"/>
              <a:gd name="connsiteY74" fmla="*/ 2305488 h 6046908"/>
              <a:gd name="connsiteX75" fmla="*/ 3254686 w 4527226"/>
              <a:gd name="connsiteY75" fmla="*/ 2473128 h 6046908"/>
              <a:gd name="connsiteX76" fmla="*/ 3132766 w 4527226"/>
              <a:gd name="connsiteY76" fmla="*/ 2663628 h 6046908"/>
              <a:gd name="connsiteX77" fmla="*/ 3071806 w 4527226"/>
              <a:gd name="connsiteY77" fmla="*/ 2838888 h 6046908"/>
              <a:gd name="connsiteX78" fmla="*/ 3064186 w 4527226"/>
              <a:gd name="connsiteY78" fmla="*/ 2915088 h 6046908"/>
              <a:gd name="connsiteX79" fmla="*/ 3018466 w 4527226"/>
              <a:gd name="connsiteY79" fmla="*/ 3014148 h 6046908"/>
              <a:gd name="connsiteX80" fmla="*/ 2980366 w 4527226"/>
              <a:gd name="connsiteY80" fmla="*/ 3082728 h 6046908"/>
              <a:gd name="connsiteX81" fmla="*/ 2957506 w 4527226"/>
              <a:gd name="connsiteY81" fmla="*/ 3120828 h 6046908"/>
              <a:gd name="connsiteX82" fmla="*/ 2957506 w 4527226"/>
              <a:gd name="connsiteY82" fmla="*/ 3555168 h 6046908"/>
              <a:gd name="connsiteX83" fmla="*/ 3010846 w 4527226"/>
              <a:gd name="connsiteY83" fmla="*/ 3539928 h 6046908"/>
              <a:gd name="connsiteX84" fmla="*/ 3109906 w 4527226"/>
              <a:gd name="connsiteY84" fmla="*/ 3570408 h 6046908"/>
              <a:gd name="connsiteX85" fmla="*/ 3140386 w 4527226"/>
              <a:gd name="connsiteY85" fmla="*/ 3631368 h 6046908"/>
              <a:gd name="connsiteX86" fmla="*/ 3117526 w 4527226"/>
              <a:gd name="connsiteY86" fmla="*/ 3738048 h 6046908"/>
              <a:gd name="connsiteX87" fmla="*/ 3125146 w 4527226"/>
              <a:gd name="connsiteY87" fmla="*/ 4103808 h 6046908"/>
              <a:gd name="connsiteX88" fmla="*/ 3163246 w 4527226"/>
              <a:gd name="connsiteY88" fmla="*/ 4157148 h 6046908"/>
              <a:gd name="connsiteX89" fmla="*/ 3201346 w 4527226"/>
              <a:gd name="connsiteY89" fmla="*/ 4164768 h 6046908"/>
              <a:gd name="connsiteX90" fmla="*/ 3231826 w 4527226"/>
              <a:gd name="connsiteY90" fmla="*/ 4172388 h 6046908"/>
              <a:gd name="connsiteX91" fmla="*/ 3285166 w 4527226"/>
              <a:gd name="connsiteY91" fmla="*/ 4294308 h 6046908"/>
              <a:gd name="connsiteX92" fmla="*/ 3300406 w 4527226"/>
              <a:gd name="connsiteY92" fmla="*/ 4347648 h 6046908"/>
              <a:gd name="connsiteX93" fmla="*/ 3330886 w 4527226"/>
              <a:gd name="connsiteY93" fmla="*/ 4408608 h 6046908"/>
              <a:gd name="connsiteX94" fmla="*/ 3551866 w 4527226"/>
              <a:gd name="connsiteY94" fmla="*/ 4644828 h 6046908"/>
              <a:gd name="connsiteX95" fmla="*/ 3887146 w 4527226"/>
              <a:gd name="connsiteY95" fmla="*/ 5025828 h 6046908"/>
              <a:gd name="connsiteX96" fmla="*/ 4100506 w 4527226"/>
              <a:gd name="connsiteY96" fmla="*/ 5300148 h 6046908"/>
              <a:gd name="connsiteX97" fmla="*/ 4367206 w 4527226"/>
              <a:gd name="connsiteY97" fmla="*/ 5726868 h 6046908"/>
              <a:gd name="connsiteX98" fmla="*/ 4527226 w 4527226"/>
              <a:gd name="connsiteY98" fmla="*/ 6046908 h 6046908"/>
              <a:gd name="connsiteX0" fmla="*/ 602926 w 4527226"/>
              <a:gd name="connsiteY0" fmla="*/ 5223948 h 6046908"/>
              <a:gd name="connsiteX1" fmla="*/ 625786 w 4527226"/>
              <a:gd name="connsiteY1" fmla="*/ 5178228 h 6046908"/>
              <a:gd name="connsiteX2" fmla="*/ 701986 w 4527226"/>
              <a:gd name="connsiteY2" fmla="*/ 5071548 h 6046908"/>
              <a:gd name="connsiteX3" fmla="*/ 717226 w 4527226"/>
              <a:gd name="connsiteY3" fmla="*/ 5063928 h 6046908"/>
              <a:gd name="connsiteX4" fmla="*/ 709606 w 4527226"/>
              <a:gd name="connsiteY4" fmla="*/ 5025828 h 6046908"/>
              <a:gd name="connsiteX5" fmla="*/ 701986 w 4527226"/>
              <a:gd name="connsiteY5" fmla="*/ 5002968 h 6046908"/>
              <a:gd name="connsiteX6" fmla="*/ 968686 w 4527226"/>
              <a:gd name="connsiteY6" fmla="*/ 4682928 h 6046908"/>
              <a:gd name="connsiteX7" fmla="*/ 961066 w 4527226"/>
              <a:gd name="connsiteY7" fmla="*/ 4644828 h 6046908"/>
              <a:gd name="connsiteX8" fmla="*/ 1342066 w 4527226"/>
              <a:gd name="connsiteY8" fmla="*/ 4172388 h 6046908"/>
              <a:gd name="connsiteX9" fmla="*/ 1258246 w 4527226"/>
              <a:gd name="connsiteY9" fmla="*/ 4012368 h 6046908"/>
              <a:gd name="connsiteX10" fmla="*/ 1204906 w 4527226"/>
              <a:gd name="connsiteY10" fmla="*/ 3928548 h 6046908"/>
              <a:gd name="connsiteX11" fmla="*/ 1174426 w 4527226"/>
              <a:gd name="connsiteY11" fmla="*/ 3768528 h 6046908"/>
              <a:gd name="connsiteX12" fmla="*/ 1151566 w 4527226"/>
              <a:gd name="connsiteY12" fmla="*/ 3699948 h 6046908"/>
              <a:gd name="connsiteX13" fmla="*/ 1143946 w 4527226"/>
              <a:gd name="connsiteY13" fmla="*/ 3669468 h 6046908"/>
              <a:gd name="connsiteX14" fmla="*/ 1067746 w 4527226"/>
              <a:gd name="connsiteY14" fmla="*/ 3661848 h 6046908"/>
              <a:gd name="connsiteX15" fmla="*/ 938206 w 4527226"/>
              <a:gd name="connsiteY15" fmla="*/ 3669468 h 6046908"/>
              <a:gd name="connsiteX16" fmla="*/ 831526 w 4527226"/>
              <a:gd name="connsiteY16" fmla="*/ 3692328 h 6046908"/>
              <a:gd name="connsiteX17" fmla="*/ 610546 w 4527226"/>
              <a:gd name="connsiteY17" fmla="*/ 3738048 h 6046908"/>
              <a:gd name="connsiteX18" fmla="*/ 389566 w 4527226"/>
              <a:gd name="connsiteY18" fmla="*/ 3638988 h 6046908"/>
              <a:gd name="connsiteX19" fmla="*/ 381946 w 4527226"/>
              <a:gd name="connsiteY19" fmla="*/ 3326568 h 6046908"/>
              <a:gd name="connsiteX20" fmla="*/ 420046 w 4527226"/>
              <a:gd name="connsiteY20" fmla="*/ 3227508 h 6046908"/>
              <a:gd name="connsiteX21" fmla="*/ 389566 w 4527226"/>
              <a:gd name="connsiteY21" fmla="*/ 3166548 h 6046908"/>
              <a:gd name="connsiteX22" fmla="*/ 351466 w 4527226"/>
              <a:gd name="connsiteY22" fmla="*/ 3105588 h 6046908"/>
              <a:gd name="connsiteX23" fmla="*/ 397186 w 4527226"/>
              <a:gd name="connsiteY23" fmla="*/ 3021768 h 6046908"/>
              <a:gd name="connsiteX24" fmla="*/ 488626 w 4527226"/>
              <a:gd name="connsiteY24" fmla="*/ 2998908 h 6046908"/>
              <a:gd name="connsiteX25" fmla="*/ 471956 w 4527226"/>
              <a:gd name="connsiteY25" fmla="*/ 2942709 h 6046908"/>
              <a:gd name="connsiteX26" fmla="*/ 435286 w 4527226"/>
              <a:gd name="connsiteY26" fmla="*/ 2930328 h 6046908"/>
              <a:gd name="connsiteX27" fmla="*/ 389566 w 4527226"/>
              <a:gd name="connsiteY27" fmla="*/ 2930328 h 6046908"/>
              <a:gd name="connsiteX28" fmla="*/ 314000 w 4527226"/>
              <a:gd name="connsiteY28" fmla="*/ 2893495 h 6046908"/>
              <a:gd name="connsiteX29" fmla="*/ 320986 w 4527226"/>
              <a:gd name="connsiteY29" fmla="*/ 2846508 h 6046908"/>
              <a:gd name="connsiteX30" fmla="*/ 328606 w 4527226"/>
              <a:gd name="connsiteY30" fmla="*/ 2793168 h 6046908"/>
              <a:gd name="connsiteX31" fmla="*/ 313366 w 4527226"/>
              <a:gd name="connsiteY31" fmla="*/ 2732208 h 6046908"/>
              <a:gd name="connsiteX32" fmla="*/ 267646 w 4527226"/>
              <a:gd name="connsiteY32" fmla="*/ 2671248 h 6046908"/>
              <a:gd name="connsiteX33" fmla="*/ 176206 w 4527226"/>
              <a:gd name="connsiteY33" fmla="*/ 2656008 h 6046908"/>
              <a:gd name="connsiteX34" fmla="*/ 54286 w 4527226"/>
              <a:gd name="connsiteY34" fmla="*/ 2610288 h 6046908"/>
              <a:gd name="connsiteX35" fmla="*/ 7931 w 4527226"/>
              <a:gd name="connsiteY35" fmla="*/ 2563298 h 6046908"/>
              <a:gd name="connsiteX36" fmla="*/ 8566 w 4527226"/>
              <a:gd name="connsiteY36" fmla="*/ 2488368 h 6046908"/>
              <a:gd name="connsiteX37" fmla="*/ 92386 w 4527226"/>
              <a:gd name="connsiteY37" fmla="*/ 2335968 h 6046908"/>
              <a:gd name="connsiteX38" fmla="*/ 221926 w 4527226"/>
              <a:gd name="connsiteY38" fmla="*/ 2175948 h 6046908"/>
              <a:gd name="connsiteX39" fmla="*/ 282886 w 4527226"/>
              <a:gd name="connsiteY39" fmla="*/ 2084508 h 6046908"/>
              <a:gd name="connsiteX40" fmla="*/ 328606 w 4527226"/>
              <a:gd name="connsiteY40" fmla="*/ 1977828 h 6046908"/>
              <a:gd name="connsiteX41" fmla="*/ 359086 w 4527226"/>
              <a:gd name="connsiteY41" fmla="*/ 1871148 h 6046908"/>
              <a:gd name="connsiteX42" fmla="*/ 374326 w 4527226"/>
              <a:gd name="connsiteY42" fmla="*/ 1810188 h 6046908"/>
              <a:gd name="connsiteX43" fmla="*/ 343846 w 4527226"/>
              <a:gd name="connsiteY43" fmla="*/ 1756848 h 6046908"/>
              <a:gd name="connsiteX44" fmla="*/ 328606 w 4527226"/>
              <a:gd name="connsiteY44" fmla="*/ 1680648 h 6046908"/>
              <a:gd name="connsiteX45" fmla="*/ 412426 w 4527226"/>
              <a:gd name="connsiteY45" fmla="*/ 1474908 h 6046908"/>
              <a:gd name="connsiteX46" fmla="*/ 442906 w 4527226"/>
              <a:gd name="connsiteY46" fmla="*/ 1307268 h 6046908"/>
              <a:gd name="connsiteX47" fmla="*/ 465766 w 4527226"/>
              <a:gd name="connsiteY47" fmla="*/ 1192968 h 6046908"/>
              <a:gd name="connsiteX48" fmla="*/ 503866 w 4527226"/>
              <a:gd name="connsiteY48" fmla="*/ 1055808 h 6046908"/>
              <a:gd name="connsiteX49" fmla="*/ 557206 w 4527226"/>
              <a:gd name="connsiteY49" fmla="*/ 888168 h 6046908"/>
              <a:gd name="connsiteX50" fmla="*/ 503866 w 4527226"/>
              <a:gd name="connsiteY50" fmla="*/ 888168 h 6046908"/>
              <a:gd name="connsiteX51" fmla="*/ 412426 w 4527226"/>
              <a:gd name="connsiteY51" fmla="*/ 834828 h 6046908"/>
              <a:gd name="connsiteX52" fmla="*/ 328606 w 4527226"/>
              <a:gd name="connsiteY52" fmla="*/ 789108 h 6046908"/>
              <a:gd name="connsiteX53" fmla="*/ 260026 w 4527226"/>
              <a:gd name="connsiteY53" fmla="*/ 773868 h 6046908"/>
              <a:gd name="connsiteX54" fmla="*/ 214306 w 4527226"/>
              <a:gd name="connsiteY54" fmla="*/ 751008 h 6046908"/>
              <a:gd name="connsiteX55" fmla="*/ 260026 w 4527226"/>
              <a:gd name="connsiteY55" fmla="*/ 674808 h 6046908"/>
              <a:gd name="connsiteX56" fmla="*/ 374326 w 4527226"/>
              <a:gd name="connsiteY56" fmla="*/ 606228 h 6046908"/>
              <a:gd name="connsiteX57" fmla="*/ 557206 w 4527226"/>
              <a:gd name="connsiteY57" fmla="*/ 507168 h 6046908"/>
              <a:gd name="connsiteX58" fmla="*/ 656266 w 4527226"/>
              <a:gd name="connsiteY58" fmla="*/ 423348 h 6046908"/>
              <a:gd name="connsiteX59" fmla="*/ 892486 w 4527226"/>
              <a:gd name="connsiteY59" fmla="*/ 232848 h 6046908"/>
              <a:gd name="connsiteX60" fmla="*/ 1174426 w 4527226"/>
              <a:gd name="connsiteY60" fmla="*/ 80448 h 6046908"/>
              <a:gd name="connsiteX61" fmla="*/ 1593526 w 4527226"/>
              <a:gd name="connsiteY61" fmla="*/ 11868 h 6046908"/>
              <a:gd name="connsiteX62" fmla="*/ 1944046 w 4527226"/>
              <a:gd name="connsiteY62" fmla="*/ 4248 h 6046908"/>
              <a:gd name="connsiteX63" fmla="*/ 2172646 w 4527226"/>
              <a:gd name="connsiteY63" fmla="*/ 4248 h 6046908"/>
              <a:gd name="connsiteX64" fmla="*/ 2393626 w 4527226"/>
              <a:gd name="connsiteY64" fmla="*/ 57588 h 6046908"/>
              <a:gd name="connsiteX65" fmla="*/ 2667946 w 4527226"/>
              <a:gd name="connsiteY65" fmla="*/ 133788 h 6046908"/>
              <a:gd name="connsiteX66" fmla="*/ 2820346 w 4527226"/>
              <a:gd name="connsiteY66" fmla="*/ 202368 h 6046908"/>
              <a:gd name="connsiteX67" fmla="*/ 3102286 w 4527226"/>
              <a:gd name="connsiteY67" fmla="*/ 400488 h 6046908"/>
              <a:gd name="connsiteX68" fmla="*/ 3285166 w 4527226"/>
              <a:gd name="connsiteY68" fmla="*/ 651948 h 6046908"/>
              <a:gd name="connsiteX69" fmla="*/ 3407086 w 4527226"/>
              <a:gd name="connsiteY69" fmla="*/ 918648 h 6046908"/>
              <a:gd name="connsiteX70" fmla="*/ 3475666 w 4527226"/>
              <a:gd name="connsiteY70" fmla="*/ 1238688 h 6046908"/>
              <a:gd name="connsiteX71" fmla="*/ 3506146 w 4527226"/>
              <a:gd name="connsiteY71" fmla="*/ 1543488 h 6046908"/>
              <a:gd name="connsiteX72" fmla="*/ 3506146 w 4527226"/>
              <a:gd name="connsiteY72" fmla="*/ 1962588 h 6046908"/>
              <a:gd name="connsiteX73" fmla="*/ 3338506 w 4527226"/>
              <a:gd name="connsiteY73" fmla="*/ 2305488 h 6046908"/>
              <a:gd name="connsiteX74" fmla="*/ 3254686 w 4527226"/>
              <a:gd name="connsiteY74" fmla="*/ 2473128 h 6046908"/>
              <a:gd name="connsiteX75" fmla="*/ 3132766 w 4527226"/>
              <a:gd name="connsiteY75" fmla="*/ 2663628 h 6046908"/>
              <a:gd name="connsiteX76" fmla="*/ 3071806 w 4527226"/>
              <a:gd name="connsiteY76" fmla="*/ 2838888 h 6046908"/>
              <a:gd name="connsiteX77" fmla="*/ 3064186 w 4527226"/>
              <a:gd name="connsiteY77" fmla="*/ 2915088 h 6046908"/>
              <a:gd name="connsiteX78" fmla="*/ 3018466 w 4527226"/>
              <a:gd name="connsiteY78" fmla="*/ 3014148 h 6046908"/>
              <a:gd name="connsiteX79" fmla="*/ 2980366 w 4527226"/>
              <a:gd name="connsiteY79" fmla="*/ 3082728 h 6046908"/>
              <a:gd name="connsiteX80" fmla="*/ 2957506 w 4527226"/>
              <a:gd name="connsiteY80" fmla="*/ 3120828 h 6046908"/>
              <a:gd name="connsiteX81" fmla="*/ 2957506 w 4527226"/>
              <a:gd name="connsiteY81" fmla="*/ 3555168 h 6046908"/>
              <a:gd name="connsiteX82" fmla="*/ 3010846 w 4527226"/>
              <a:gd name="connsiteY82" fmla="*/ 3539928 h 6046908"/>
              <a:gd name="connsiteX83" fmla="*/ 3109906 w 4527226"/>
              <a:gd name="connsiteY83" fmla="*/ 3570408 h 6046908"/>
              <a:gd name="connsiteX84" fmla="*/ 3140386 w 4527226"/>
              <a:gd name="connsiteY84" fmla="*/ 3631368 h 6046908"/>
              <a:gd name="connsiteX85" fmla="*/ 3117526 w 4527226"/>
              <a:gd name="connsiteY85" fmla="*/ 3738048 h 6046908"/>
              <a:gd name="connsiteX86" fmla="*/ 3125146 w 4527226"/>
              <a:gd name="connsiteY86" fmla="*/ 4103808 h 6046908"/>
              <a:gd name="connsiteX87" fmla="*/ 3163246 w 4527226"/>
              <a:gd name="connsiteY87" fmla="*/ 4157148 h 6046908"/>
              <a:gd name="connsiteX88" fmla="*/ 3201346 w 4527226"/>
              <a:gd name="connsiteY88" fmla="*/ 4164768 h 6046908"/>
              <a:gd name="connsiteX89" fmla="*/ 3231826 w 4527226"/>
              <a:gd name="connsiteY89" fmla="*/ 4172388 h 6046908"/>
              <a:gd name="connsiteX90" fmla="*/ 3285166 w 4527226"/>
              <a:gd name="connsiteY90" fmla="*/ 4294308 h 6046908"/>
              <a:gd name="connsiteX91" fmla="*/ 3300406 w 4527226"/>
              <a:gd name="connsiteY91" fmla="*/ 4347648 h 6046908"/>
              <a:gd name="connsiteX92" fmla="*/ 3330886 w 4527226"/>
              <a:gd name="connsiteY92" fmla="*/ 4408608 h 6046908"/>
              <a:gd name="connsiteX93" fmla="*/ 3551866 w 4527226"/>
              <a:gd name="connsiteY93" fmla="*/ 4644828 h 6046908"/>
              <a:gd name="connsiteX94" fmla="*/ 3887146 w 4527226"/>
              <a:gd name="connsiteY94" fmla="*/ 5025828 h 6046908"/>
              <a:gd name="connsiteX95" fmla="*/ 4100506 w 4527226"/>
              <a:gd name="connsiteY95" fmla="*/ 5300148 h 6046908"/>
              <a:gd name="connsiteX96" fmla="*/ 4367206 w 4527226"/>
              <a:gd name="connsiteY96" fmla="*/ 5726868 h 6046908"/>
              <a:gd name="connsiteX97" fmla="*/ 4527226 w 4527226"/>
              <a:gd name="connsiteY97" fmla="*/ 6046908 h 6046908"/>
              <a:gd name="connsiteX0" fmla="*/ 625786 w 4527226"/>
              <a:gd name="connsiteY0" fmla="*/ 5178228 h 6046908"/>
              <a:gd name="connsiteX1" fmla="*/ 701986 w 4527226"/>
              <a:gd name="connsiteY1" fmla="*/ 5071548 h 6046908"/>
              <a:gd name="connsiteX2" fmla="*/ 717226 w 4527226"/>
              <a:gd name="connsiteY2" fmla="*/ 5063928 h 6046908"/>
              <a:gd name="connsiteX3" fmla="*/ 709606 w 4527226"/>
              <a:gd name="connsiteY3" fmla="*/ 5025828 h 6046908"/>
              <a:gd name="connsiteX4" fmla="*/ 701986 w 4527226"/>
              <a:gd name="connsiteY4" fmla="*/ 5002968 h 6046908"/>
              <a:gd name="connsiteX5" fmla="*/ 968686 w 4527226"/>
              <a:gd name="connsiteY5" fmla="*/ 4682928 h 6046908"/>
              <a:gd name="connsiteX6" fmla="*/ 961066 w 4527226"/>
              <a:gd name="connsiteY6" fmla="*/ 4644828 h 6046908"/>
              <a:gd name="connsiteX7" fmla="*/ 1342066 w 4527226"/>
              <a:gd name="connsiteY7" fmla="*/ 4172388 h 6046908"/>
              <a:gd name="connsiteX8" fmla="*/ 1258246 w 4527226"/>
              <a:gd name="connsiteY8" fmla="*/ 4012368 h 6046908"/>
              <a:gd name="connsiteX9" fmla="*/ 1204906 w 4527226"/>
              <a:gd name="connsiteY9" fmla="*/ 3928548 h 6046908"/>
              <a:gd name="connsiteX10" fmla="*/ 1174426 w 4527226"/>
              <a:gd name="connsiteY10" fmla="*/ 3768528 h 6046908"/>
              <a:gd name="connsiteX11" fmla="*/ 1151566 w 4527226"/>
              <a:gd name="connsiteY11" fmla="*/ 3699948 h 6046908"/>
              <a:gd name="connsiteX12" fmla="*/ 1143946 w 4527226"/>
              <a:gd name="connsiteY12" fmla="*/ 3669468 h 6046908"/>
              <a:gd name="connsiteX13" fmla="*/ 1067746 w 4527226"/>
              <a:gd name="connsiteY13" fmla="*/ 3661848 h 6046908"/>
              <a:gd name="connsiteX14" fmla="*/ 938206 w 4527226"/>
              <a:gd name="connsiteY14" fmla="*/ 3669468 h 6046908"/>
              <a:gd name="connsiteX15" fmla="*/ 831526 w 4527226"/>
              <a:gd name="connsiteY15" fmla="*/ 3692328 h 6046908"/>
              <a:gd name="connsiteX16" fmla="*/ 610546 w 4527226"/>
              <a:gd name="connsiteY16" fmla="*/ 3738048 h 6046908"/>
              <a:gd name="connsiteX17" fmla="*/ 389566 w 4527226"/>
              <a:gd name="connsiteY17" fmla="*/ 3638988 h 6046908"/>
              <a:gd name="connsiteX18" fmla="*/ 381946 w 4527226"/>
              <a:gd name="connsiteY18" fmla="*/ 3326568 h 6046908"/>
              <a:gd name="connsiteX19" fmla="*/ 420046 w 4527226"/>
              <a:gd name="connsiteY19" fmla="*/ 3227508 h 6046908"/>
              <a:gd name="connsiteX20" fmla="*/ 389566 w 4527226"/>
              <a:gd name="connsiteY20" fmla="*/ 3166548 h 6046908"/>
              <a:gd name="connsiteX21" fmla="*/ 351466 w 4527226"/>
              <a:gd name="connsiteY21" fmla="*/ 3105588 h 6046908"/>
              <a:gd name="connsiteX22" fmla="*/ 397186 w 4527226"/>
              <a:gd name="connsiteY22" fmla="*/ 3021768 h 6046908"/>
              <a:gd name="connsiteX23" fmla="*/ 488626 w 4527226"/>
              <a:gd name="connsiteY23" fmla="*/ 2998908 h 6046908"/>
              <a:gd name="connsiteX24" fmla="*/ 471956 w 4527226"/>
              <a:gd name="connsiteY24" fmla="*/ 2942709 h 6046908"/>
              <a:gd name="connsiteX25" fmla="*/ 435286 w 4527226"/>
              <a:gd name="connsiteY25" fmla="*/ 2930328 h 6046908"/>
              <a:gd name="connsiteX26" fmla="*/ 389566 w 4527226"/>
              <a:gd name="connsiteY26" fmla="*/ 2930328 h 6046908"/>
              <a:gd name="connsiteX27" fmla="*/ 314000 w 4527226"/>
              <a:gd name="connsiteY27" fmla="*/ 2893495 h 6046908"/>
              <a:gd name="connsiteX28" fmla="*/ 320986 w 4527226"/>
              <a:gd name="connsiteY28" fmla="*/ 2846508 h 6046908"/>
              <a:gd name="connsiteX29" fmla="*/ 328606 w 4527226"/>
              <a:gd name="connsiteY29" fmla="*/ 2793168 h 6046908"/>
              <a:gd name="connsiteX30" fmla="*/ 313366 w 4527226"/>
              <a:gd name="connsiteY30" fmla="*/ 2732208 h 6046908"/>
              <a:gd name="connsiteX31" fmla="*/ 267646 w 4527226"/>
              <a:gd name="connsiteY31" fmla="*/ 2671248 h 6046908"/>
              <a:gd name="connsiteX32" fmla="*/ 176206 w 4527226"/>
              <a:gd name="connsiteY32" fmla="*/ 2656008 h 6046908"/>
              <a:gd name="connsiteX33" fmla="*/ 54286 w 4527226"/>
              <a:gd name="connsiteY33" fmla="*/ 2610288 h 6046908"/>
              <a:gd name="connsiteX34" fmla="*/ 7931 w 4527226"/>
              <a:gd name="connsiteY34" fmla="*/ 2563298 h 6046908"/>
              <a:gd name="connsiteX35" fmla="*/ 8566 w 4527226"/>
              <a:gd name="connsiteY35" fmla="*/ 2488368 h 6046908"/>
              <a:gd name="connsiteX36" fmla="*/ 92386 w 4527226"/>
              <a:gd name="connsiteY36" fmla="*/ 2335968 h 6046908"/>
              <a:gd name="connsiteX37" fmla="*/ 221926 w 4527226"/>
              <a:gd name="connsiteY37" fmla="*/ 2175948 h 6046908"/>
              <a:gd name="connsiteX38" fmla="*/ 282886 w 4527226"/>
              <a:gd name="connsiteY38" fmla="*/ 2084508 h 6046908"/>
              <a:gd name="connsiteX39" fmla="*/ 328606 w 4527226"/>
              <a:gd name="connsiteY39" fmla="*/ 1977828 h 6046908"/>
              <a:gd name="connsiteX40" fmla="*/ 359086 w 4527226"/>
              <a:gd name="connsiteY40" fmla="*/ 1871148 h 6046908"/>
              <a:gd name="connsiteX41" fmla="*/ 374326 w 4527226"/>
              <a:gd name="connsiteY41" fmla="*/ 1810188 h 6046908"/>
              <a:gd name="connsiteX42" fmla="*/ 343846 w 4527226"/>
              <a:gd name="connsiteY42" fmla="*/ 1756848 h 6046908"/>
              <a:gd name="connsiteX43" fmla="*/ 328606 w 4527226"/>
              <a:gd name="connsiteY43" fmla="*/ 1680648 h 6046908"/>
              <a:gd name="connsiteX44" fmla="*/ 412426 w 4527226"/>
              <a:gd name="connsiteY44" fmla="*/ 1474908 h 6046908"/>
              <a:gd name="connsiteX45" fmla="*/ 442906 w 4527226"/>
              <a:gd name="connsiteY45" fmla="*/ 1307268 h 6046908"/>
              <a:gd name="connsiteX46" fmla="*/ 465766 w 4527226"/>
              <a:gd name="connsiteY46" fmla="*/ 1192968 h 6046908"/>
              <a:gd name="connsiteX47" fmla="*/ 503866 w 4527226"/>
              <a:gd name="connsiteY47" fmla="*/ 1055808 h 6046908"/>
              <a:gd name="connsiteX48" fmla="*/ 557206 w 4527226"/>
              <a:gd name="connsiteY48" fmla="*/ 888168 h 6046908"/>
              <a:gd name="connsiteX49" fmla="*/ 503866 w 4527226"/>
              <a:gd name="connsiteY49" fmla="*/ 888168 h 6046908"/>
              <a:gd name="connsiteX50" fmla="*/ 412426 w 4527226"/>
              <a:gd name="connsiteY50" fmla="*/ 834828 h 6046908"/>
              <a:gd name="connsiteX51" fmla="*/ 328606 w 4527226"/>
              <a:gd name="connsiteY51" fmla="*/ 789108 h 6046908"/>
              <a:gd name="connsiteX52" fmla="*/ 260026 w 4527226"/>
              <a:gd name="connsiteY52" fmla="*/ 773868 h 6046908"/>
              <a:gd name="connsiteX53" fmla="*/ 214306 w 4527226"/>
              <a:gd name="connsiteY53" fmla="*/ 751008 h 6046908"/>
              <a:gd name="connsiteX54" fmla="*/ 260026 w 4527226"/>
              <a:gd name="connsiteY54" fmla="*/ 674808 h 6046908"/>
              <a:gd name="connsiteX55" fmla="*/ 374326 w 4527226"/>
              <a:gd name="connsiteY55" fmla="*/ 606228 h 6046908"/>
              <a:gd name="connsiteX56" fmla="*/ 557206 w 4527226"/>
              <a:gd name="connsiteY56" fmla="*/ 507168 h 6046908"/>
              <a:gd name="connsiteX57" fmla="*/ 656266 w 4527226"/>
              <a:gd name="connsiteY57" fmla="*/ 423348 h 6046908"/>
              <a:gd name="connsiteX58" fmla="*/ 892486 w 4527226"/>
              <a:gd name="connsiteY58" fmla="*/ 232848 h 6046908"/>
              <a:gd name="connsiteX59" fmla="*/ 1174426 w 4527226"/>
              <a:gd name="connsiteY59" fmla="*/ 80448 h 6046908"/>
              <a:gd name="connsiteX60" fmla="*/ 1593526 w 4527226"/>
              <a:gd name="connsiteY60" fmla="*/ 11868 h 6046908"/>
              <a:gd name="connsiteX61" fmla="*/ 1944046 w 4527226"/>
              <a:gd name="connsiteY61" fmla="*/ 4248 h 6046908"/>
              <a:gd name="connsiteX62" fmla="*/ 2172646 w 4527226"/>
              <a:gd name="connsiteY62" fmla="*/ 4248 h 6046908"/>
              <a:gd name="connsiteX63" fmla="*/ 2393626 w 4527226"/>
              <a:gd name="connsiteY63" fmla="*/ 57588 h 6046908"/>
              <a:gd name="connsiteX64" fmla="*/ 2667946 w 4527226"/>
              <a:gd name="connsiteY64" fmla="*/ 133788 h 6046908"/>
              <a:gd name="connsiteX65" fmla="*/ 2820346 w 4527226"/>
              <a:gd name="connsiteY65" fmla="*/ 202368 h 6046908"/>
              <a:gd name="connsiteX66" fmla="*/ 3102286 w 4527226"/>
              <a:gd name="connsiteY66" fmla="*/ 400488 h 6046908"/>
              <a:gd name="connsiteX67" fmla="*/ 3285166 w 4527226"/>
              <a:gd name="connsiteY67" fmla="*/ 651948 h 6046908"/>
              <a:gd name="connsiteX68" fmla="*/ 3407086 w 4527226"/>
              <a:gd name="connsiteY68" fmla="*/ 918648 h 6046908"/>
              <a:gd name="connsiteX69" fmla="*/ 3475666 w 4527226"/>
              <a:gd name="connsiteY69" fmla="*/ 1238688 h 6046908"/>
              <a:gd name="connsiteX70" fmla="*/ 3506146 w 4527226"/>
              <a:gd name="connsiteY70" fmla="*/ 1543488 h 6046908"/>
              <a:gd name="connsiteX71" fmla="*/ 3506146 w 4527226"/>
              <a:gd name="connsiteY71" fmla="*/ 1962588 h 6046908"/>
              <a:gd name="connsiteX72" fmla="*/ 3338506 w 4527226"/>
              <a:gd name="connsiteY72" fmla="*/ 2305488 h 6046908"/>
              <a:gd name="connsiteX73" fmla="*/ 3254686 w 4527226"/>
              <a:gd name="connsiteY73" fmla="*/ 2473128 h 6046908"/>
              <a:gd name="connsiteX74" fmla="*/ 3132766 w 4527226"/>
              <a:gd name="connsiteY74" fmla="*/ 2663628 h 6046908"/>
              <a:gd name="connsiteX75" fmla="*/ 3071806 w 4527226"/>
              <a:gd name="connsiteY75" fmla="*/ 2838888 h 6046908"/>
              <a:gd name="connsiteX76" fmla="*/ 3064186 w 4527226"/>
              <a:gd name="connsiteY76" fmla="*/ 2915088 h 6046908"/>
              <a:gd name="connsiteX77" fmla="*/ 3018466 w 4527226"/>
              <a:gd name="connsiteY77" fmla="*/ 3014148 h 6046908"/>
              <a:gd name="connsiteX78" fmla="*/ 2980366 w 4527226"/>
              <a:gd name="connsiteY78" fmla="*/ 3082728 h 6046908"/>
              <a:gd name="connsiteX79" fmla="*/ 2957506 w 4527226"/>
              <a:gd name="connsiteY79" fmla="*/ 3120828 h 6046908"/>
              <a:gd name="connsiteX80" fmla="*/ 2957506 w 4527226"/>
              <a:gd name="connsiteY80" fmla="*/ 3555168 h 6046908"/>
              <a:gd name="connsiteX81" fmla="*/ 3010846 w 4527226"/>
              <a:gd name="connsiteY81" fmla="*/ 3539928 h 6046908"/>
              <a:gd name="connsiteX82" fmla="*/ 3109906 w 4527226"/>
              <a:gd name="connsiteY82" fmla="*/ 3570408 h 6046908"/>
              <a:gd name="connsiteX83" fmla="*/ 3140386 w 4527226"/>
              <a:gd name="connsiteY83" fmla="*/ 3631368 h 6046908"/>
              <a:gd name="connsiteX84" fmla="*/ 3117526 w 4527226"/>
              <a:gd name="connsiteY84" fmla="*/ 3738048 h 6046908"/>
              <a:gd name="connsiteX85" fmla="*/ 3125146 w 4527226"/>
              <a:gd name="connsiteY85" fmla="*/ 4103808 h 6046908"/>
              <a:gd name="connsiteX86" fmla="*/ 3163246 w 4527226"/>
              <a:gd name="connsiteY86" fmla="*/ 4157148 h 6046908"/>
              <a:gd name="connsiteX87" fmla="*/ 3201346 w 4527226"/>
              <a:gd name="connsiteY87" fmla="*/ 4164768 h 6046908"/>
              <a:gd name="connsiteX88" fmla="*/ 3231826 w 4527226"/>
              <a:gd name="connsiteY88" fmla="*/ 4172388 h 6046908"/>
              <a:gd name="connsiteX89" fmla="*/ 3285166 w 4527226"/>
              <a:gd name="connsiteY89" fmla="*/ 4294308 h 6046908"/>
              <a:gd name="connsiteX90" fmla="*/ 3300406 w 4527226"/>
              <a:gd name="connsiteY90" fmla="*/ 4347648 h 6046908"/>
              <a:gd name="connsiteX91" fmla="*/ 3330886 w 4527226"/>
              <a:gd name="connsiteY91" fmla="*/ 4408608 h 6046908"/>
              <a:gd name="connsiteX92" fmla="*/ 3551866 w 4527226"/>
              <a:gd name="connsiteY92" fmla="*/ 4644828 h 6046908"/>
              <a:gd name="connsiteX93" fmla="*/ 3887146 w 4527226"/>
              <a:gd name="connsiteY93" fmla="*/ 5025828 h 6046908"/>
              <a:gd name="connsiteX94" fmla="*/ 4100506 w 4527226"/>
              <a:gd name="connsiteY94" fmla="*/ 5300148 h 6046908"/>
              <a:gd name="connsiteX95" fmla="*/ 4367206 w 4527226"/>
              <a:gd name="connsiteY95" fmla="*/ 5726868 h 6046908"/>
              <a:gd name="connsiteX96" fmla="*/ 4527226 w 4527226"/>
              <a:gd name="connsiteY96" fmla="*/ 6046908 h 6046908"/>
              <a:gd name="connsiteX0" fmla="*/ 701986 w 4527226"/>
              <a:gd name="connsiteY0" fmla="*/ 5071548 h 6046908"/>
              <a:gd name="connsiteX1" fmla="*/ 717226 w 4527226"/>
              <a:gd name="connsiteY1" fmla="*/ 5063928 h 6046908"/>
              <a:gd name="connsiteX2" fmla="*/ 709606 w 4527226"/>
              <a:gd name="connsiteY2" fmla="*/ 5025828 h 6046908"/>
              <a:gd name="connsiteX3" fmla="*/ 701986 w 4527226"/>
              <a:gd name="connsiteY3" fmla="*/ 5002968 h 6046908"/>
              <a:gd name="connsiteX4" fmla="*/ 968686 w 4527226"/>
              <a:gd name="connsiteY4" fmla="*/ 4682928 h 6046908"/>
              <a:gd name="connsiteX5" fmla="*/ 961066 w 4527226"/>
              <a:gd name="connsiteY5" fmla="*/ 4644828 h 6046908"/>
              <a:gd name="connsiteX6" fmla="*/ 1342066 w 4527226"/>
              <a:gd name="connsiteY6" fmla="*/ 4172388 h 6046908"/>
              <a:gd name="connsiteX7" fmla="*/ 1258246 w 4527226"/>
              <a:gd name="connsiteY7" fmla="*/ 4012368 h 6046908"/>
              <a:gd name="connsiteX8" fmla="*/ 1204906 w 4527226"/>
              <a:gd name="connsiteY8" fmla="*/ 3928548 h 6046908"/>
              <a:gd name="connsiteX9" fmla="*/ 1174426 w 4527226"/>
              <a:gd name="connsiteY9" fmla="*/ 3768528 h 6046908"/>
              <a:gd name="connsiteX10" fmla="*/ 1151566 w 4527226"/>
              <a:gd name="connsiteY10" fmla="*/ 3699948 h 6046908"/>
              <a:gd name="connsiteX11" fmla="*/ 1143946 w 4527226"/>
              <a:gd name="connsiteY11" fmla="*/ 3669468 h 6046908"/>
              <a:gd name="connsiteX12" fmla="*/ 1067746 w 4527226"/>
              <a:gd name="connsiteY12" fmla="*/ 3661848 h 6046908"/>
              <a:gd name="connsiteX13" fmla="*/ 938206 w 4527226"/>
              <a:gd name="connsiteY13" fmla="*/ 3669468 h 6046908"/>
              <a:gd name="connsiteX14" fmla="*/ 831526 w 4527226"/>
              <a:gd name="connsiteY14" fmla="*/ 3692328 h 6046908"/>
              <a:gd name="connsiteX15" fmla="*/ 610546 w 4527226"/>
              <a:gd name="connsiteY15" fmla="*/ 3738048 h 6046908"/>
              <a:gd name="connsiteX16" fmla="*/ 389566 w 4527226"/>
              <a:gd name="connsiteY16" fmla="*/ 3638988 h 6046908"/>
              <a:gd name="connsiteX17" fmla="*/ 381946 w 4527226"/>
              <a:gd name="connsiteY17" fmla="*/ 3326568 h 6046908"/>
              <a:gd name="connsiteX18" fmla="*/ 420046 w 4527226"/>
              <a:gd name="connsiteY18" fmla="*/ 3227508 h 6046908"/>
              <a:gd name="connsiteX19" fmla="*/ 389566 w 4527226"/>
              <a:gd name="connsiteY19" fmla="*/ 3166548 h 6046908"/>
              <a:gd name="connsiteX20" fmla="*/ 351466 w 4527226"/>
              <a:gd name="connsiteY20" fmla="*/ 3105588 h 6046908"/>
              <a:gd name="connsiteX21" fmla="*/ 397186 w 4527226"/>
              <a:gd name="connsiteY21" fmla="*/ 3021768 h 6046908"/>
              <a:gd name="connsiteX22" fmla="*/ 488626 w 4527226"/>
              <a:gd name="connsiteY22" fmla="*/ 2998908 h 6046908"/>
              <a:gd name="connsiteX23" fmla="*/ 471956 w 4527226"/>
              <a:gd name="connsiteY23" fmla="*/ 2942709 h 6046908"/>
              <a:gd name="connsiteX24" fmla="*/ 435286 w 4527226"/>
              <a:gd name="connsiteY24" fmla="*/ 2930328 h 6046908"/>
              <a:gd name="connsiteX25" fmla="*/ 389566 w 4527226"/>
              <a:gd name="connsiteY25" fmla="*/ 2930328 h 6046908"/>
              <a:gd name="connsiteX26" fmla="*/ 314000 w 4527226"/>
              <a:gd name="connsiteY26" fmla="*/ 2893495 h 6046908"/>
              <a:gd name="connsiteX27" fmla="*/ 320986 w 4527226"/>
              <a:gd name="connsiteY27" fmla="*/ 2846508 h 6046908"/>
              <a:gd name="connsiteX28" fmla="*/ 328606 w 4527226"/>
              <a:gd name="connsiteY28" fmla="*/ 2793168 h 6046908"/>
              <a:gd name="connsiteX29" fmla="*/ 313366 w 4527226"/>
              <a:gd name="connsiteY29" fmla="*/ 2732208 h 6046908"/>
              <a:gd name="connsiteX30" fmla="*/ 267646 w 4527226"/>
              <a:gd name="connsiteY30" fmla="*/ 2671248 h 6046908"/>
              <a:gd name="connsiteX31" fmla="*/ 176206 w 4527226"/>
              <a:gd name="connsiteY31" fmla="*/ 2656008 h 6046908"/>
              <a:gd name="connsiteX32" fmla="*/ 54286 w 4527226"/>
              <a:gd name="connsiteY32" fmla="*/ 2610288 h 6046908"/>
              <a:gd name="connsiteX33" fmla="*/ 7931 w 4527226"/>
              <a:gd name="connsiteY33" fmla="*/ 2563298 h 6046908"/>
              <a:gd name="connsiteX34" fmla="*/ 8566 w 4527226"/>
              <a:gd name="connsiteY34" fmla="*/ 2488368 h 6046908"/>
              <a:gd name="connsiteX35" fmla="*/ 92386 w 4527226"/>
              <a:gd name="connsiteY35" fmla="*/ 2335968 h 6046908"/>
              <a:gd name="connsiteX36" fmla="*/ 221926 w 4527226"/>
              <a:gd name="connsiteY36" fmla="*/ 2175948 h 6046908"/>
              <a:gd name="connsiteX37" fmla="*/ 282886 w 4527226"/>
              <a:gd name="connsiteY37" fmla="*/ 2084508 h 6046908"/>
              <a:gd name="connsiteX38" fmla="*/ 328606 w 4527226"/>
              <a:gd name="connsiteY38" fmla="*/ 1977828 h 6046908"/>
              <a:gd name="connsiteX39" fmla="*/ 359086 w 4527226"/>
              <a:gd name="connsiteY39" fmla="*/ 1871148 h 6046908"/>
              <a:gd name="connsiteX40" fmla="*/ 374326 w 4527226"/>
              <a:gd name="connsiteY40" fmla="*/ 1810188 h 6046908"/>
              <a:gd name="connsiteX41" fmla="*/ 343846 w 4527226"/>
              <a:gd name="connsiteY41" fmla="*/ 1756848 h 6046908"/>
              <a:gd name="connsiteX42" fmla="*/ 328606 w 4527226"/>
              <a:gd name="connsiteY42" fmla="*/ 1680648 h 6046908"/>
              <a:gd name="connsiteX43" fmla="*/ 412426 w 4527226"/>
              <a:gd name="connsiteY43" fmla="*/ 1474908 h 6046908"/>
              <a:gd name="connsiteX44" fmla="*/ 442906 w 4527226"/>
              <a:gd name="connsiteY44" fmla="*/ 1307268 h 6046908"/>
              <a:gd name="connsiteX45" fmla="*/ 465766 w 4527226"/>
              <a:gd name="connsiteY45" fmla="*/ 1192968 h 6046908"/>
              <a:gd name="connsiteX46" fmla="*/ 503866 w 4527226"/>
              <a:gd name="connsiteY46" fmla="*/ 1055808 h 6046908"/>
              <a:gd name="connsiteX47" fmla="*/ 557206 w 4527226"/>
              <a:gd name="connsiteY47" fmla="*/ 888168 h 6046908"/>
              <a:gd name="connsiteX48" fmla="*/ 503866 w 4527226"/>
              <a:gd name="connsiteY48" fmla="*/ 888168 h 6046908"/>
              <a:gd name="connsiteX49" fmla="*/ 412426 w 4527226"/>
              <a:gd name="connsiteY49" fmla="*/ 834828 h 6046908"/>
              <a:gd name="connsiteX50" fmla="*/ 328606 w 4527226"/>
              <a:gd name="connsiteY50" fmla="*/ 789108 h 6046908"/>
              <a:gd name="connsiteX51" fmla="*/ 260026 w 4527226"/>
              <a:gd name="connsiteY51" fmla="*/ 773868 h 6046908"/>
              <a:gd name="connsiteX52" fmla="*/ 214306 w 4527226"/>
              <a:gd name="connsiteY52" fmla="*/ 751008 h 6046908"/>
              <a:gd name="connsiteX53" fmla="*/ 260026 w 4527226"/>
              <a:gd name="connsiteY53" fmla="*/ 674808 h 6046908"/>
              <a:gd name="connsiteX54" fmla="*/ 374326 w 4527226"/>
              <a:gd name="connsiteY54" fmla="*/ 606228 h 6046908"/>
              <a:gd name="connsiteX55" fmla="*/ 557206 w 4527226"/>
              <a:gd name="connsiteY55" fmla="*/ 507168 h 6046908"/>
              <a:gd name="connsiteX56" fmla="*/ 656266 w 4527226"/>
              <a:gd name="connsiteY56" fmla="*/ 423348 h 6046908"/>
              <a:gd name="connsiteX57" fmla="*/ 892486 w 4527226"/>
              <a:gd name="connsiteY57" fmla="*/ 232848 h 6046908"/>
              <a:gd name="connsiteX58" fmla="*/ 1174426 w 4527226"/>
              <a:gd name="connsiteY58" fmla="*/ 80448 h 6046908"/>
              <a:gd name="connsiteX59" fmla="*/ 1593526 w 4527226"/>
              <a:gd name="connsiteY59" fmla="*/ 11868 h 6046908"/>
              <a:gd name="connsiteX60" fmla="*/ 1944046 w 4527226"/>
              <a:gd name="connsiteY60" fmla="*/ 4248 h 6046908"/>
              <a:gd name="connsiteX61" fmla="*/ 2172646 w 4527226"/>
              <a:gd name="connsiteY61" fmla="*/ 4248 h 6046908"/>
              <a:gd name="connsiteX62" fmla="*/ 2393626 w 4527226"/>
              <a:gd name="connsiteY62" fmla="*/ 57588 h 6046908"/>
              <a:gd name="connsiteX63" fmla="*/ 2667946 w 4527226"/>
              <a:gd name="connsiteY63" fmla="*/ 133788 h 6046908"/>
              <a:gd name="connsiteX64" fmla="*/ 2820346 w 4527226"/>
              <a:gd name="connsiteY64" fmla="*/ 202368 h 6046908"/>
              <a:gd name="connsiteX65" fmla="*/ 3102286 w 4527226"/>
              <a:gd name="connsiteY65" fmla="*/ 400488 h 6046908"/>
              <a:gd name="connsiteX66" fmla="*/ 3285166 w 4527226"/>
              <a:gd name="connsiteY66" fmla="*/ 651948 h 6046908"/>
              <a:gd name="connsiteX67" fmla="*/ 3407086 w 4527226"/>
              <a:gd name="connsiteY67" fmla="*/ 918648 h 6046908"/>
              <a:gd name="connsiteX68" fmla="*/ 3475666 w 4527226"/>
              <a:gd name="connsiteY68" fmla="*/ 1238688 h 6046908"/>
              <a:gd name="connsiteX69" fmla="*/ 3506146 w 4527226"/>
              <a:gd name="connsiteY69" fmla="*/ 1543488 h 6046908"/>
              <a:gd name="connsiteX70" fmla="*/ 3506146 w 4527226"/>
              <a:gd name="connsiteY70" fmla="*/ 1962588 h 6046908"/>
              <a:gd name="connsiteX71" fmla="*/ 3338506 w 4527226"/>
              <a:gd name="connsiteY71" fmla="*/ 2305488 h 6046908"/>
              <a:gd name="connsiteX72" fmla="*/ 3254686 w 4527226"/>
              <a:gd name="connsiteY72" fmla="*/ 2473128 h 6046908"/>
              <a:gd name="connsiteX73" fmla="*/ 3132766 w 4527226"/>
              <a:gd name="connsiteY73" fmla="*/ 2663628 h 6046908"/>
              <a:gd name="connsiteX74" fmla="*/ 3071806 w 4527226"/>
              <a:gd name="connsiteY74" fmla="*/ 2838888 h 6046908"/>
              <a:gd name="connsiteX75" fmla="*/ 3064186 w 4527226"/>
              <a:gd name="connsiteY75" fmla="*/ 2915088 h 6046908"/>
              <a:gd name="connsiteX76" fmla="*/ 3018466 w 4527226"/>
              <a:gd name="connsiteY76" fmla="*/ 3014148 h 6046908"/>
              <a:gd name="connsiteX77" fmla="*/ 2980366 w 4527226"/>
              <a:gd name="connsiteY77" fmla="*/ 3082728 h 6046908"/>
              <a:gd name="connsiteX78" fmla="*/ 2957506 w 4527226"/>
              <a:gd name="connsiteY78" fmla="*/ 3120828 h 6046908"/>
              <a:gd name="connsiteX79" fmla="*/ 2957506 w 4527226"/>
              <a:gd name="connsiteY79" fmla="*/ 3555168 h 6046908"/>
              <a:gd name="connsiteX80" fmla="*/ 3010846 w 4527226"/>
              <a:gd name="connsiteY80" fmla="*/ 3539928 h 6046908"/>
              <a:gd name="connsiteX81" fmla="*/ 3109906 w 4527226"/>
              <a:gd name="connsiteY81" fmla="*/ 3570408 h 6046908"/>
              <a:gd name="connsiteX82" fmla="*/ 3140386 w 4527226"/>
              <a:gd name="connsiteY82" fmla="*/ 3631368 h 6046908"/>
              <a:gd name="connsiteX83" fmla="*/ 3117526 w 4527226"/>
              <a:gd name="connsiteY83" fmla="*/ 3738048 h 6046908"/>
              <a:gd name="connsiteX84" fmla="*/ 3125146 w 4527226"/>
              <a:gd name="connsiteY84" fmla="*/ 4103808 h 6046908"/>
              <a:gd name="connsiteX85" fmla="*/ 3163246 w 4527226"/>
              <a:gd name="connsiteY85" fmla="*/ 4157148 h 6046908"/>
              <a:gd name="connsiteX86" fmla="*/ 3201346 w 4527226"/>
              <a:gd name="connsiteY86" fmla="*/ 4164768 h 6046908"/>
              <a:gd name="connsiteX87" fmla="*/ 3231826 w 4527226"/>
              <a:gd name="connsiteY87" fmla="*/ 4172388 h 6046908"/>
              <a:gd name="connsiteX88" fmla="*/ 3285166 w 4527226"/>
              <a:gd name="connsiteY88" fmla="*/ 4294308 h 6046908"/>
              <a:gd name="connsiteX89" fmla="*/ 3300406 w 4527226"/>
              <a:gd name="connsiteY89" fmla="*/ 4347648 h 6046908"/>
              <a:gd name="connsiteX90" fmla="*/ 3330886 w 4527226"/>
              <a:gd name="connsiteY90" fmla="*/ 4408608 h 6046908"/>
              <a:gd name="connsiteX91" fmla="*/ 3551866 w 4527226"/>
              <a:gd name="connsiteY91" fmla="*/ 4644828 h 6046908"/>
              <a:gd name="connsiteX92" fmla="*/ 3887146 w 4527226"/>
              <a:gd name="connsiteY92" fmla="*/ 5025828 h 6046908"/>
              <a:gd name="connsiteX93" fmla="*/ 4100506 w 4527226"/>
              <a:gd name="connsiteY93" fmla="*/ 5300148 h 6046908"/>
              <a:gd name="connsiteX94" fmla="*/ 4367206 w 4527226"/>
              <a:gd name="connsiteY94" fmla="*/ 5726868 h 6046908"/>
              <a:gd name="connsiteX95" fmla="*/ 4527226 w 4527226"/>
              <a:gd name="connsiteY95" fmla="*/ 6046908 h 6046908"/>
              <a:gd name="connsiteX0" fmla="*/ 717226 w 4527226"/>
              <a:gd name="connsiteY0" fmla="*/ 5063928 h 6046908"/>
              <a:gd name="connsiteX1" fmla="*/ 709606 w 4527226"/>
              <a:gd name="connsiteY1" fmla="*/ 5025828 h 6046908"/>
              <a:gd name="connsiteX2" fmla="*/ 701986 w 4527226"/>
              <a:gd name="connsiteY2" fmla="*/ 5002968 h 6046908"/>
              <a:gd name="connsiteX3" fmla="*/ 968686 w 4527226"/>
              <a:gd name="connsiteY3" fmla="*/ 4682928 h 6046908"/>
              <a:gd name="connsiteX4" fmla="*/ 961066 w 4527226"/>
              <a:gd name="connsiteY4" fmla="*/ 4644828 h 6046908"/>
              <a:gd name="connsiteX5" fmla="*/ 1342066 w 4527226"/>
              <a:gd name="connsiteY5" fmla="*/ 4172388 h 6046908"/>
              <a:gd name="connsiteX6" fmla="*/ 1258246 w 4527226"/>
              <a:gd name="connsiteY6" fmla="*/ 4012368 h 6046908"/>
              <a:gd name="connsiteX7" fmla="*/ 1204906 w 4527226"/>
              <a:gd name="connsiteY7" fmla="*/ 3928548 h 6046908"/>
              <a:gd name="connsiteX8" fmla="*/ 1174426 w 4527226"/>
              <a:gd name="connsiteY8" fmla="*/ 3768528 h 6046908"/>
              <a:gd name="connsiteX9" fmla="*/ 1151566 w 4527226"/>
              <a:gd name="connsiteY9" fmla="*/ 3699948 h 6046908"/>
              <a:gd name="connsiteX10" fmla="*/ 1143946 w 4527226"/>
              <a:gd name="connsiteY10" fmla="*/ 3669468 h 6046908"/>
              <a:gd name="connsiteX11" fmla="*/ 1067746 w 4527226"/>
              <a:gd name="connsiteY11" fmla="*/ 3661848 h 6046908"/>
              <a:gd name="connsiteX12" fmla="*/ 938206 w 4527226"/>
              <a:gd name="connsiteY12" fmla="*/ 3669468 h 6046908"/>
              <a:gd name="connsiteX13" fmla="*/ 831526 w 4527226"/>
              <a:gd name="connsiteY13" fmla="*/ 3692328 h 6046908"/>
              <a:gd name="connsiteX14" fmla="*/ 610546 w 4527226"/>
              <a:gd name="connsiteY14" fmla="*/ 3738048 h 6046908"/>
              <a:gd name="connsiteX15" fmla="*/ 389566 w 4527226"/>
              <a:gd name="connsiteY15" fmla="*/ 3638988 h 6046908"/>
              <a:gd name="connsiteX16" fmla="*/ 381946 w 4527226"/>
              <a:gd name="connsiteY16" fmla="*/ 3326568 h 6046908"/>
              <a:gd name="connsiteX17" fmla="*/ 420046 w 4527226"/>
              <a:gd name="connsiteY17" fmla="*/ 3227508 h 6046908"/>
              <a:gd name="connsiteX18" fmla="*/ 389566 w 4527226"/>
              <a:gd name="connsiteY18" fmla="*/ 3166548 h 6046908"/>
              <a:gd name="connsiteX19" fmla="*/ 351466 w 4527226"/>
              <a:gd name="connsiteY19" fmla="*/ 3105588 h 6046908"/>
              <a:gd name="connsiteX20" fmla="*/ 397186 w 4527226"/>
              <a:gd name="connsiteY20" fmla="*/ 3021768 h 6046908"/>
              <a:gd name="connsiteX21" fmla="*/ 488626 w 4527226"/>
              <a:gd name="connsiteY21" fmla="*/ 2998908 h 6046908"/>
              <a:gd name="connsiteX22" fmla="*/ 471956 w 4527226"/>
              <a:gd name="connsiteY22" fmla="*/ 2942709 h 6046908"/>
              <a:gd name="connsiteX23" fmla="*/ 435286 w 4527226"/>
              <a:gd name="connsiteY23" fmla="*/ 2930328 h 6046908"/>
              <a:gd name="connsiteX24" fmla="*/ 389566 w 4527226"/>
              <a:gd name="connsiteY24" fmla="*/ 2930328 h 6046908"/>
              <a:gd name="connsiteX25" fmla="*/ 314000 w 4527226"/>
              <a:gd name="connsiteY25" fmla="*/ 2893495 h 6046908"/>
              <a:gd name="connsiteX26" fmla="*/ 320986 w 4527226"/>
              <a:gd name="connsiteY26" fmla="*/ 2846508 h 6046908"/>
              <a:gd name="connsiteX27" fmla="*/ 328606 w 4527226"/>
              <a:gd name="connsiteY27" fmla="*/ 2793168 h 6046908"/>
              <a:gd name="connsiteX28" fmla="*/ 313366 w 4527226"/>
              <a:gd name="connsiteY28" fmla="*/ 2732208 h 6046908"/>
              <a:gd name="connsiteX29" fmla="*/ 267646 w 4527226"/>
              <a:gd name="connsiteY29" fmla="*/ 2671248 h 6046908"/>
              <a:gd name="connsiteX30" fmla="*/ 176206 w 4527226"/>
              <a:gd name="connsiteY30" fmla="*/ 2656008 h 6046908"/>
              <a:gd name="connsiteX31" fmla="*/ 54286 w 4527226"/>
              <a:gd name="connsiteY31" fmla="*/ 2610288 h 6046908"/>
              <a:gd name="connsiteX32" fmla="*/ 7931 w 4527226"/>
              <a:gd name="connsiteY32" fmla="*/ 2563298 h 6046908"/>
              <a:gd name="connsiteX33" fmla="*/ 8566 w 4527226"/>
              <a:gd name="connsiteY33" fmla="*/ 2488368 h 6046908"/>
              <a:gd name="connsiteX34" fmla="*/ 92386 w 4527226"/>
              <a:gd name="connsiteY34" fmla="*/ 2335968 h 6046908"/>
              <a:gd name="connsiteX35" fmla="*/ 221926 w 4527226"/>
              <a:gd name="connsiteY35" fmla="*/ 2175948 h 6046908"/>
              <a:gd name="connsiteX36" fmla="*/ 282886 w 4527226"/>
              <a:gd name="connsiteY36" fmla="*/ 2084508 h 6046908"/>
              <a:gd name="connsiteX37" fmla="*/ 328606 w 4527226"/>
              <a:gd name="connsiteY37" fmla="*/ 1977828 h 6046908"/>
              <a:gd name="connsiteX38" fmla="*/ 359086 w 4527226"/>
              <a:gd name="connsiteY38" fmla="*/ 1871148 h 6046908"/>
              <a:gd name="connsiteX39" fmla="*/ 374326 w 4527226"/>
              <a:gd name="connsiteY39" fmla="*/ 1810188 h 6046908"/>
              <a:gd name="connsiteX40" fmla="*/ 343846 w 4527226"/>
              <a:gd name="connsiteY40" fmla="*/ 1756848 h 6046908"/>
              <a:gd name="connsiteX41" fmla="*/ 328606 w 4527226"/>
              <a:gd name="connsiteY41" fmla="*/ 1680648 h 6046908"/>
              <a:gd name="connsiteX42" fmla="*/ 412426 w 4527226"/>
              <a:gd name="connsiteY42" fmla="*/ 1474908 h 6046908"/>
              <a:gd name="connsiteX43" fmla="*/ 442906 w 4527226"/>
              <a:gd name="connsiteY43" fmla="*/ 1307268 h 6046908"/>
              <a:gd name="connsiteX44" fmla="*/ 465766 w 4527226"/>
              <a:gd name="connsiteY44" fmla="*/ 1192968 h 6046908"/>
              <a:gd name="connsiteX45" fmla="*/ 503866 w 4527226"/>
              <a:gd name="connsiteY45" fmla="*/ 1055808 h 6046908"/>
              <a:gd name="connsiteX46" fmla="*/ 557206 w 4527226"/>
              <a:gd name="connsiteY46" fmla="*/ 888168 h 6046908"/>
              <a:gd name="connsiteX47" fmla="*/ 503866 w 4527226"/>
              <a:gd name="connsiteY47" fmla="*/ 888168 h 6046908"/>
              <a:gd name="connsiteX48" fmla="*/ 412426 w 4527226"/>
              <a:gd name="connsiteY48" fmla="*/ 834828 h 6046908"/>
              <a:gd name="connsiteX49" fmla="*/ 328606 w 4527226"/>
              <a:gd name="connsiteY49" fmla="*/ 789108 h 6046908"/>
              <a:gd name="connsiteX50" fmla="*/ 260026 w 4527226"/>
              <a:gd name="connsiteY50" fmla="*/ 773868 h 6046908"/>
              <a:gd name="connsiteX51" fmla="*/ 214306 w 4527226"/>
              <a:gd name="connsiteY51" fmla="*/ 751008 h 6046908"/>
              <a:gd name="connsiteX52" fmla="*/ 260026 w 4527226"/>
              <a:gd name="connsiteY52" fmla="*/ 674808 h 6046908"/>
              <a:gd name="connsiteX53" fmla="*/ 374326 w 4527226"/>
              <a:gd name="connsiteY53" fmla="*/ 606228 h 6046908"/>
              <a:gd name="connsiteX54" fmla="*/ 557206 w 4527226"/>
              <a:gd name="connsiteY54" fmla="*/ 507168 h 6046908"/>
              <a:gd name="connsiteX55" fmla="*/ 656266 w 4527226"/>
              <a:gd name="connsiteY55" fmla="*/ 423348 h 6046908"/>
              <a:gd name="connsiteX56" fmla="*/ 892486 w 4527226"/>
              <a:gd name="connsiteY56" fmla="*/ 232848 h 6046908"/>
              <a:gd name="connsiteX57" fmla="*/ 1174426 w 4527226"/>
              <a:gd name="connsiteY57" fmla="*/ 80448 h 6046908"/>
              <a:gd name="connsiteX58" fmla="*/ 1593526 w 4527226"/>
              <a:gd name="connsiteY58" fmla="*/ 11868 h 6046908"/>
              <a:gd name="connsiteX59" fmla="*/ 1944046 w 4527226"/>
              <a:gd name="connsiteY59" fmla="*/ 4248 h 6046908"/>
              <a:gd name="connsiteX60" fmla="*/ 2172646 w 4527226"/>
              <a:gd name="connsiteY60" fmla="*/ 4248 h 6046908"/>
              <a:gd name="connsiteX61" fmla="*/ 2393626 w 4527226"/>
              <a:gd name="connsiteY61" fmla="*/ 57588 h 6046908"/>
              <a:gd name="connsiteX62" fmla="*/ 2667946 w 4527226"/>
              <a:gd name="connsiteY62" fmla="*/ 133788 h 6046908"/>
              <a:gd name="connsiteX63" fmla="*/ 2820346 w 4527226"/>
              <a:gd name="connsiteY63" fmla="*/ 202368 h 6046908"/>
              <a:gd name="connsiteX64" fmla="*/ 3102286 w 4527226"/>
              <a:gd name="connsiteY64" fmla="*/ 400488 h 6046908"/>
              <a:gd name="connsiteX65" fmla="*/ 3285166 w 4527226"/>
              <a:gd name="connsiteY65" fmla="*/ 651948 h 6046908"/>
              <a:gd name="connsiteX66" fmla="*/ 3407086 w 4527226"/>
              <a:gd name="connsiteY66" fmla="*/ 918648 h 6046908"/>
              <a:gd name="connsiteX67" fmla="*/ 3475666 w 4527226"/>
              <a:gd name="connsiteY67" fmla="*/ 1238688 h 6046908"/>
              <a:gd name="connsiteX68" fmla="*/ 3506146 w 4527226"/>
              <a:gd name="connsiteY68" fmla="*/ 1543488 h 6046908"/>
              <a:gd name="connsiteX69" fmla="*/ 3506146 w 4527226"/>
              <a:gd name="connsiteY69" fmla="*/ 1962588 h 6046908"/>
              <a:gd name="connsiteX70" fmla="*/ 3338506 w 4527226"/>
              <a:gd name="connsiteY70" fmla="*/ 2305488 h 6046908"/>
              <a:gd name="connsiteX71" fmla="*/ 3254686 w 4527226"/>
              <a:gd name="connsiteY71" fmla="*/ 2473128 h 6046908"/>
              <a:gd name="connsiteX72" fmla="*/ 3132766 w 4527226"/>
              <a:gd name="connsiteY72" fmla="*/ 2663628 h 6046908"/>
              <a:gd name="connsiteX73" fmla="*/ 3071806 w 4527226"/>
              <a:gd name="connsiteY73" fmla="*/ 2838888 h 6046908"/>
              <a:gd name="connsiteX74" fmla="*/ 3064186 w 4527226"/>
              <a:gd name="connsiteY74" fmla="*/ 2915088 h 6046908"/>
              <a:gd name="connsiteX75" fmla="*/ 3018466 w 4527226"/>
              <a:gd name="connsiteY75" fmla="*/ 3014148 h 6046908"/>
              <a:gd name="connsiteX76" fmla="*/ 2980366 w 4527226"/>
              <a:gd name="connsiteY76" fmla="*/ 3082728 h 6046908"/>
              <a:gd name="connsiteX77" fmla="*/ 2957506 w 4527226"/>
              <a:gd name="connsiteY77" fmla="*/ 3120828 h 6046908"/>
              <a:gd name="connsiteX78" fmla="*/ 2957506 w 4527226"/>
              <a:gd name="connsiteY78" fmla="*/ 3555168 h 6046908"/>
              <a:gd name="connsiteX79" fmla="*/ 3010846 w 4527226"/>
              <a:gd name="connsiteY79" fmla="*/ 3539928 h 6046908"/>
              <a:gd name="connsiteX80" fmla="*/ 3109906 w 4527226"/>
              <a:gd name="connsiteY80" fmla="*/ 3570408 h 6046908"/>
              <a:gd name="connsiteX81" fmla="*/ 3140386 w 4527226"/>
              <a:gd name="connsiteY81" fmla="*/ 3631368 h 6046908"/>
              <a:gd name="connsiteX82" fmla="*/ 3117526 w 4527226"/>
              <a:gd name="connsiteY82" fmla="*/ 3738048 h 6046908"/>
              <a:gd name="connsiteX83" fmla="*/ 3125146 w 4527226"/>
              <a:gd name="connsiteY83" fmla="*/ 4103808 h 6046908"/>
              <a:gd name="connsiteX84" fmla="*/ 3163246 w 4527226"/>
              <a:gd name="connsiteY84" fmla="*/ 4157148 h 6046908"/>
              <a:gd name="connsiteX85" fmla="*/ 3201346 w 4527226"/>
              <a:gd name="connsiteY85" fmla="*/ 4164768 h 6046908"/>
              <a:gd name="connsiteX86" fmla="*/ 3231826 w 4527226"/>
              <a:gd name="connsiteY86" fmla="*/ 4172388 h 6046908"/>
              <a:gd name="connsiteX87" fmla="*/ 3285166 w 4527226"/>
              <a:gd name="connsiteY87" fmla="*/ 4294308 h 6046908"/>
              <a:gd name="connsiteX88" fmla="*/ 3300406 w 4527226"/>
              <a:gd name="connsiteY88" fmla="*/ 4347648 h 6046908"/>
              <a:gd name="connsiteX89" fmla="*/ 3330886 w 4527226"/>
              <a:gd name="connsiteY89" fmla="*/ 4408608 h 6046908"/>
              <a:gd name="connsiteX90" fmla="*/ 3551866 w 4527226"/>
              <a:gd name="connsiteY90" fmla="*/ 4644828 h 6046908"/>
              <a:gd name="connsiteX91" fmla="*/ 3887146 w 4527226"/>
              <a:gd name="connsiteY91" fmla="*/ 5025828 h 6046908"/>
              <a:gd name="connsiteX92" fmla="*/ 4100506 w 4527226"/>
              <a:gd name="connsiteY92" fmla="*/ 5300148 h 6046908"/>
              <a:gd name="connsiteX93" fmla="*/ 4367206 w 4527226"/>
              <a:gd name="connsiteY93" fmla="*/ 5726868 h 6046908"/>
              <a:gd name="connsiteX94" fmla="*/ 4527226 w 4527226"/>
              <a:gd name="connsiteY94" fmla="*/ 6046908 h 6046908"/>
              <a:gd name="connsiteX0" fmla="*/ 709606 w 4527226"/>
              <a:gd name="connsiteY0" fmla="*/ 5025828 h 6046908"/>
              <a:gd name="connsiteX1" fmla="*/ 701986 w 4527226"/>
              <a:gd name="connsiteY1" fmla="*/ 5002968 h 6046908"/>
              <a:gd name="connsiteX2" fmla="*/ 968686 w 4527226"/>
              <a:gd name="connsiteY2" fmla="*/ 4682928 h 6046908"/>
              <a:gd name="connsiteX3" fmla="*/ 961066 w 4527226"/>
              <a:gd name="connsiteY3" fmla="*/ 4644828 h 6046908"/>
              <a:gd name="connsiteX4" fmla="*/ 1342066 w 4527226"/>
              <a:gd name="connsiteY4" fmla="*/ 4172388 h 6046908"/>
              <a:gd name="connsiteX5" fmla="*/ 1258246 w 4527226"/>
              <a:gd name="connsiteY5" fmla="*/ 4012368 h 6046908"/>
              <a:gd name="connsiteX6" fmla="*/ 1204906 w 4527226"/>
              <a:gd name="connsiteY6" fmla="*/ 3928548 h 6046908"/>
              <a:gd name="connsiteX7" fmla="*/ 1174426 w 4527226"/>
              <a:gd name="connsiteY7" fmla="*/ 3768528 h 6046908"/>
              <a:gd name="connsiteX8" fmla="*/ 1151566 w 4527226"/>
              <a:gd name="connsiteY8" fmla="*/ 3699948 h 6046908"/>
              <a:gd name="connsiteX9" fmla="*/ 1143946 w 4527226"/>
              <a:gd name="connsiteY9" fmla="*/ 3669468 h 6046908"/>
              <a:gd name="connsiteX10" fmla="*/ 1067746 w 4527226"/>
              <a:gd name="connsiteY10" fmla="*/ 3661848 h 6046908"/>
              <a:gd name="connsiteX11" fmla="*/ 938206 w 4527226"/>
              <a:gd name="connsiteY11" fmla="*/ 3669468 h 6046908"/>
              <a:gd name="connsiteX12" fmla="*/ 831526 w 4527226"/>
              <a:gd name="connsiteY12" fmla="*/ 3692328 h 6046908"/>
              <a:gd name="connsiteX13" fmla="*/ 610546 w 4527226"/>
              <a:gd name="connsiteY13" fmla="*/ 3738048 h 6046908"/>
              <a:gd name="connsiteX14" fmla="*/ 389566 w 4527226"/>
              <a:gd name="connsiteY14" fmla="*/ 3638988 h 6046908"/>
              <a:gd name="connsiteX15" fmla="*/ 381946 w 4527226"/>
              <a:gd name="connsiteY15" fmla="*/ 3326568 h 6046908"/>
              <a:gd name="connsiteX16" fmla="*/ 420046 w 4527226"/>
              <a:gd name="connsiteY16" fmla="*/ 3227508 h 6046908"/>
              <a:gd name="connsiteX17" fmla="*/ 389566 w 4527226"/>
              <a:gd name="connsiteY17" fmla="*/ 3166548 h 6046908"/>
              <a:gd name="connsiteX18" fmla="*/ 351466 w 4527226"/>
              <a:gd name="connsiteY18" fmla="*/ 3105588 h 6046908"/>
              <a:gd name="connsiteX19" fmla="*/ 397186 w 4527226"/>
              <a:gd name="connsiteY19" fmla="*/ 3021768 h 6046908"/>
              <a:gd name="connsiteX20" fmla="*/ 488626 w 4527226"/>
              <a:gd name="connsiteY20" fmla="*/ 2998908 h 6046908"/>
              <a:gd name="connsiteX21" fmla="*/ 471956 w 4527226"/>
              <a:gd name="connsiteY21" fmla="*/ 2942709 h 6046908"/>
              <a:gd name="connsiteX22" fmla="*/ 435286 w 4527226"/>
              <a:gd name="connsiteY22" fmla="*/ 2930328 h 6046908"/>
              <a:gd name="connsiteX23" fmla="*/ 389566 w 4527226"/>
              <a:gd name="connsiteY23" fmla="*/ 2930328 h 6046908"/>
              <a:gd name="connsiteX24" fmla="*/ 314000 w 4527226"/>
              <a:gd name="connsiteY24" fmla="*/ 2893495 h 6046908"/>
              <a:gd name="connsiteX25" fmla="*/ 320986 w 4527226"/>
              <a:gd name="connsiteY25" fmla="*/ 2846508 h 6046908"/>
              <a:gd name="connsiteX26" fmla="*/ 328606 w 4527226"/>
              <a:gd name="connsiteY26" fmla="*/ 2793168 h 6046908"/>
              <a:gd name="connsiteX27" fmla="*/ 313366 w 4527226"/>
              <a:gd name="connsiteY27" fmla="*/ 2732208 h 6046908"/>
              <a:gd name="connsiteX28" fmla="*/ 267646 w 4527226"/>
              <a:gd name="connsiteY28" fmla="*/ 2671248 h 6046908"/>
              <a:gd name="connsiteX29" fmla="*/ 176206 w 4527226"/>
              <a:gd name="connsiteY29" fmla="*/ 2656008 h 6046908"/>
              <a:gd name="connsiteX30" fmla="*/ 54286 w 4527226"/>
              <a:gd name="connsiteY30" fmla="*/ 2610288 h 6046908"/>
              <a:gd name="connsiteX31" fmla="*/ 7931 w 4527226"/>
              <a:gd name="connsiteY31" fmla="*/ 2563298 h 6046908"/>
              <a:gd name="connsiteX32" fmla="*/ 8566 w 4527226"/>
              <a:gd name="connsiteY32" fmla="*/ 2488368 h 6046908"/>
              <a:gd name="connsiteX33" fmla="*/ 92386 w 4527226"/>
              <a:gd name="connsiteY33" fmla="*/ 2335968 h 6046908"/>
              <a:gd name="connsiteX34" fmla="*/ 221926 w 4527226"/>
              <a:gd name="connsiteY34" fmla="*/ 2175948 h 6046908"/>
              <a:gd name="connsiteX35" fmla="*/ 282886 w 4527226"/>
              <a:gd name="connsiteY35" fmla="*/ 2084508 h 6046908"/>
              <a:gd name="connsiteX36" fmla="*/ 328606 w 4527226"/>
              <a:gd name="connsiteY36" fmla="*/ 1977828 h 6046908"/>
              <a:gd name="connsiteX37" fmla="*/ 359086 w 4527226"/>
              <a:gd name="connsiteY37" fmla="*/ 1871148 h 6046908"/>
              <a:gd name="connsiteX38" fmla="*/ 374326 w 4527226"/>
              <a:gd name="connsiteY38" fmla="*/ 1810188 h 6046908"/>
              <a:gd name="connsiteX39" fmla="*/ 343846 w 4527226"/>
              <a:gd name="connsiteY39" fmla="*/ 1756848 h 6046908"/>
              <a:gd name="connsiteX40" fmla="*/ 328606 w 4527226"/>
              <a:gd name="connsiteY40" fmla="*/ 1680648 h 6046908"/>
              <a:gd name="connsiteX41" fmla="*/ 412426 w 4527226"/>
              <a:gd name="connsiteY41" fmla="*/ 1474908 h 6046908"/>
              <a:gd name="connsiteX42" fmla="*/ 442906 w 4527226"/>
              <a:gd name="connsiteY42" fmla="*/ 1307268 h 6046908"/>
              <a:gd name="connsiteX43" fmla="*/ 465766 w 4527226"/>
              <a:gd name="connsiteY43" fmla="*/ 1192968 h 6046908"/>
              <a:gd name="connsiteX44" fmla="*/ 503866 w 4527226"/>
              <a:gd name="connsiteY44" fmla="*/ 1055808 h 6046908"/>
              <a:gd name="connsiteX45" fmla="*/ 557206 w 4527226"/>
              <a:gd name="connsiteY45" fmla="*/ 888168 h 6046908"/>
              <a:gd name="connsiteX46" fmla="*/ 503866 w 4527226"/>
              <a:gd name="connsiteY46" fmla="*/ 888168 h 6046908"/>
              <a:gd name="connsiteX47" fmla="*/ 412426 w 4527226"/>
              <a:gd name="connsiteY47" fmla="*/ 834828 h 6046908"/>
              <a:gd name="connsiteX48" fmla="*/ 328606 w 4527226"/>
              <a:gd name="connsiteY48" fmla="*/ 789108 h 6046908"/>
              <a:gd name="connsiteX49" fmla="*/ 260026 w 4527226"/>
              <a:gd name="connsiteY49" fmla="*/ 773868 h 6046908"/>
              <a:gd name="connsiteX50" fmla="*/ 214306 w 4527226"/>
              <a:gd name="connsiteY50" fmla="*/ 751008 h 6046908"/>
              <a:gd name="connsiteX51" fmla="*/ 260026 w 4527226"/>
              <a:gd name="connsiteY51" fmla="*/ 674808 h 6046908"/>
              <a:gd name="connsiteX52" fmla="*/ 374326 w 4527226"/>
              <a:gd name="connsiteY52" fmla="*/ 606228 h 6046908"/>
              <a:gd name="connsiteX53" fmla="*/ 557206 w 4527226"/>
              <a:gd name="connsiteY53" fmla="*/ 507168 h 6046908"/>
              <a:gd name="connsiteX54" fmla="*/ 656266 w 4527226"/>
              <a:gd name="connsiteY54" fmla="*/ 423348 h 6046908"/>
              <a:gd name="connsiteX55" fmla="*/ 892486 w 4527226"/>
              <a:gd name="connsiteY55" fmla="*/ 232848 h 6046908"/>
              <a:gd name="connsiteX56" fmla="*/ 1174426 w 4527226"/>
              <a:gd name="connsiteY56" fmla="*/ 80448 h 6046908"/>
              <a:gd name="connsiteX57" fmla="*/ 1593526 w 4527226"/>
              <a:gd name="connsiteY57" fmla="*/ 11868 h 6046908"/>
              <a:gd name="connsiteX58" fmla="*/ 1944046 w 4527226"/>
              <a:gd name="connsiteY58" fmla="*/ 4248 h 6046908"/>
              <a:gd name="connsiteX59" fmla="*/ 2172646 w 4527226"/>
              <a:gd name="connsiteY59" fmla="*/ 4248 h 6046908"/>
              <a:gd name="connsiteX60" fmla="*/ 2393626 w 4527226"/>
              <a:gd name="connsiteY60" fmla="*/ 57588 h 6046908"/>
              <a:gd name="connsiteX61" fmla="*/ 2667946 w 4527226"/>
              <a:gd name="connsiteY61" fmla="*/ 133788 h 6046908"/>
              <a:gd name="connsiteX62" fmla="*/ 2820346 w 4527226"/>
              <a:gd name="connsiteY62" fmla="*/ 202368 h 6046908"/>
              <a:gd name="connsiteX63" fmla="*/ 3102286 w 4527226"/>
              <a:gd name="connsiteY63" fmla="*/ 400488 h 6046908"/>
              <a:gd name="connsiteX64" fmla="*/ 3285166 w 4527226"/>
              <a:gd name="connsiteY64" fmla="*/ 651948 h 6046908"/>
              <a:gd name="connsiteX65" fmla="*/ 3407086 w 4527226"/>
              <a:gd name="connsiteY65" fmla="*/ 918648 h 6046908"/>
              <a:gd name="connsiteX66" fmla="*/ 3475666 w 4527226"/>
              <a:gd name="connsiteY66" fmla="*/ 1238688 h 6046908"/>
              <a:gd name="connsiteX67" fmla="*/ 3506146 w 4527226"/>
              <a:gd name="connsiteY67" fmla="*/ 1543488 h 6046908"/>
              <a:gd name="connsiteX68" fmla="*/ 3506146 w 4527226"/>
              <a:gd name="connsiteY68" fmla="*/ 1962588 h 6046908"/>
              <a:gd name="connsiteX69" fmla="*/ 3338506 w 4527226"/>
              <a:gd name="connsiteY69" fmla="*/ 2305488 h 6046908"/>
              <a:gd name="connsiteX70" fmla="*/ 3254686 w 4527226"/>
              <a:gd name="connsiteY70" fmla="*/ 2473128 h 6046908"/>
              <a:gd name="connsiteX71" fmla="*/ 3132766 w 4527226"/>
              <a:gd name="connsiteY71" fmla="*/ 2663628 h 6046908"/>
              <a:gd name="connsiteX72" fmla="*/ 3071806 w 4527226"/>
              <a:gd name="connsiteY72" fmla="*/ 2838888 h 6046908"/>
              <a:gd name="connsiteX73" fmla="*/ 3064186 w 4527226"/>
              <a:gd name="connsiteY73" fmla="*/ 2915088 h 6046908"/>
              <a:gd name="connsiteX74" fmla="*/ 3018466 w 4527226"/>
              <a:gd name="connsiteY74" fmla="*/ 3014148 h 6046908"/>
              <a:gd name="connsiteX75" fmla="*/ 2980366 w 4527226"/>
              <a:gd name="connsiteY75" fmla="*/ 3082728 h 6046908"/>
              <a:gd name="connsiteX76" fmla="*/ 2957506 w 4527226"/>
              <a:gd name="connsiteY76" fmla="*/ 3120828 h 6046908"/>
              <a:gd name="connsiteX77" fmla="*/ 2957506 w 4527226"/>
              <a:gd name="connsiteY77" fmla="*/ 3555168 h 6046908"/>
              <a:gd name="connsiteX78" fmla="*/ 3010846 w 4527226"/>
              <a:gd name="connsiteY78" fmla="*/ 3539928 h 6046908"/>
              <a:gd name="connsiteX79" fmla="*/ 3109906 w 4527226"/>
              <a:gd name="connsiteY79" fmla="*/ 3570408 h 6046908"/>
              <a:gd name="connsiteX80" fmla="*/ 3140386 w 4527226"/>
              <a:gd name="connsiteY80" fmla="*/ 3631368 h 6046908"/>
              <a:gd name="connsiteX81" fmla="*/ 3117526 w 4527226"/>
              <a:gd name="connsiteY81" fmla="*/ 3738048 h 6046908"/>
              <a:gd name="connsiteX82" fmla="*/ 3125146 w 4527226"/>
              <a:gd name="connsiteY82" fmla="*/ 4103808 h 6046908"/>
              <a:gd name="connsiteX83" fmla="*/ 3163246 w 4527226"/>
              <a:gd name="connsiteY83" fmla="*/ 4157148 h 6046908"/>
              <a:gd name="connsiteX84" fmla="*/ 3201346 w 4527226"/>
              <a:gd name="connsiteY84" fmla="*/ 4164768 h 6046908"/>
              <a:gd name="connsiteX85" fmla="*/ 3231826 w 4527226"/>
              <a:gd name="connsiteY85" fmla="*/ 4172388 h 6046908"/>
              <a:gd name="connsiteX86" fmla="*/ 3285166 w 4527226"/>
              <a:gd name="connsiteY86" fmla="*/ 4294308 h 6046908"/>
              <a:gd name="connsiteX87" fmla="*/ 3300406 w 4527226"/>
              <a:gd name="connsiteY87" fmla="*/ 4347648 h 6046908"/>
              <a:gd name="connsiteX88" fmla="*/ 3330886 w 4527226"/>
              <a:gd name="connsiteY88" fmla="*/ 4408608 h 6046908"/>
              <a:gd name="connsiteX89" fmla="*/ 3551866 w 4527226"/>
              <a:gd name="connsiteY89" fmla="*/ 4644828 h 6046908"/>
              <a:gd name="connsiteX90" fmla="*/ 3887146 w 4527226"/>
              <a:gd name="connsiteY90" fmla="*/ 5025828 h 6046908"/>
              <a:gd name="connsiteX91" fmla="*/ 4100506 w 4527226"/>
              <a:gd name="connsiteY91" fmla="*/ 5300148 h 6046908"/>
              <a:gd name="connsiteX92" fmla="*/ 4367206 w 4527226"/>
              <a:gd name="connsiteY92" fmla="*/ 5726868 h 6046908"/>
              <a:gd name="connsiteX93" fmla="*/ 4527226 w 4527226"/>
              <a:gd name="connsiteY93" fmla="*/ 6046908 h 6046908"/>
              <a:gd name="connsiteX0" fmla="*/ 701986 w 4527226"/>
              <a:gd name="connsiteY0" fmla="*/ 5002968 h 6046908"/>
              <a:gd name="connsiteX1" fmla="*/ 968686 w 4527226"/>
              <a:gd name="connsiteY1" fmla="*/ 4682928 h 6046908"/>
              <a:gd name="connsiteX2" fmla="*/ 961066 w 4527226"/>
              <a:gd name="connsiteY2" fmla="*/ 4644828 h 6046908"/>
              <a:gd name="connsiteX3" fmla="*/ 1342066 w 4527226"/>
              <a:gd name="connsiteY3" fmla="*/ 4172388 h 6046908"/>
              <a:gd name="connsiteX4" fmla="*/ 1258246 w 4527226"/>
              <a:gd name="connsiteY4" fmla="*/ 4012368 h 6046908"/>
              <a:gd name="connsiteX5" fmla="*/ 1204906 w 4527226"/>
              <a:gd name="connsiteY5" fmla="*/ 3928548 h 6046908"/>
              <a:gd name="connsiteX6" fmla="*/ 1174426 w 4527226"/>
              <a:gd name="connsiteY6" fmla="*/ 3768528 h 6046908"/>
              <a:gd name="connsiteX7" fmla="*/ 1151566 w 4527226"/>
              <a:gd name="connsiteY7" fmla="*/ 3699948 h 6046908"/>
              <a:gd name="connsiteX8" fmla="*/ 1143946 w 4527226"/>
              <a:gd name="connsiteY8" fmla="*/ 3669468 h 6046908"/>
              <a:gd name="connsiteX9" fmla="*/ 1067746 w 4527226"/>
              <a:gd name="connsiteY9" fmla="*/ 3661848 h 6046908"/>
              <a:gd name="connsiteX10" fmla="*/ 938206 w 4527226"/>
              <a:gd name="connsiteY10" fmla="*/ 3669468 h 6046908"/>
              <a:gd name="connsiteX11" fmla="*/ 831526 w 4527226"/>
              <a:gd name="connsiteY11" fmla="*/ 3692328 h 6046908"/>
              <a:gd name="connsiteX12" fmla="*/ 610546 w 4527226"/>
              <a:gd name="connsiteY12" fmla="*/ 3738048 h 6046908"/>
              <a:gd name="connsiteX13" fmla="*/ 389566 w 4527226"/>
              <a:gd name="connsiteY13" fmla="*/ 3638988 h 6046908"/>
              <a:gd name="connsiteX14" fmla="*/ 381946 w 4527226"/>
              <a:gd name="connsiteY14" fmla="*/ 3326568 h 6046908"/>
              <a:gd name="connsiteX15" fmla="*/ 420046 w 4527226"/>
              <a:gd name="connsiteY15" fmla="*/ 3227508 h 6046908"/>
              <a:gd name="connsiteX16" fmla="*/ 389566 w 4527226"/>
              <a:gd name="connsiteY16" fmla="*/ 3166548 h 6046908"/>
              <a:gd name="connsiteX17" fmla="*/ 351466 w 4527226"/>
              <a:gd name="connsiteY17" fmla="*/ 3105588 h 6046908"/>
              <a:gd name="connsiteX18" fmla="*/ 397186 w 4527226"/>
              <a:gd name="connsiteY18" fmla="*/ 3021768 h 6046908"/>
              <a:gd name="connsiteX19" fmla="*/ 488626 w 4527226"/>
              <a:gd name="connsiteY19" fmla="*/ 2998908 h 6046908"/>
              <a:gd name="connsiteX20" fmla="*/ 471956 w 4527226"/>
              <a:gd name="connsiteY20" fmla="*/ 2942709 h 6046908"/>
              <a:gd name="connsiteX21" fmla="*/ 435286 w 4527226"/>
              <a:gd name="connsiteY21" fmla="*/ 2930328 h 6046908"/>
              <a:gd name="connsiteX22" fmla="*/ 389566 w 4527226"/>
              <a:gd name="connsiteY22" fmla="*/ 2930328 h 6046908"/>
              <a:gd name="connsiteX23" fmla="*/ 314000 w 4527226"/>
              <a:gd name="connsiteY23" fmla="*/ 2893495 h 6046908"/>
              <a:gd name="connsiteX24" fmla="*/ 320986 w 4527226"/>
              <a:gd name="connsiteY24" fmla="*/ 2846508 h 6046908"/>
              <a:gd name="connsiteX25" fmla="*/ 328606 w 4527226"/>
              <a:gd name="connsiteY25" fmla="*/ 2793168 h 6046908"/>
              <a:gd name="connsiteX26" fmla="*/ 313366 w 4527226"/>
              <a:gd name="connsiteY26" fmla="*/ 2732208 h 6046908"/>
              <a:gd name="connsiteX27" fmla="*/ 267646 w 4527226"/>
              <a:gd name="connsiteY27" fmla="*/ 2671248 h 6046908"/>
              <a:gd name="connsiteX28" fmla="*/ 176206 w 4527226"/>
              <a:gd name="connsiteY28" fmla="*/ 2656008 h 6046908"/>
              <a:gd name="connsiteX29" fmla="*/ 54286 w 4527226"/>
              <a:gd name="connsiteY29" fmla="*/ 2610288 h 6046908"/>
              <a:gd name="connsiteX30" fmla="*/ 7931 w 4527226"/>
              <a:gd name="connsiteY30" fmla="*/ 2563298 h 6046908"/>
              <a:gd name="connsiteX31" fmla="*/ 8566 w 4527226"/>
              <a:gd name="connsiteY31" fmla="*/ 2488368 h 6046908"/>
              <a:gd name="connsiteX32" fmla="*/ 92386 w 4527226"/>
              <a:gd name="connsiteY32" fmla="*/ 2335968 h 6046908"/>
              <a:gd name="connsiteX33" fmla="*/ 221926 w 4527226"/>
              <a:gd name="connsiteY33" fmla="*/ 2175948 h 6046908"/>
              <a:gd name="connsiteX34" fmla="*/ 282886 w 4527226"/>
              <a:gd name="connsiteY34" fmla="*/ 2084508 h 6046908"/>
              <a:gd name="connsiteX35" fmla="*/ 328606 w 4527226"/>
              <a:gd name="connsiteY35" fmla="*/ 1977828 h 6046908"/>
              <a:gd name="connsiteX36" fmla="*/ 359086 w 4527226"/>
              <a:gd name="connsiteY36" fmla="*/ 1871148 h 6046908"/>
              <a:gd name="connsiteX37" fmla="*/ 374326 w 4527226"/>
              <a:gd name="connsiteY37" fmla="*/ 1810188 h 6046908"/>
              <a:gd name="connsiteX38" fmla="*/ 343846 w 4527226"/>
              <a:gd name="connsiteY38" fmla="*/ 1756848 h 6046908"/>
              <a:gd name="connsiteX39" fmla="*/ 328606 w 4527226"/>
              <a:gd name="connsiteY39" fmla="*/ 1680648 h 6046908"/>
              <a:gd name="connsiteX40" fmla="*/ 412426 w 4527226"/>
              <a:gd name="connsiteY40" fmla="*/ 1474908 h 6046908"/>
              <a:gd name="connsiteX41" fmla="*/ 442906 w 4527226"/>
              <a:gd name="connsiteY41" fmla="*/ 1307268 h 6046908"/>
              <a:gd name="connsiteX42" fmla="*/ 465766 w 4527226"/>
              <a:gd name="connsiteY42" fmla="*/ 1192968 h 6046908"/>
              <a:gd name="connsiteX43" fmla="*/ 503866 w 4527226"/>
              <a:gd name="connsiteY43" fmla="*/ 1055808 h 6046908"/>
              <a:gd name="connsiteX44" fmla="*/ 557206 w 4527226"/>
              <a:gd name="connsiteY44" fmla="*/ 888168 h 6046908"/>
              <a:gd name="connsiteX45" fmla="*/ 503866 w 4527226"/>
              <a:gd name="connsiteY45" fmla="*/ 888168 h 6046908"/>
              <a:gd name="connsiteX46" fmla="*/ 412426 w 4527226"/>
              <a:gd name="connsiteY46" fmla="*/ 834828 h 6046908"/>
              <a:gd name="connsiteX47" fmla="*/ 328606 w 4527226"/>
              <a:gd name="connsiteY47" fmla="*/ 789108 h 6046908"/>
              <a:gd name="connsiteX48" fmla="*/ 260026 w 4527226"/>
              <a:gd name="connsiteY48" fmla="*/ 773868 h 6046908"/>
              <a:gd name="connsiteX49" fmla="*/ 214306 w 4527226"/>
              <a:gd name="connsiteY49" fmla="*/ 751008 h 6046908"/>
              <a:gd name="connsiteX50" fmla="*/ 260026 w 4527226"/>
              <a:gd name="connsiteY50" fmla="*/ 674808 h 6046908"/>
              <a:gd name="connsiteX51" fmla="*/ 374326 w 4527226"/>
              <a:gd name="connsiteY51" fmla="*/ 606228 h 6046908"/>
              <a:gd name="connsiteX52" fmla="*/ 557206 w 4527226"/>
              <a:gd name="connsiteY52" fmla="*/ 507168 h 6046908"/>
              <a:gd name="connsiteX53" fmla="*/ 656266 w 4527226"/>
              <a:gd name="connsiteY53" fmla="*/ 423348 h 6046908"/>
              <a:gd name="connsiteX54" fmla="*/ 892486 w 4527226"/>
              <a:gd name="connsiteY54" fmla="*/ 232848 h 6046908"/>
              <a:gd name="connsiteX55" fmla="*/ 1174426 w 4527226"/>
              <a:gd name="connsiteY55" fmla="*/ 80448 h 6046908"/>
              <a:gd name="connsiteX56" fmla="*/ 1593526 w 4527226"/>
              <a:gd name="connsiteY56" fmla="*/ 11868 h 6046908"/>
              <a:gd name="connsiteX57" fmla="*/ 1944046 w 4527226"/>
              <a:gd name="connsiteY57" fmla="*/ 4248 h 6046908"/>
              <a:gd name="connsiteX58" fmla="*/ 2172646 w 4527226"/>
              <a:gd name="connsiteY58" fmla="*/ 4248 h 6046908"/>
              <a:gd name="connsiteX59" fmla="*/ 2393626 w 4527226"/>
              <a:gd name="connsiteY59" fmla="*/ 57588 h 6046908"/>
              <a:gd name="connsiteX60" fmla="*/ 2667946 w 4527226"/>
              <a:gd name="connsiteY60" fmla="*/ 133788 h 6046908"/>
              <a:gd name="connsiteX61" fmla="*/ 2820346 w 4527226"/>
              <a:gd name="connsiteY61" fmla="*/ 202368 h 6046908"/>
              <a:gd name="connsiteX62" fmla="*/ 3102286 w 4527226"/>
              <a:gd name="connsiteY62" fmla="*/ 400488 h 6046908"/>
              <a:gd name="connsiteX63" fmla="*/ 3285166 w 4527226"/>
              <a:gd name="connsiteY63" fmla="*/ 651948 h 6046908"/>
              <a:gd name="connsiteX64" fmla="*/ 3407086 w 4527226"/>
              <a:gd name="connsiteY64" fmla="*/ 918648 h 6046908"/>
              <a:gd name="connsiteX65" fmla="*/ 3475666 w 4527226"/>
              <a:gd name="connsiteY65" fmla="*/ 1238688 h 6046908"/>
              <a:gd name="connsiteX66" fmla="*/ 3506146 w 4527226"/>
              <a:gd name="connsiteY66" fmla="*/ 1543488 h 6046908"/>
              <a:gd name="connsiteX67" fmla="*/ 3506146 w 4527226"/>
              <a:gd name="connsiteY67" fmla="*/ 1962588 h 6046908"/>
              <a:gd name="connsiteX68" fmla="*/ 3338506 w 4527226"/>
              <a:gd name="connsiteY68" fmla="*/ 2305488 h 6046908"/>
              <a:gd name="connsiteX69" fmla="*/ 3254686 w 4527226"/>
              <a:gd name="connsiteY69" fmla="*/ 2473128 h 6046908"/>
              <a:gd name="connsiteX70" fmla="*/ 3132766 w 4527226"/>
              <a:gd name="connsiteY70" fmla="*/ 2663628 h 6046908"/>
              <a:gd name="connsiteX71" fmla="*/ 3071806 w 4527226"/>
              <a:gd name="connsiteY71" fmla="*/ 2838888 h 6046908"/>
              <a:gd name="connsiteX72" fmla="*/ 3064186 w 4527226"/>
              <a:gd name="connsiteY72" fmla="*/ 2915088 h 6046908"/>
              <a:gd name="connsiteX73" fmla="*/ 3018466 w 4527226"/>
              <a:gd name="connsiteY73" fmla="*/ 3014148 h 6046908"/>
              <a:gd name="connsiteX74" fmla="*/ 2980366 w 4527226"/>
              <a:gd name="connsiteY74" fmla="*/ 3082728 h 6046908"/>
              <a:gd name="connsiteX75" fmla="*/ 2957506 w 4527226"/>
              <a:gd name="connsiteY75" fmla="*/ 3120828 h 6046908"/>
              <a:gd name="connsiteX76" fmla="*/ 2957506 w 4527226"/>
              <a:gd name="connsiteY76" fmla="*/ 3555168 h 6046908"/>
              <a:gd name="connsiteX77" fmla="*/ 3010846 w 4527226"/>
              <a:gd name="connsiteY77" fmla="*/ 3539928 h 6046908"/>
              <a:gd name="connsiteX78" fmla="*/ 3109906 w 4527226"/>
              <a:gd name="connsiteY78" fmla="*/ 3570408 h 6046908"/>
              <a:gd name="connsiteX79" fmla="*/ 3140386 w 4527226"/>
              <a:gd name="connsiteY79" fmla="*/ 3631368 h 6046908"/>
              <a:gd name="connsiteX80" fmla="*/ 3117526 w 4527226"/>
              <a:gd name="connsiteY80" fmla="*/ 3738048 h 6046908"/>
              <a:gd name="connsiteX81" fmla="*/ 3125146 w 4527226"/>
              <a:gd name="connsiteY81" fmla="*/ 4103808 h 6046908"/>
              <a:gd name="connsiteX82" fmla="*/ 3163246 w 4527226"/>
              <a:gd name="connsiteY82" fmla="*/ 4157148 h 6046908"/>
              <a:gd name="connsiteX83" fmla="*/ 3201346 w 4527226"/>
              <a:gd name="connsiteY83" fmla="*/ 4164768 h 6046908"/>
              <a:gd name="connsiteX84" fmla="*/ 3231826 w 4527226"/>
              <a:gd name="connsiteY84" fmla="*/ 4172388 h 6046908"/>
              <a:gd name="connsiteX85" fmla="*/ 3285166 w 4527226"/>
              <a:gd name="connsiteY85" fmla="*/ 4294308 h 6046908"/>
              <a:gd name="connsiteX86" fmla="*/ 3300406 w 4527226"/>
              <a:gd name="connsiteY86" fmla="*/ 4347648 h 6046908"/>
              <a:gd name="connsiteX87" fmla="*/ 3330886 w 4527226"/>
              <a:gd name="connsiteY87" fmla="*/ 4408608 h 6046908"/>
              <a:gd name="connsiteX88" fmla="*/ 3551866 w 4527226"/>
              <a:gd name="connsiteY88" fmla="*/ 4644828 h 6046908"/>
              <a:gd name="connsiteX89" fmla="*/ 3887146 w 4527226"/>
              <a:gd name="connsiteY89" fmla="*/ 5025828 h 6046908"/>
              <a:gd name="connsiteX90" fmla="*/ 4100506 w 4527226"/>
              <a:gd name="connsiteY90" fmla="*/ 5300148 h 6046908"/>
              <a:gd name="connsiteX91" fmla="*/ 4367206 w 4527226"/>
              <a:gd name="connsiteY91" fmla="*/ 5726868 h 6046908"/>
              <a:gd name="connsiteX92" fmla="*/ 4527226 w 4527226"/>
              <a:gd name="connsiteY92" fmla="*/ 6046908 h 6046908"/>
              <a:gd name="connsiteX0" fmla="*/ 701986 w 4527226"/>
              <a:gd name="connsiteY0" fmla="*/ 5002968 h 6046908"/>
              <a:gd name="connsiteX1" fmla="*/ 961066 w 4527226"/>
              <a:gd name="connsiteY1" fmla="*/ 4644828 h 6046908"/>
              <a:gd name="connsiteX2" fmla="*/ 1342066 w 4527226"/>
              <a:gd name="connsiteY2" fmla="*/ 4172388 h 6046908"/>
              <a:gd name="connsiteX3" fmla="*/ 1258246 w 4527226"/>
              <a:gd name="connsiteY3" fmla="*/ 4012368 h 6046908"/>
              <a:gd name="connsiteX4" fmla="*/ 1204906 w 4527226"/>
              <a:gd name="connsiteY4" fmla="*/ 3928548 h 6046908"/>
              <a:gd name="connsiteX5" fmla="*/ 1174426 w 4527226"/>
              <a:gd name="connsiteY5" fmla="*/ 3768528 h 6046908"/>
              <a:gd name="connsiteX6" fmla="*/ 1151566 w 4527226"/>
              <a:gd name="connsiteY6" fmla="*/ 3699948 h 6046908"/>
              <a:gd name="connsiteX7" fmla="*/ 1143946 w 4527226"/>
              <a:gd name="connsiteY7" fmla="*/ 3669468 h 6046908"/>
              <a:gd name="connsiteX8" fmla="*/ 1067746 w 4527226"/>
              <a:gd name="connsiteY8" fmla="*/ 3661848 h 6046908"/>
              <a:gd name="connsiteX9" fmla="*/ 938206 w 4527226"/>
              <a:gd name="connsiteY9" fmla="*/ 3669468 h 6046908"/>
              <a:gd name="connsiteX10" fmla="*/ 831526 w 4527226"/>
              <a:gd name="connsiteY10" fmla="*/ 3692328 h 6046908"/>
              <a:gd name="connsiteX11" fmla="*/ 610546 w 4527226"/>
              <a:gd name="connsiteY11" fmla="*/ 3738048 h 6046908"/>
              <a:gd name="connsiteX12" fmla="*/ 389566 w 4527226"/>
              <a:gd name="connsiteY12" fmla="*/ 3638988 h 6046908"/>
              <a:gd name="connsiteX13" fmla="*/ 381946 w 4527226"/>
              <a:gd name="connsiteY13" fmla="*/ 3326568 h 6046908"/>
              <a:gd name="connsiteX14" fmla="*/ 420046 w 4527226"/>
              <a:gd name="connsiteY14" fmla="*/ 3227508 h 6046908"/>
              <a:gd name="connsiteX15" fmla="*/ 389566 w 4527226"/>
              <a:gd name="connsiteY15" fmla="*/ 3166548 h 6046908"/>
              <a:gd name="connsiteX16" fmla="*/ 351466 w 4527226"/>
              <a:gd name="connsiteY16" fmla="*/ 3105588 h 6046908"/>
              <a:gd name="connsiteX17" fmla="*/ 397186 w 4527226"/>
              <a:gd name="connsiteY17" fmla="*/ 3021768 h 6046908"/>
              <a:gd name="connsiteX18" fmla="*/ 488626 w 4527226"/>
              <a:gd name="connsiteY18" fmla="*/ 2998908 h 6046908"/>
              <a:gd name="connsiteX19" fmla="*/ 471956 w 4527226"/>
              <a:gd name="connsiteY19" fmla="*/ 2942709 h 6046908"/>
              <a:gd name="connsiteX20" fmla="*/ 435286 w 4527226"/>
              <a:gd name="connsiteY20" fmla="*/ 2930328 h 6046908"/>
              <a:gd name="connsiteX21" fmla="*/ 389566 w 4527226"/>
              <a:gd name="connsiteY21" fmla="*/ 2930328 h 6046908"/>
              <a:gd name="connsiteX22" fmla="*/ 314000 w 4527226"/>
              <a:gd name="connsiteY22" fmla="*/ 2893495 h 6046908"/>
              <a:gd name="connsiteX23" fmla="*/ 320986 w 4527226"/>
              <a:gd name="connsiteY23" fmla="*/ 2846508 h 6046908"/>
              <a:gd name="connsiteX24" fmla="*/ 328606 w 4527226"/>
              <a:gd name="connsiteY24" fmla="*/ 2793168 h 6046908"/>
              <a:gd name="connsiteX25" fmla="*/ 313366 w 4527226"/>
              <a:gd name="connsiteY25" fmla="*/ 2732208 h 6046908"/>
              <a:gd name="connsiteX26" fmla="*/ 267646 w 4527226"/>
              <a:gd name="connsiteY26" fmla="*/ 2671248 h 6046908"/>
              <a:gd name="connsiteX27" fmla="*/ 176206 w 4527226"/>
              <a:gd name="connsiteY27" fmla="*/ 2656008 h 6046908"/>
              <a:gd name="connsiteX28" fmla="*/ 54286 w 4527226"/>
              <a:gd name="connsiteY28" fmla="*/ 2610288 h 6046908"/>
              <a:gd name="connsiteX29" fmla="*/ 7931 w 4527226"/>
              <a:gd name="connsiteY29" fmla="*/ 2563298 h 6046908"/>
              <a:gd name="connsiteX30" fmla="*/ 8566 w 4527226"/>
              <a:gd name="connsiteY30" fmla="*/ 2488368 h 6046908"/>
              <a:gd name="connsiteX31" fmla="*/ 92386 w 4527226"/>
              <a:gd name="connsiteY31" fmla="*/ 2335968 h 6046908"/>
              <a:gd name="connsiteX32" fmla="*/ 221926 w 4527226"/>
              <a:gd name="connsiteY32" fmla="*/ 2175948 h 6046908"/>
              <a:gd name="connsiteX33" fmla="*/ 282886 w 4527226"/>
              <a:gd name="connsiteY33" fmla="*/ 2084508 h 6046908"/>
              <a:gd name="connsiteX34" fmla="*/ 328606 w 4527226"/>
              <a:gd name="connsiteY34" fmla="*/ 1977828 h 6046908"/>
              <a:gd name="connsiteX35" fmla="*/ 359086 w 4527226"/>
              <a:gd name="connsiteY35" fmla="*/ 1871148 h 6046908"/>
              <a:gd name="connsiteX36" fmla="*/ 374326 w 4527226"/>
              <a:gd name="connsiteY36" fmla="*/ 1810188 h 6046908"/>
              <a:gd name="connsiteX37" fmla="*/ 343846 w 4527226"/>
              <a:gd name="connsiteY37" fmla="*/ 1756848 h 6046908"/>
              <a:gd name="connsiteX38" fmla="*/ 328606 w 4527226"/>
              <a:gd name="connsiteY38" fmla="*/ 1680648 h 6046908"/>
              <a:gd name="connsiteX39" fmla="*/ 412426 w 4527226"/>
              <a:gd name="connsiteY39" fmla="*/ 1474908 h 6046908"/>
              <a:gd name="connsiteX40" fmla="*/ 442906 w 4527226"/>
              <a:gd name="connsiteY40" fmla="*/ 1307268 h 6046908"/>
              <a:gd name="connsiteX41" fmla="*/ 465766 w 4527226"/>
              <a:gd name="connsiteY41" fmla="*/ 1192968 h 6046908"/>
              <a:gd name="connsiteX42" fmla="*/ 503866 w 4527226"/>
              <a:gd name="connsiteY42" fmla="*/ 1055808 h 6046908"/>
              <a:gd name="connsiteX43" fmla="*/ 557206 w 4527226"/>
              <a:gd name="connsiteY43" fmla="*/ 888168 h 6046908"/>
              <a:gd name="connsiteX44" fmla="*/ 503866 w 4527226"/>
              <a:gd name="connsiteY44" fmla="*/ 888168 h 6046908"/>
              <a:gd name="connsiteX45" fmla="*/ 412426 w 4527226"/>
              <a:gd name="connsiteY45" fmla="*/ 834828 h 6046908"/>
              <a:gd name="connsiteX46" fmla="*/ 328606 w 4527226"/>
              <a:gd name="connsiteY46" fmla="*/ 789108 h 6046908"/>
              <a:gd name="connsiteX47" fmla="*/ 260026 w 4527226"/>
              <a:gd name="connsiteY47" fmla="*/ 773868 h 6046908"/>
              <a:gd name="connsiteX48" fmla="*/ 214306 w 4527226"/>
              <a:gd name="connsiteY48" fmla="*/ 751008 h 6046908"/>
              <a:gd name="connsiteX49" fmla="*/ 260026 w 4527226"/>
              <a:gd name="connsiteY49" fmla="*/ 674808 h 6046908"/>
              <a:gd name="connsiteX50" fmla="*/ 374326 w 4527226"/>
              <a:gd name="connsiteY50" fmla="*/ 606228 h 6046908"/>
              <a:gd name="connsiteX51" fmla="*/ 557206 w 4527226"/>
              <a:gd name="connsiteY51" fmla="*/ 507168 h 6046908"/>
              <a:gd name="connsiteX52" fmla="*/ 656266 w 4527226"/>
              <a:gd name="connsiteY52" fmla="*/ 423348 h 6046908"/>
              <a:gd name="connsiteX53" fmla="*/ 892486 w 4527226"/>
              <a:gd name="connsiteY53" fmla="*/ 232848 h 6046908"/>
              <a:gd name="connsiteX54" fmla="*/ 1174426 w 4527226"/>
              <a:gd name="connsiteY54" fmla="*/ 80448 h 6046908"/>
              <a:gd name="connsiteX55" fmla="*/ 1593526 w 4527226"/>
              <a:gd name="connsiteY55" fmla="*/ 11868 h 6046908"/>
              <a:gd name="connsiteX56" fmla="*/ 1944046 w 4527226"/>
              <a:gd name="connsiteY56" fmla="*/ 4248 h 6046908"/>
              <a:gd name="connsiteX57" fmla="*/ 2172646 w 4527226"/>
              <a:gd name="connsiteY57" fmla="*/ 4248 h 6046908"/>
              <a:gd name="connsiteX58" fmla="*/ 2393626 w 4527226"/>
              <a:gd name="connsiteY58" fmla="*/ 57588 h 6046908"/>
              <a:gd name="connsiteX59" fmla="*/ 2667946 w 4527226"/>
              <a:gd name="connsiteY59" fmla="*/ 133788 h 6046908"/>
              <a:gd name="connsiteX60" fmla="*/ 2820346 w 4527226"/>
              <a:gd name="connsiteY60" fmla="*/ 202368 h 6046908"/>
              <a:gd name="connsiteX61" fmla="*/ 3102286 w 4527226"/>
              <a:gd name="connsiteY61" fmla="*/ 400488 h 6046908"/>
              <a:gd name="connsiteX62" fmla="*/ 3285166 w 4527226"/>
              <a:gd name="connsiteY62" fmla="*/ 651948 h 6046908"/>
              <a:gd name="connsiteX63" fmla="*/ 3407086 w 4527226"/>
              <a:gd name="connsiteY63" fmla="*/ 918648 h 6046908"/>
              <a:gd name="connsiteX64" fmla="*/ 3475666 w 4527226"/>
              <a:gd name="connsiteY64" fmla="*/ 1238688 h 6046908"/>
              <a:gd name="connsiteX65" fmla="*/ 3506146 w 4527226"/>
              <a:gd name="connsiteY65" fmla="*/ 1543488 h 6046908"/>
              <a:gd name="connsiteX66" fmla="*/ 3506146 w 4527226"/>
              <a:gd name="connsiteY66" fmla="*/ 1962588 h 6046908"/>
              <a:gd name="connsiteX67" fmla="*/ 3338506 w 4527226"/>
              <a:gd name="connsiteY67" fmla="*/ 2305488 h 6046908"/>
              <a:gd name="connsiteX68" fmla="*/ 3254686 w 4527226"/>
              <a:gd name="connsiteY68" fmla="*/ 2473128 h 6046908"/>
              <a:gd name="connsiteX69" fmla="*/ 3132766 w 4527226"/>
              <a:gd name="connsiteY69" fmla="*/ 2663628 h 6046908"/>
              <a:gd name="connsiteX70" fmla="*/ 3071806 w 4527226"/>
              <a:gd name="connsiteY70" fmla="*/ 2838888 h 6046908"/>
              <a:gd name="connsiteX71" fmla="*/ 3064186 w 4527226"/>
              <a:gd name="connsiteY71" fmla="*/ 2915088 h 6046908"/>
              <a:gd name="connsiteX72" fmla="*/ 3018466 w 4527226"/>
              <a:gd name="connsiteY72" fmla="*/ 3014148 h 6046908"/>
              <a:gd name="connsiteX73" fmla="*/ 2980366 w 4527226"/>
              <a:gd name="connsiteY73" fmla="*/ 3082728 h 6046908"/>
              <a:gd name="connsiteX74" fmla="*/ 2957506 w 4527226"/>
              <a:gd name="connsiteY74" fmla="*/ 3120828 h 6046908"/>
              <a:gd name="connsiteX75" fmla="*/ 2957506 w 4527226"/>
              <a:gd name="connsiteY75" fmla="*/ 3555168 h 6046908"/>
              <a:gd name="connsiteX76" fmla="*/ 3010846 w 4527226"/>
              <a:gd name="connsiteY76" fmla="*/ 3539928 h 6046908"/>
              <a:gd name="connsiteX77" fmla="*/ 3109906 w 4527226"/>
              <a:gd name="connsiteY77" fmla="*/ 3570408 h 6046908"/>
              <a:gd name="connsiteX78" fmla="*/ 3140386 w 4527226"/>
              <a:gd name="connsiteY78" fmla="*/ 3631368 h 6046908"/>
              <a:gd name="connsiteX79" fmla="*/ 3117526 w 4527226"/>
              <a:gd name="connsiteY79" fmla="*/ 3738048 h 6046908"/>
              <a:gd name="connsiteX80" fmla="*/ 3125146 w 4527226"/>
              <a:gd name="connsiteY80" fmla="*/ 4103808 h 6046908"/>
              <a:gd name="connsiteX81" fmla="*/ 3163246 w 4527226"/>
              <a:gd name="connsiteY81" fmla="*/ 4157148 h 6046908"/>
              <a:gd name="connsiteX82" fmla="*/ 3201346 w 4527226"/>
              <a:gd name="connsiteY82" fmla="*/ 4164768 h 6046908"/>
              <a:gd name="connsiteX83" fmla="*/ 3231826 w 4527226"/>
              <a:gd name="connsiteY83" fmla="*/ 4172388 h 6046908"/>
              <a:gd name="connsiteX84" fmla="*/ 3285166 w 4527226"/>
              <a:gd name="connsiteY84" fmla="*/ 4294308 h 6046908"/>
              <a:gd name="connsiteX85" fmla="*/ 3300406 w 4527226"/>
              <a:gd name="connsiteY85" fmla="*/ 4347648 h 6046908"/>
              <a:gd name="connsiteX86" fmla="*/ 3330886 w 4527226"/>
              <a:gd name="connsiteY86" fmla="*/ 4408608 h 6046908"/>
              <a:gd name="connsiteX87" fmla="*/ 3551866 w 4527226"/>
              <a:gd name="connsiteY87" fmla="*/ 4644828 h 6046908"/>
              <a:gd name="connsiteX88" fmla="*/ 3887146 w 4527226"/>
              <a:gd name="connsiteY88" fmla="*/ 5025828 h 6046908"/>
              <a:gd name="connsiteX89" fmla="*/ 4100506 w 4527226"/>
              <a:gd name="connsiteY89" fmla="*/ 5300148 h 6046908"/>
              <a:gd name="connsiteX90" fmla="*/ 4367206 w 4527226"/>
              <a:gd name="connsiteY90" fmla="*/ 5726868 h 6046908"/>
              <a:gd name="connsiteX91" fmla="*/ 4527226 w 4527226"/>
              <a:gd name="connsiteY91" fmla="*/ 6046908 h 6046908"/>
              <a:gd name="connsiteX0" fmla="*/ 707488 w 4527226"/>
              <a:gd name="connsiteY0" fmla="*/ 5008470 h 6046908"/>
              <a:gd name="connsiteX1" fmla="*/ 961066 w 4527226"/>
              <a:gd name="connsiteY1" fmla="*/ 4644828 h 6046908"/>
              <a:gd name="connsiteX2" fmla="*/ 1342066 w 4527226"/>
              <a:gd name="connsiteY2" fmla="*/ 4172388 h 6046908"/>
              <a:gd name="connsiteX3" fmla="*/ 1258246 w 4527226"/>
              <a:gd name="connsiteY3" fmla="*/ 4012368 h 6046908"/>
              <a:gd name="connsiteX4" fmla="*/ 1204906 w 4527226"/>
              <a:gd name="connsiteY4" fmla="*/ 3928548 h 6046908"/>
              <a:gd name="connsiteX5" fmla="*/ 1174426 w 4527226"/>
              <a:gd name="connsiteY5" fmla="*/ 3768528 h 6046908"/>
              <a:gd name="connsiteX6" fmla="*/ 1151566 w 4527226"/>
              <a:gd name="connsiteY6" fmla="*/ 3699948 h 6046908"/>
              <a:gd name="connsiteX7" fmla="*/ 1143946 w 4527226"/>
              <a:gd name="connsiteY7" fmla="*/ 3669468 h 6046908"/>
              <a:gd name="connsiteX8" fmla="*/ 1067746 w 4527226"/>
              <a:gd name="connsiteY8" fmla="*/ 3661848 h 6046908"/>
              <a:gd name="connsiteX9" fmla="*/ 938206 w 4527226"/>
              <a:gd name="connsiteY9" fmla="*/ 3669468 h 6046908"/>
              <a:gd name="connsiteX10" fmla="*/ 831526 w 4527226"/>
              <a:gd name="connsiteY10" fmla="*/ 3692328 h 6046908"/>
              <a:gd name="connsiteX11" fmla="*/ 610546 w 4527226"/>
              <a:gd name="connsiteY11" fmla="*/ 3738048 h 6046908"/>
              <a:gd name="connsiteX12" fmla="*/ 389566 w 4527226"/>
              <a:gd name="connsiteY12" fmla="*/ 3638988 h 6046908"/>
              <a:gd name="connsiteX13" fmla="*/ 381946 w 4527226"/>
              <a:gd name="connsiteY13" fmla="*/ 3326568 h 6046908"/>
              <a:gd name="connsiteX14" fmla="*/ 420046 w 4527226"/>
              <a:gd name="connsiteY14" fmla="*/ 3227508 h 6046908"/>
              <a:gd name="connsiteX15" fmla="*/ 389566 w 4527226"/>
              <a:gd name="connsiteY15" fmla="*/ 3166548 h 6046908"/>
              <a:gd name="connsiteX16" fmla="*/ 351466 w 4527226"/>
              <a:gd name="connsiteY16" fmla="*/ 3105588 h 6046908"/>
              <a:gd name="connsiteX17" fmla="*/ 397186 w 4527226"/>
              <a:gd name="connsiteY17" fmla="*/ 3021768 h 6046908"/>
              <a:gd name="connsiteX18" fmla="*/ 488626 w 4527226"/>
              <a:gd name="connsiteY18" fmla="*/ 2998908 h 6046908"/>
              <a:gd name="connsiteX19" fmla="*/ 471956 w 4527226"/>
              <a:gd name="connsiteY19" fmla="*/ 2942709 h 6046908"/>
              <a:gd name="connsiteX20" fmla="*/ 435286 w 4527226"/>
              <a:gd name="connsiteY20" fmla="*/ 2930328 h 6046908"/>
              <a:gd name="connsiteX21" fmla="*/ 389566 w 4527226"/>
              <a:gd name="connsiteY21" fmla="*/ 2930328 h 6046908"/>
              <a:gd name="connsiteX22" fmla="*/ 314000 w 4527226"/>
              <a:gd name="connsiteY22" fmla="*/ 2893495 h 6046908"/>
              <a:gd name="connsiteX23" fmla="*/ 320986 w 4527226"/>
              <a:gd name="connsiteY23" fmla="*/ 2846508 h 6046908"/>
              <a:gd name="connsiteX24" fmla="*/ 328606 w 4527226"/>
              <a:gd name="connsiteY24" fmla="*/ 2793168 h 6046908"/>
              <a:gd name="connsiteX25" fmla="*/ 313366 w 4527226"/>
              <a:gd name="connsiteY25" fmla="*/ 2732208 h 6046908"/>
              <a:gd name="connsiteX26" fmla="*/ 267646 w 4527226"/>
              <a:gd name="connsiteY26" fmla="*/ 2671248 h 6046908"/>
              <a:gd name="connsiteX27" fmla="*/ 176206 w 4527226"/>
              <a:gd name="connsiteY27" fmla="*/ 2656008 h 6046908"/>
              <a:gd name="connsiteX28" fmla="*/ 54286 w 4527226"/>
              <a:gd name="connsiteY28" fmla="*/ 2610288 h 6046908"/>
              <a:gd name="connsiteX29" fmla="*/ 7931 w 4527226"/>
              <a:gd name="connsiteY29" fmla="*/ 2563298 h 6046908"/>
              <a:gd name="connsiteX30" fmla="*/ 8566 w 4527226"/>
              <a:gd name="connsiteY30" fmla="*/ 2488368 h 6046908"/>
              <a:gd name="connsiteX31" fmla="*/ 92386 w 4527226"/>
              <a:gd name="connsiteY31" fmla="*/ 2335968 h 6046908"/>
              <a:gd name="connsiteX32" fmla="*/ 221926 w 4527226"/>
              <a:gd name="connsiteY32" fmla="*/ 2175948 h 6046908"/>
              <a:gd name="connsiteX33" fmla="*/ 282886 w 4527226"/>
              <a:gd name="connsiteY33" fmla="*/ 2084508 h 6046908"/>
              <a:gd name="connsiteX34" fmla="*/ 328606 w 4527226"/>
              <a:gd name="connsiteY34" fmla="*/ 1977828 h 6046908"/>
              <a:gd name="connsiteX35" fmla="*/ 359086 w 4527226"/>
              <a:gd name="connsiteY35" fmla="*/ 1871148 h 6046908"/>
              <a:gd name="connsiteX36" fmla="*/ 374326 w 4527226"/>
              <a:gd name="connsiteY36" fmla="*/ 1810188 h 6046908"/>
              <a:gd name="connsiteX37" fmla="*/ 343846 w 4527226"/>
              <a:gd name="connsiteY37" fmla="*/ 1756848 h 6046908"/>
              <a:gd name="connsiteX38" fmla="*/ 328606 w 4527226"/>
              <a:gd name="connsiteY38" fmla="*/ 1680648 h 6046908"/>
              <a:gd name="connsiteX39" fmla="*/ 412426 w 4527226"/>
              <a:gd name="connsiteY39" fmla="*/ 1474908 h 6046908"/>
              <a:gd name="connsiteX40" fmla="*/ 442906 w 4527226"/>
              <a:gd name="connsiteY40" fmla="*/ 1307268 h 6046908"/>
              <a:gd name="connsiteX41" fmla="*/ 465766 w 4527226"/>
              <a:gd name="connsiteY41" fmla="*/ 1192968 h 6046908"/>
              <a:gd name="connsiteX42" fmla="*/ 503866 w 4527226"/>
              <a:gd name="connsiteY42" fmla="*/ 1055808 h 6046908"/>
              <a:gd name="connsiteX43" fmla="*/ 557206 w 4527226"/>
              <a:gd name="connsiteY43" fmla="*/ 888168 h 6046908"/>
              <a:gd name="connsiteX44" fmla="*/ 503866 w 4527226"/>
              <a:gd name="connsiteY44" fmla="*/ 888168 h 6046908"/>
              <a:gd name="connsiteX45" fmla="*/ 412426 w 4527226"/>
              <a:gd name="connsiteY45" fmla="*/ 834828 h 6046908"/>
              <a:gd name="connsiteX46" fmla="*/ 328606 w 4527226"/>
              <a:gd name="connsiteY46" fmla="*/ 789108 h 6046908"/>
              <a:gd name="connsiteX47" fmla="*/ 260026 w 4527226"/>
              <a:gd name="connsiteY47" fmla="*/ 773868 h 6046908"/>
              <a:gd name="connsiteX48" fmla="*/ 214306 w 4527226"/>
              <a:gd name="connsiteY48" fmla="*/ 751008 h 6046908"/>
              <a:gd name="connsiteX49" fmla="*/ 260026 w 4527226"/>
              <a:gd name="connsiteY49" fmla="*/ 674808 h 6046908"/>
              <a:gd name="connsiteX50" fmla="*/ 374326 w 4527226"/>
              <a:gd name="connsiteY50" fmla="*/ 606228 h 6046908"/>
              <a:gd name="connsiteX51" fmla="*/ 557206 w 4527226"/>
              <a:gd name="connsiteY51" fmla="*/ 507168 h 6046908"/>
              <a:gd name="connsiteX52" fmla="*/ 656266 w 4527226"/>
              <a:gd name="connsiteY52" fmla="*/ 423348 h 6046908"/>
              <a:gd name="connsiteX53" fmla="*/ 892486 w 4527226"/>
              <a:gd name="connsiteY53" fmla="*/ 232848 h 6046908"/>
              <a:gd name="connsiteX54" fmla="*/ 1174426 w 4527226"/>
              <a:gd name="connsiteY54" fmla="*/ 80448 h 6046908"/>
              <a:gd name="connsiteX55" fmla="*/ 1593526 w 4527226"/>
              <a:gd name="connsiteY55" fmla="*/ 11868 h 6046908"/>
              <a:gd name="connsiteX56" fmla="*/ 1944046 w 4527226"/>
              <a:gd name="connsiteY56" fmla="*/ 4248 h 6046908"/>
              <a:gd name="connsiteX57" fmla="*/ 2172646 w 4527226"/>
              <a:gd name="connsiteY57" fmla="*/ 4248 h 6046908"/>
              <a:gd name="connsiteX58" fmla="*/ 2393626 w 4527226"/>
              <a:gd name="connsiteY58" fmla="*/ 57588 h 6046908"/>
              <a:gd name="connsiteX59" fmla="*/ 2667946 w 4527226"/>
              <a:gd name="connsiteY59" fmla="*/ 133788 h 6046908"/>
              <a:gd name="connsiteX60" fmla="*/ 2820346 w 4527226"/>
              <a:gd name="connsiteY60" fmla="*/ 202368 h 6046908"/>
              <a:gd name="connsiteX61" fmla="*/ 3102286 w 4527226"/>
              <a:gd name="connsiteY61" fmla="*/ 400488 h 6046908"/>
              <a:gd name="connsiteX62" fmla="*/ 3285166 w 4527226"/>
              <a:gd name="connsiteY62" fmla="*/ 651948 h 6046908"/>
              <a:gd name="connsiteX63" fmla="*/ 3407086 w 4527226"/>
              <a:gd name="connsiteY63" fmla="*/ 918648 h 6046908"/>
              <a:gd name="connsiteX64" fmla="*/ 3475666 w 4527226"/>
              <a:gd name="connsiteY64" fmla="*/ 1238688 h 6046908"/>
              <a:gd name="connsiteX65" fmla="*/ 3506146 w 4527226"/>
              <a:gd name="connsiteY65" fmla="*/ 1543488 h 6046908"/>
              <a:gd name="connsiteX66" fmla="*/ 3506146 w 4527226"/>
              <a:gd name="connsiteY66" fmla="*/ 1962588 h 6046908"/>
              <a:gd name="connsiteX67" fmla="*/ 3338506 w 4527226"/>
              <a:gd name="connsiteY67" fmla="*/ 2305488 h 6046908"/>
              <a:gd name="connsiteX68" fmla="*/ 3254686 w 4527226"/>
              <a:gd name="connsiteY68" fmla="*/ 2473128 h 6046908"/>
              <a:gd name="connsiteX69" fmla="*/ 3132766 w 4527226"/>
              <a:gd name="connsiteY69" fmla="*/ 2663628 h 6046908"/>
              <a:gd name="connsiteX70" fmla="*/ 3071806 w 4527226"/>
              <a:gd name="connsiteY70" fmla="*/ 2838888 h 6046908"/>
              <a:gd name="connsiteX71" fmla="*/ 3064186 w 4527226"/>
              <a:gd name="connsiteY71" fmla="*/ 2915088 h 6046908"/>
              <a:gd name="connsiteX72" fmla="*/ 3018466 w 4527226"/>
              <a:gd name="connsiteY72" fmla="*/ 3014148 h 6046908"/>
              <a:gd name="connsiteX73" fmla="*/ 2980366 w 4527226"/>
              <a:gd name="connsiteY73" fmla="*/ 3082728 h 6046908"/>
              <a:gd name="connsiteX74" fmla="*/ 2957506 w 4527226"/>
              <a:gd name="connsiteY74" fmla="*/ 3120828 h 6046908"/>
              <a:gd name="connsiteX75" fmla="*/ 2957506 w 4527226"/>
              <a:gd name="connsiteY75" fmla="*/ 3555168 h 6046908"/>
              <a:gd name="connsiteX76" fmla="*/ 3010846 w 4527226"/>
              <a:gd name="connsiteY76" fmla="*/ 3539928 h 6046908"/>
              <a:gd name="connsiteX77" fmla="*/ 3109906 w 4527226"/>
              <a:gd name="connsiteY77" fmla="*/ 3570408 h 6046908"/>
              <a:gd name="connsiteX78" fmla="*/ 3140386 w 4527226"/>
              <a:gd name="connsiteY78" fmla="*/ 3631368 h 6046908"/>
              <a:gd name="connsiteX79" fmla="*/ 3117526 w 4527226"/>
              <a:gd name="connsiteY79" fmla="*/ 3738048 h 6046908"/>
              <a:gd name="connsiteX80" fmla="*/ 3125146 w 4527226"/>
              <a:gd name="connsiteY80" fmla="*/ 4103808 h 6046908"/>
              <a:gd name="connsiteX81" fmla="*/ 3163246 w 4527226"/>
              <a:gd name="connsiteY81" fmla="*/ 4157148 h 6046908"/>
              <a:gd name="connsiteX82" fmla="*/ 3201346 w 4527226"/>
              <a:gd name="connsiteY82" fmla="*/ 4164768 h 6046908"/>
              <a:gd name="connsiteX83" fmla="*/ 3231826 w 4527226"/>
              <a:gd name="connsiteY83" fmla="*/ 4172388 h 6046908"/>
              <a:gd name="connsiteX84" fmla="*/ 3285166 w 4527226"/>
              <a:gd name="connsiteY84" fmla="*/ 4294308 h 6046908"/>
              <a:gd name="connsiteX85" fmla="*/ 3300406 w 4527226"/>
              <a:gd name="connsiteY85" fmla="*/ 4347648 h 6046908"/>
              <a:gd name="connsiteX86" fmla="*/ 3330886 w 4527226"/>
              <a:gd name="connsiteY86" fmla="*/ 4408608 h 6046908"/>
              <a:gd name="connsiteX87" fmla="*/ 3551866 w 4527226"/>
              <a:gd name="connsiteY87" fmla="*/ 4644828 h 6046908"/>
              <a:gd name="connsiteX88" fmla="*/ 3887146 w 4527226"/>
              <a:gd name="connsiteY88" fmla="*/ 5025828 h 6046908"/>
              <a:gd name="connsiteX89" fmla="*/ 4100506 w 4527226"/>
              <a:gd name="connsiteY89" fmla="*/ 5300148 h 6046908"/>
              <a:gd name="connsiteX90" fmla="*/ 4367206 w 4527226"/>
              <a:gd name="connsiteY90" fmla="*/ 5726868 h 6046908"/>
              <a:gd name="connsiteX91" fmla="*/ 4527226 w 4527226"/>
              <a:gd name="connsiteY91" fmla="*/ 6046908 h 6046908"/>
              <a:gd name="connsiteX0" fmla="*/ 707488 w 4367206"/>
              <a:gd name="connsiteY0" fmla="*/ 5008470 h 5726868"/>
              <a:gd name="connsiteX1" fmla="*/ 961066 w 4367206"/>
              <a:gd name="connsiteY1" fmla="*/ 4644828 h 5726868"/>
              <a:gd name="connsiteX2" fmla="*/ 1342066 w 4367206"/>
              <a:gd name="connsiteY2" fmla="*/ 4172388 h 5726868"/>
              <a:gd name="connsiteX3" fmla="*/ 1258246 w 4367206"/>
              <a:gd name="connsiteY3" fmla="*/ 4012368 h 5726868"/>
              <a:gd name="connsiteX4" fmla="*/ 1204906 w 4367206"/>
              <a:gd name="connsiteY4" fmla="*/ 3928548 h 5726868"/>
              <a:gd name="connsiteX5" fmla="*/ 1174426 w 4367206"/>
              <a:gd name="connsiteY5" fmla="*/ 3768528 h 5726868"/>
              <a:gd name="connsiteX6" fmla="*/ 1151566 w 4367206"/>
              <a:gd name="connsiteY6" fmla="*/ 3699948 h 5726868"/>
              <a:gd name="connsiteX7" fmla="*/ 1143946 w 4367206"/>
              <a:gd name="connsiteY7" fmla="*/ 3669468 h 5726868"/>
              <a:gd name="connsiteX8" fmla="*/ 1067746 w 4367206"/>
              <a:gd name="connsiteY8" fmla="*/ 3661848 h 5726868"/>
              <a:gd name="connsiteX9" fmla="*/ 938206 w 4367206"/>
              <a:gd name="connsiteY9" fmla="*/ 3669468 h 5726868"/>
              <a:gd name="connsiteX10" fmla="*/ 831526 w 4367206"/>
              <a:gd name="connsiteY10" fmla="*/ 3692328 h 5726868"/>
              <a:gd name="connsiteX11" fmla="*/ 610546 w 4367206"/>
              <a:gd name="connsiteY11" fmla="*/ 3738048 h 5726868"/>
              <a:gd name="connsiteX12" fmla="*/ 389566 w 4367206"/>
              <a:gd name="connsiteY12" fmla="*/ 3638988 h 5726868"/>
              <a:gd name="connsiteX13" fmla="*/ 381946 w 4367206"/>
              <a:gd name="connsiteY13" fmla="*/ 3326568 h 5726868"/>
              <a:gd name="connsiteX14" fmla="*/ 420046 w 4367206"/>
              <a:gd name="connsiteY14" fmla="*/ 3227508 h 5726868"/>
              <a:gd name="connsiteX15" fmla="*/ 389566 w 4367206"/>
              <a:gd name="connsiteY15" fmla="*/ 3166548 h 5726868"/>
              <a:gd name="connsiteX16" fmla="*/ 351466 w 4367206"/>
              <a:gd name="connsiteY16" fmla="*/ 3105588 h 5726868"/>
              <a:gd name="connsiteX17" fmla="*/ 397186 w 4367206"/>
              <a:gd name="connsiteY17" fmla="*/ 3021768 h 5726868"/>
              <a:gd name="connsiteX18" fmla="*/ 488626 w 4367206"/>
              <a:gd name="connsiteY18" fmla="*/ 2998908 h 5726868"/>
              <a:gd name="connsiteX19" fmla="*/ 471956 w 4367206"/>
              <a:gd name="connsiteY19" fmla="*/ 2942709 h 5726868"/>
              <a:gd name="connsiteX20" fmla="*/ 435286 w 4367206"/>
              <a:gd name="connsiteY20" fmla="*/ 2930328 h 5726868"/>
              <a:gd name="connsiteX21" fmla="*/ 389566 w 4367206"/>
              <a:gd name="connsiteY21" fmla="*/ 2930328 h 5726868"/>
              <a:gd name="connsiteX22" fmla="*/ 314000 w 4367206"/>
              <a:gd name="connsiteY22" fmla="*/ 2893495 h 5726868"/>
              <a:gd name="connsiteX23" fmla="*/ 320986 w 4367206"/>
              <a:gd name="connsiteY23" fmla="*/ 2846508 h 5726868"/>
              <a:gd name="connsiteX24" fmla="*/ 328606 w 4367206"/>
              <a:gd name="connsiteY24" fmla="*/ 2793168 h 5726868"/>
              <a:gd name="connsiteX25" fmla="*/ 313366 w 4367206"/>
              <a:gd name="connsiteY25" fmla="*/ 2732208 h 5726868"/>
              <a:gd name="connsiteX26" fmla="*/ 267646 w 4367206"/>
              <a:gd name="connsiteY26" fmla="*/ 2671248 h 5726868"/>
              <a:gd name="connsiteX27" fmla="*/ 176206 w 4367206"/>
              <a:gd name="connsiteY27" fmla="*/ 2656008 h 5726868"/>
              <a:gd name="connsiteX28" fmla="*/ 54286 w 4367206"/>
              <a:gd name="connsiteY28" fmla="*/ 2610288 h 5726868"/>
              <a:gd name="connsiteX29" fmla="*/ 7931 w 4367206"/>
              <a:gd name="connsiteY29" fmla="*/ 2563298 h 5726868"/>
              <a:gd name="connsiteX30" fmla="*/ 8566 w 4367206"/>
              <a:gd name="connsiteY30" fmla="*/ 2488368 h 5726868"/>
              <a:gd name="connsiteX31" fmla="*/ 92386 w 4367206"/>
              <a:gd name="connsiteY31" fmla="*/ 2335968 h 5726868"/>
              <a:gd name="connsiteX32" fmla="*/ 221926 w 4367206"/>
              <a:gd name="connsiteY32" fmla="*/ 2175948 h 5726868"/>
              <a:gd name="connsiteX33" fmla="*/ 282886 w 4367206"/>
              <a:gd name="connsiteY33" fmla="*/ 2084508 h 5726868"/>
              <a:gd name="connsiteX34" fmla="*/ 328606 w 4367206"/>
              <a:gd name="connsiteY34" fmla="*/ 1977828 h 5726868"/>
              <a:gd name="connsiteX35" fmla="*/ 359086 w 4367206"/>
              <a:gd name="connsiteY35" fmla="*/ 1871148 h 5726868"/>
              <a:gd name="connsiteX36" fmla="*/ 374326 w 4367206"/>
              <a:gd name="connsiteY36" fmla="*/ 1810188 h 5726868"/>
              <a:gd name="connsiteX37" fmla="*/ 343846 w 4367206"/>
              <a:gd name="connsiteY37" fmla="*/ 1756848 h 5726868"/>
              <a:gd name="connsiteX38" fmla="*/ 328606 w 4367206"/>
              <a:gd name="connsiteY38" fmla="*/ 1680648 h 5726868"/>
              <a:gd name="connsiteX39" fmla="*/ 412426 w 4367206"/>
              <a:gd name="connsiteY39" fmla="*/ 1474908 h 5726868"/>
              <a:gd name="connsiteX40" fmla="*/ 442906 w 4367206"/>
              <a:gd name="connsiteY40" fmla="*/ 1307268 h 5726868"/>
              <a:gd name="connsiteX41" fmla="*/ 465766 w 4367206"/>
              <a:gd name="connsiteY41" fmla="*/ 1192968 h 5726868"/>
              <a:gd name="connsiteX42" fmla="*/ 503866 w 4367206"/>
              <a:gd name="connsiteY42" fmla="*/ 1055808 h 5726868"/>
              <a:gd name="connsiteX43" fmla="*/ 557206 w 4367206"/>
              <a:gd name="connsiteY43" fmla="*/ 888168 h 5726868"/>
              <a:gd name="connsiteX44" fmla="*/ 503866 w 4367206"/>
              <a:gd name="connsiteY44" fmla="*/ 888168 h 5726868"/>
              <a:gd name="connsiteX45" fmla="*/ 412426 w 4367206"/>
              <a:gd name="connsiteY45" fmla="*/ 834828 h 5726868"/>
              <a:gd name="connsiteX46" fmla="*/ 328606 w 4367206"/>
              <a:gd name="connsiteY46" fmla="*/ 789108 h 5726868"/>
              <a:gd name="connsiteX47" fmla="*/ 260026 w 4367206"/>
              <a:gd name="connsiteY47" fmla="*/ 773868 h 5726868"/>
              <a:gd name="connsiteX48" fmla="*/ 214306 w 4367206"/>
              <a:gd name="connsiteY48" fmla="*/ 751008 h 5726868"/>
              <a:gd name="connsiteX49" fmla="*/ 260026 w 4367206"/>
              <a:gd name="connsiteY49" fmla="*/ 674808 h 5726868"/>
              <a:gd name="connsiteX50" fmla="*/ 374326 w 4367206"/>
              <a:gd name="connsiteY50" fmla="*/ 606228 h 5726868"/>
              <a:gd name="connsiteX51" fmla="*/ 557206 w 4367206"/>
              <a:gd name="connsiteY51" fmla="*/ 507168 h 5726868"/>
              <a:gd name="connsiteX52" fmla="*/ 656266 w 4367206"/>
              <a:gd name="connsiteY52" fmla="*/ 423348 h 5726868"/>
              <a:gd name="connsiteX53" fmla="*/ 892486 w 4367206"/>
              <a:gd name="connsiteY53" fmla="*/ 232848 h 5726868"/>
              <a:gd name="connsiteX54" fmla="*/ 1174426 w 4367206"/>
              <a:gd name="connsiteY54" fmla="*/ 80448 h 5726868"/>
              <a:gd name="connsiteX55" fmla="*/ 1593526 w 4367206"/>
              <a:gd name="connsiteY55" fmla="*/ 11868 h 5726868"/>
              <a:gd name="connsiteX56" fmla="*/ 1944046 w 4367206"/>
              <a:gd name="connsiteY56" fmla="*/ 4248 h 5726868"/>
              <a:gd name="connsiteX57" fmla="*/ 2172646 w 4367206"/>
              <a:gd name="connsiteY57" fmla="*/ 4248 h 5726868"/>
              <a:gd name="connsiteX58" fmla="*/ 2393626 w 4367206"/>
              <a:gd name="connsiteY58" fmla="*/ 57588 h 5726868"/>
              <a:gd name="connsiteX59" fmla="*/ 2667946 w 4367206"/>
              <a:gd name="connsiteY59" fmla="*/ 133788 h 5726868"/>
              <a:gd name="connsiteX60" fmla="*/ 2820346 w 4367206"/>
              <a:gd name="connsiteY60" fmla="*/ 202368 h 5726868"/>
              <a:gd name="connsiteX61" fmla="*/ 3102286 w 4367206"/>
              <a:gd name="connsiteY61" fmla="*/ 400488 h 5726868"/>
              <a:gd name="connsiteX62" fmla="*/ 3285166 w 4367206"/>
              <a:gd name="connsiteY62" fmla="*/ 651948 h 5726868"/>
              <a:gd name="connsiteX63" fmla="*/ 3407086 w 4367206"/>
              <a:gd name="connsiteY63" fmla="*/ 918648 h 5726868"/>
              <a:gd name="connsiteX64" fmla="*/ 3475666 w 4367206"/>
              <a:gd name="connsiteY64" fmla="*/ 1238688 h 5726868"/>
              <a:gd name="connsiteX65" fmla="*/ 3506146 w 4367206"/>
              <a:gd name="connsiteY65" fmla="*/ 1543488 h 5726868"/>
              <a:gd name="connsiteX66" fmla="*/ 3506146 w 4367206"/>
              <a:gd name="connsiteY66" fmla="*/ 1962588 h 5726868"/>
              <a:gd name="connsiteX67" fmla="*/ 3338506 w 4367206"/>
              <a:gd name="connsiteY67" fmla="*/ 2305488 h 5726868"/>
              <a:gd name="connsiteX68" fmla="*/ 3254686 w 4367206"/>
              <a:gd name="connsiteY68" fmla="*/ 2473128 h 5726868"/>
              <a:gd name="connsiteX69" fmla="*/ 3132766 w 4367206"/>
              <a:gd name="connsiteY69" fmla="*/ 2663628 h 5726868"/>
              <a:gd name="connsiteX70" fmla="*/ 3071806 w 4367206"/>
              <a:gd name="connsiteY70" fmla="*/ 2838888 h 5726868"/>
              <a:gd name="connsiteX71" fmla="*/ 3064186 w 4367206"/>
              <a:gd name="connsiteY71" fmla="*/ 2915088 h 5726868"/>
              <a:gd name="connsiteX72" fmla="*/ 3018466 w 4367206"/>
              <a:gd name="connsiteY72" fmla="*/ 3014148 h 5726868"/>
              <a:gd name="connsiteX73" fmla="*/ 2980366 w 4367206"/>
              <a:gd name="connsiteY73" fmla="*/ 3082728 h 5726868"/>
              <a:gd name="connsiteX74" fmla="*/ 2957506 w 4367206"/>
              <a:gd name="connsiteY74" fmla="*/ 3120828 h 5726868"/>
              <a:gd name="connsiteX75" fmla="*/ 2957506 w 4367206"/>
              <a:gd name="connsiteY75" fmla="*/ 3555168 h 5726868"/>
              <a:gd name="connsiteX76" fmla="*/ 3010846 w 4367206"/>
              <a:gd name="connsiteY76" fmla="*/ 3539928 h 5726868"/>
              <a:gd name="connsiteX77" fmla="*/ 3109906 w 4367206"/>
              <a:gd name="connsiteY77" fmla="*/ 3570408 h 5726868"/>
              <a:gd name="connsiteX78" fmla="*/ 3140386 w 4367206"/>
              <a:gd name="connsiteY78" fmla="*/ 3631368 h 5726868"/>
              <a:gd name="connsiteX79" fmla="*/ 3117526 w 4367206"/>
              <a:gd name="connsiteY79" fmla="*/ 3738048 h 5726868"/>
              <a:gd name="connsiteX80" fmla="*/ 3125146 w 4367206"/>
              <a:gd name="connsiteY80" fmla="*/ 4103808 h 5726868"/>
              <a:gd name="connsiteX81" fmla="*/ 3163246 w 4367206"/>
              <a:gd name="connsiteY81" fmla="*/ 4157148 h 5726868"/>
              <a:gd name="connsiteX82" fmla="*/ 3201346 w 4367206"/>
              <a:gd name="connsiteY82" fmla="*/ 4164768 h 5726868"/>
              <a:gd name="connsiteX83" fmla="*/ 3231826 w 4367206"/>
              <a:gd name="connsiteY83" fmla="*/ 4172388 h 5726868"/>
              <a:gd name="connsiteX84" fmla="*/ 3285166 w 4367206"/>
              <a:gd name="connsiteY84" fmla="*/ 4294308 h 5726868"/>
              <a:gd name="connsiteX85" fmla="*/ 3300406 w 4367206"/>
              <a:gd name="connsiteY85" fmla="*/ 4347648 h 5726868"/>
              <a:gd name="connsiteX86" fmla="*/ 3330886 w 4367206"/>
              <a:gd name="connsiteY86" fmla="*/ 4408608 h 5726868"/>
              <a:gd name="connsiteX87" fmla="*/ 3551866 w 4367206"/>
              <a:gd name="connsiteY87" fmla="*/ 4644828 h 5726868"/>
              <a:gd name="connsiteX88" fmla="*/ 3887146 w 4367206"/>
              <a:gd name="connsiteY88" fmla="*/ 5025828 h 5726868"/>
              <a:gd name="connsiteX89" fmla="*/ 4100506 w 4367206"/>
              <a:gd name="connsiteY89" fmla="*/ 5300148 h 5726868"/>
              <a:gd name="connsiteX90" fmla="*/ 4367206 w 4367206"/>
              <a:gd name="connsiteY90" fmla="*/ 5726868 h 5726868"/>
              <a:gd name="connsiteX0" fmla="*/ 707488 w 4100506"/>
              <a:gd name="connsiteY0" fmla="*/ 5008470 h 5300148"/>
              <a:gd name="connsiteX1" fmla="*/ 961066 w 4100506"/>
              <a:gd name="connsiteY1" fmla="*/ 4644828 h 5300148"/>
              <a:gd name="connsiteX2" fmla="*/ 1342066 w 4100506"/>
              <a:gd name="connsiteY2" fmla="*/ 4172388 h 5300148"/>
              <a:gd name="connsiteX3" fmla="*/ 1258246 w 4100506"/>
              <a:gd name="connsiteY3" fmla="*/ 4012368 h 5300148"/>
              <a:gd name="connsiteX4" fmla="*/ 1204906 w 4100506"/>
              <a:gd name="connsiteY4" fmla="*/ 3928548 h 5300148"/>
              <a:gd name="connsiteX5" fmla="*/ 1174426 w 4100506"/>
              <a:gd name="connsiteY5" fmla="*/ 3768528 h 5300148"/>
              <a:gd name="connsiteX6" fmla="*/ 1151566 w 4100506"/>
              <a:gd name="connsiteY6" fmla="*/ 3699948 h 5300148"/>
              <a:gd name="connsiteX7" fmla="*/ 1143946 w 4100506"/>
              <a:gd name="connsiteY7" fmla="*/ 3669468 h 5300148"/>
              <a:gd name="connsiteX8" fmla="*/ 1067746 w 4100506"/>
              <a:gd name="connsiteY8" fmla="*/ 3661848 h 5300148"/>
              <a:gd name="connsiteX9" fmla="*/ 938206 w 4100506"/>
              <a:gd name="connsiteY9" fmla="*/ 3669468 h 5300148"/>
              <a:gd name="connsiteX10" fmla="*/ 831526 w 4100506"/>
              <a:gd name="connsiteY10" fmla="*/ 3692328 h 5300148"/>
              <a:gd name="connsiteX11" fmla="*/ 610546 w 4100506"/>
              <a:gd name="connsiteY11" fmla="*/ 3738048 h 5300148"/>
              <a:gd name="connsiteX12" fmla="*/ 389566 w 4100506"/>
              <a:gd name="connsiteY12" fmla="*/ 3638988 h 5300148"/>
              <a:gd name="connsiteX13" fmla="*/ 381946 w 4100506"/>
              <a:gd name="connsiteY13" fmla="*/ 3326568 h 5300148"/>
              <a:gd name="connsiteX14" fmla="*/ 420046 w 4100506"/>
              <a:gd name="connsiteY14" fmla="*/ 3227508 h 5300148"/>
              <a:gd name="connsiteX15" fmla="*/ 389566 w 4100506"/>
              <a:gd name="connsiteY15" fmla="*/ 3166548 h 5300148"/>
              <a:gd name="connsiteX16" fmla="*/ 351466 w 4100506"/>
              <a:gd name="connsiteY16" fmla="*/ 3105588 h 5300148"/>
              <a:gd name="connsiteX17" fmla="*/ 397186 w 4100506"/>
              <a:gd name="connsiteY17" fmla="*/ 3021768 h 5300148"/>
              <a:gd name="connsiteX18" fmla="*/ 488626 w 4100506"/>
              <a:gd name="connsiteY18" fmla="*/ 2998908 h 5300148"/>
              <a:gd name="connsiteX19" fmla="*/ 471956 w 4100506"/>
              <a:gd name="connsiteY19" fmla="*/ 2942709 h 5300148"/>
              <a:gd name="connsiteX20" fmla="*/ 435286 w 4100506"/>
              <a:gd name="connsiteY20" fmla="*/ 2930328 h 5300148"/>
              <a:gd name="connsiteX21" fmla="*/ 389566 w 4100506"/>
              <a:gd name="connsiteY21" fmla="*/ 2930328 h 5300148"/>
              <a:gd name="connsiteX22" fmla="*/ 314000 w 4100506"/>
              <a:gd name="connsiteY22" fmla="*/ 2893495 h 5300148"/>
              <a:gd name="connsiteX23" fmla="*/ 320986 w 4100506"/>
              <a:gd name="connsiteY23" fmla="*/ 2846508 h 5300148"/>
              <a:gd name="connsiteX24" fmla="*/ 328606 w 4100506"/>
              <a:gd name="connsiteY24" fmla="*/ 2793168 h 5300148"/>
              <a:gd name="connsiteX25" fmla="*/ 313366 w 4100506"/>
              <a:gd name="connsiteY25" fmla="*/ 2732208 h 5300148"/>
              <a:gd name="connsiteX26" fmla="*/ 267646 w 4100506"/>
              <a:gd name="connsiteY26" fmla="*/ 2671248 h 5300148"/>
              <a:gd name="connsiteX27" fmla="*/ 176206 w 4100506"/>
              <a:gd name="connsiteY27" fmla="*/ 2656008 h 5300148"/>
              <a:gd name="connsiteX28" fmla="*/ 54286 w 4100506"/>
              <a:gd name="connsiteY28" fmla="*/ 2610288 h 5300148"/>
              <a:gd name="connsiteX29" fmla="*/ 7931 w 4100506"/>
              <a:gd name="connsiteY29" fmla="*/ 2563298 h 5300148"/>
              <a:gd name="connsiteX30" fmla="*/ 8566 w 4100506"/>
              <a:gd name="connsiteY30" fmla="*/ 2488368 h 5300148"/>
              <a:gd name="connsiteX31" fmla="*/ 92386 w 4100506"/>
              <a:gd name="connsiteY31" fmla="*/ 2335968 h 5300148"/>
              <a:gd name="connsiteX32" fmla="*/ 221926 w 4100506"/>
              <a:gd name="connsiteY32" fmla="*/ 2175948 h 5300148"/>
              <a:gd name="connsiteX33" fmla="*/ 282886 w 4100506"/>
              <a:gd name="connsiteY33" fmla="*/ 2084508 h 5300148"/>
              <a:gd name="connsiteX34" fmla="*/ 328606 w 4100506"/>
              <a:gd name="connsiteY34" fmla="*/ 1977828 h 5300148"/>
              <a:gd name="connsiteX35" fmla="*/ 359086 w 4100506"/>
              <a:gd name="connsiteY35" fmla="*/ 1871148 h 5300148"/>
              <a:gd name="connsiteX36" fmla="*/ 374326 w 4100506"/>
              <a:gd name="connsiteY36" fmla="*/ 1810188 h 5300148"/>
              <a:gd name="connsiteX37" fmla="*/ 343846 w 4100506"/>
              <a:gd name="connsiteY37" fmla="*/ 1756848 h 5300148"/>
              <a:gd name="connsiteX38" fmla="*/ 328606 w 4100506"/>
              <a:gd name="connsiteY38" fmla="*/ 1680648 h 5300148"/>
              <a:gd name="connsiteX39" fmla="*/ 412426 w 4100506"/>
              <a:gd name="connsiteY39" fmla="*/ 1474908 h 5300148"/>
              <a:gd name="connsiteX40" fmla="*/ 442906 w 4100506"/>
              <a:gd name="connsiteY40" fmla="*/ 1307268 h 5300148"/>
              <a:gd name="connsiteX41" fmla="*/ 465766 w 4100506"/>
              <a:gd name="connsiteY41" fmla="*/ 1192968 h 5300148"/>
              <a:gd name="connsiteX42" fmla="*/ 503866 w 4100506"/>
              <a:gd name="connsiteY42" fmla="*/ 1055808 h 5300148"/>
              <a:gd name="connsiteX43" fmla="*/ 557206 w 4100506"/>
              <a:gd name="connsiteY43" fmla="*/ 888168 h 5300148"/>
              <a:gd name="connsiteX44" fmla="*/ 503866 w 4100506"/>
              <a:gd name="connsiteY44" fmla="*/ 888168 h 5300148"/>
              <a:gd name="connsiteX45" fmla="*/ 412426 w 4100506"/>
              <a:gd name="connsiteY45" fmla="*/ 834828 h 5300148"/>
              <a:gd name="connsiteX46" fmla="*/ 328606 w 4100506"/>
              <a:gd name="connsiteY46" fmla="*/ 789108 h 5300148"/>
              <a:gd name="connsiteX47" fmla="*/ 260026 w 4100506"/>
              <a:gd name="connsiteY47" fmla="*/ 773868 h 5300148"/>
              <a:gd name="connsiteX48" fmla="*/ 214306 w 4100506"/>
              <a:gd name="connsiteY48" fmla="*/ 751008 h 5300148"/>
              <a:gd name="connsiteX49" fmla="*/ 260026 w 4100506"/>
              <a:gd name="connsiteY49" fmla="*/ 674808 h 5300148"/>
              <a:gd name="connsiteX50" fmla="*/ 374326 w 4100506"/>
              <a:gd name="connsiteY50" fmla="*/ 606228 h 5300148"/>
              <a:gd name="connsiteX51" fmla="*/ 557206 w 4100506"/>
              <a:gd name="connsiteY51" fmla="*/ 507168 h 5300148"/>
              <a:gd name="connsiteX52" fmla="*/ 656266 w 4100506"/>
              <a:gd name="connsiteY52" fmla="*/ 423348 h 5300148"/>
              <a:gd name="connsiteX53" fmla="*/ 892486 w 4100506"/>
              <a:gd name="connsiteY53" fmla="*/ 232848 h 5300148"/>
              <a:gd name="connsiteX54" fmla="*/ 1174426 w 4100506"/>
              <a:gd name="connsiteY54" fmla="*/ 80448 h 5300148"/>
              <a:gd name="connsiteX55" fmla="*/ 1593526 w 4100506"/>
              <a:gd name="connsiteY55" fmla="*/ 11868 h 5300148"/>
              <a:gd name="connsiteX56" fmla="*/ 1944046 w 4100506"/>
              <a:gd name="connsiteY56" fmla="*/ 4248 h 5300148"/>
              <a:gd name="connsiteX57" fmla="*/ 2172646 w 4100506"/>
              <a:gd name="connsiteY57" fmla="*/ 4248 h 5300148"/>
              <a:gd name="connsiteX58" fmla="*/ 2393626 w 4100506"/>
              <a:gd name="connsiteY58" fmla="*/ 57588 h 5300148"/>
              <a:gd name="connsiteX59" fmla="*/ 2667946 w 4100506"/>
              <a:gd name="connsiteY59" fmla="*/ 133788 h 5300148"/>
              <a:gd name="connsiteX60" fmla="*/ 2820346 w 4100506"/>
              <a:gd name="connsiteY60" fmla="*/ 202368 h 5300148"/>
              <a:gd name="connsiteX61" fmla="*/ 3102286 w 4100506"/>
              <a:gd name="connsiteY61" fmla="*/ 400488 h 5300148"/>
              <a:gd name="connsiteX62" fmla="*/ 3285166 w 4100506"/>
              <a:gd name="connsiteY62" fmla="*/ 651948 h 5300148"/>
              <a:gd name="connsiteX63" fmla="*/ 3407086 w 4100506"/>
              <a:gd name="connsiteY63" fmla="*/ 918648 h 5300148"/>
              <a:gd name="connsiteX64" fmla="*/ 3475666 w 4100506"/>
              <a:gd name="connsiteY64" fmla="*/ 1238688 h 5300148"/>
              <a:gd name="connsiteX65" fmla="*/ 3506146 w 4100506"/>
              <a:gd name="connsiteY65" fmla="*/ 1543488 h 5300148"/>
              <a:gd name="connsiteX66" fmla="*/ 3506146 w 4100506"/>
              <a:gd name="connsiteY66" fmla="*/ 1962588 h 5300148"/>
              <a:gd name="connsiteX67" fmla="*/ 3338506 w 4100506"/>
              <a:gd name="connsiteY67" fmla="*/ 2305488 h 5300148"/>
              <a:gd name="connsiteX68" fmla="*/ 3254686 w 4100506"/>
              <a:gd name="connsiteY68" fmla="*/ 2473128 h 5300148"/>
              <a:gd name="connsiteX69" fmla="*/ 3132766 w 4100506"/>
              <a:gd name="connsiteY69" fmla="*/ 2663628 h 5300148"/>
              <a:gd name="connsiteX70" fmla="*/ 3071806 w 4100506"/>
              <a:gd name="connsiteY70" fmla="*/ 2838888 h 5300148"/>
              <a:gd name="connsiteX71" fmla="*/ 3064186 w 4100506"/>
              <a:gd name="connsiteY71" fmla="*/ 2915088 h 5300148"/>
              <a:gd name="connsiteX72" fmla="*/ 3018466 w 4100506"/>
              <a:gd name="connsiteY72" fmla="*/ 3014148 h 5300148"/>
              <a:gd name="connsiteX73" fmla="*/ 2980366 w 4100506"/>
              <a:gd name="connsiteY73" fmla="*/ 3082728 h 5300148"/>
              <a:gd name="connsiteX74" fmla="*/ 2957506 w 4100506"/>
              <a:gd name="connsiteY74" fmla="*/ 3120828 h 5300148"/>
              <a:gd name="connsiteX75" fmla="*/ 2957506 w 4100506"/>
              <a:gd name="connsiteY75" fmla="*/ 3555168 h 5300148"/>
              <a:gd name="connsiteX76" fmla="*/ 3010846 w 4100506"/>
              <a:gd name="connsiteY76" fmla="*/ 3539928 h 5300148"/>
              <a:gd name="connsiteX77" fmla="*/ 3109906 w 4100506"/>
              <a:gd name="connsiteY77" fmla="*/ 3570408 h 5300148"/>
              <a:gd name="connsiteX78" fmla="*/ 3140386 w 4100506"/>
              <a:gd name="connsiteY78" fmla="*/ 3631368 h 5300148"/>
              <a:gd name="connsiteX79" fmla="*/ 3117526 w 4100506"/>
              <a:gd name="connsiteY79" fmla="*/ 3738048 h 5300148"/>
              <a:gd name="connsiteX80" fmla="*/ 3125146 w 4100506"/>
              <a:gd name="connsiteY80" fmla="*/ 4103808 h 5300148"/>
              <a:gd name="connsiteX81" fmla="*/ 3163246 w 4100506"/>
              <a:gd name="connsiteY81" fmla="*/ 4157148 h 5300148"/>
              <a:gd name="connsiteX82" fmla="*/ 3201346 w 4100506"/>
              <a:gd name="connsiteY82" fmla="*/ 4164768 h 5300148"/>
              <a:gd name="connsiteX83" fmla="*/ 3231826 w 4100506"/>
              <a:gd name="connsiteY83" fmla="*/ 4172388 h 5300148"/>
              <a:gd name="connsiteX84" fmla="*/ 3285166 w 4100506"/>
              <a:gd name="connsiteY84" fmla="*/ 4294308 h 5300148"/>
              <a:gd name="connsiteX85" fmla="*/ 3300406 w 4100506"/>
              <a:gd name="connsiteY85" fmla="*/ 4347648 h 5300148"/>
              <a:gd name="connsiteX86" fmla="*/ 3330886 w 4100506"/>
              <a:gd name="connsiteY86" fmla="*/ 4408608 h 5300148"/>
              <a:gd name="connsiteX87" fmla="*/ 3551866 w 4100506"/>
              <a:gd name="connsiteY87" fmla="*/ 4644828 h 5300148"/>
              <a:gd name="connsiteX88" fmla="*/ 3887146 w 4100506"/>
              <a:gd name="connsiteY88" fmla="*/ 5025828 h 5300148"/>
              <a:gd name="connsiteX89" fmla="*/ 4100506 w 4100506"/>
              <a:gd name="connsiteY89" fmla="*/ 5300148 h 5300148"/>
              <a:gd name="connsiteX0" fmla="*/ 707488 w 3887146"/>
              <a:gd name="connsiteY0" fmla="*/ 5008470 h 5025828"/>
              <a:gd name="connsiteX1" fmla="*/ 961066 w 3887146"/>
              <a:gd name="connsiteY1" fmla="*/ 4644828 h 5025828"/>
              <a:gd name="connsiteX2" fmla="*/ 1342066 w 3887146"/>
              <a:gd name="connsiteY2" fmla="*/ 4172388 h 5025828"/>
              <a:gd name="connsiteX3" fmla="*/ 1258246 w 3887146"/>
              <a:gd name="connsiteY3" fmla="*/ 4012368 h 5025828"/>
              <a:gd name="connsiteX4" fmla="*/ 1204906 w 3887146"/>
              <a:gd name="connsiteY4" fmla="*/ 3928548 h 5025828"/>
              <a:gd name="connsiteX5" fmla="*/ 1174426 w 3887146"/>
              <a:gd name="connsiteY5" fmla="*/ 3768528 h 5025828"/>
              <a:gd name="connsiteX6" fmla="*/ 1151566 w 3887146"/>
              <a:gd name="connsiteY6" fmla="*/ 3699948 h 5025828"/>
              <a:gd name="connsiteX7" fmla="*/ 1143946 w 3887146"/>
              <a:gd name="connsiteY7" fmla="*/ 3669468 h 5025828"/>
              <a:gd name="connsiteX8" fmla="*/ 1067746 w 3887146"/>
              <a:gd name="connsiteY8" fmla="*/ 3661848 h 5025828"/>
              <a:gd name="connsiteX9" fmla="*/ 938206 w 3887146"/>
              <a:gd name="connsiteY9" fmla="*/ 3669468 h 5025828"/>
              <a:gd name="connsiteX10" fmla="*/ 831526 w 3887146"/>
              <a:gd name="connsiteY10" fmla="*/ 3692328 h 5025828"/>
              <a:gd name="connsiteX11" fmla="*/ 610546 w 3887146"/>
              <a:gd name="connsiteY11" fmla="*/ 3738048 h 5025828"/>
              <a:gd name="connsiteX12" fmla="*/ 389566 w 3887146"/>
              <a:gd name="connsiteY12" fmla="*/ 3638988 h 5025828"/>
              <a:gd name="connsiteX13" fmla="*/ 381946 w 3887146"/>
              <a:gd name="connsiteY13" fmla="*/ 3326568 h 5025828"/>
              <a:gd name="connsiteX14" fmla="*/ 420046 w 3887146"/>
              <a:gd name="connsiteY14" fmla="*/ 3227508 h 5025828"/>
              <a:gd name="connsiteX15" fmla="*/ 389566 w 3887146"/>
              <a:gd name="connsiteY15" fmla="*/ 3166548 h 5025828"/>
              <a:gd name="connsiteX16" fmla="*/ 351466 w 3887146"/>
              <a:gd name="connsiteY16" fmla="*/ 3105588 h 5025828"/>
              <a:gd name="connsiteX17" fmla="*/ 397186 w 3887146"/>
              <a:gd name="connsiteY17" fmla="*/ 3021768 h 5025828"/>
              <a:gd name="connsiteX18" fmla="*/ 488626 w 3887146"/>
              <a:gd name="connsiteY18" fmla="*/ 2998908 h 5025828"/>
              <a:gd name="connsiteX19" fmla="*/ 471956 w 3887146"/>
              <a:gd name="connsiteY19" fmla="*/ 2942709 h 5025828"/>
              <a:gd name="connsiteX20" fmla="*/ 435286 w 3887146"/>
              <a:gd name="connsiteY20" fmla="*/ 2930328 h 5025828"/>
              <a:gd name="connsiteX21" fmla="*/ 389566 w 3887146"/>
              <a:gd name="connsiteY21" fmla="*/ 2930328 h 5025828"/>
              <a:gd name="connsiteX22" fmla="*/ 314000 w 3887146"/>
              <a:gd name="connsiteY22" fmla="*/ 2893495 h 5025828"/>
              <a:gd name="connsiteX23" fmla="*/ 320986 w 3887146"/>
              <a:gd name="connsiteY23" fmla="*/ 2846508 h 5025828"/>
              <a:gd name="connsiteX24" fmla="*/ 328606 w 3887146"/>
              <a:gd name="connsiteY24" fmla="*/ 2793168 h 5025828"/>
              <a:gd name="connsiteX25" fmla="*/ 313366 w 3887146"/>
              <a:gd name="connsiteY25" fmla="*/ 2732208 h 5025828"/>
              <a:gd name="connsiteX26" fmla="*/ 267646 w 3887146"/>
              <a:gd name="connsiteY26" fmla="*/ 2671248 h 5025828"/>
              <a:gd name="connsiteX27" fmla="*/ 176206 w 3887146"/>
              <a:gd name="connsiteY27" fmla="*/ 2656008 h 5025828"/>
              <a:gd name="connsiteX28" fmla="*/ 54286 w 3887146"/>
              <a:gd name="connsiteY28" fmla="*/ 2610288 h 5025828"/>
              <a:gd name="connsiteX29" fmla="*/ 7931 w 3887146"/>
              <a:gd name="connsiteY29" fmla="*/ 2563298 h 5025828"/>
              <a:gd name="connsiteX30" fmla="*/ 8566 w 3887146"/>
              <a:gd name="connsiteY30" fmla="*/ 2488368 h 5025828"/>
              <a:gd name="connsiteX31" fmla="*/ 92386 w 3887146"/>
              <a:gd name="connsiteY31" fmla="*/ 2335968 h 5025828"/>
              <a:gd name="connsiteX32" fmla="*/ 221926 w 3887146"/>
              <a:gd name="connsiteY32" fmla="*/ 2175948 h 5025828"/>
              <a:gd name="connsiteX33" fmla="*/ 282886 w 3887146"/>
              <a:gd name="connsiteY33" fmla="*/ 2084508 h 5025828"/>
              <a:gd name="connsiteX34" fmla="*/ 328606 w 3887146"/>
              <a:gd name="connsiteY34" fmla="*/ 1977828 h 5025828"/>
              <a:gd name="connsiteX35" fmla="*/ 359086 w 3887146"/>
              <a:gd name="connsiteY35" fmla="*/ 1871148 h 5025828"/>
              <a:gd name="connsiteX36" fmla="*/ 374326 w 3887146"/>
              <a:gd name="connsiteY36" fmla="*/ 1810188 h 5025828"/>
              <a:gd name="connsiteX37" fmla="*/ 343846 w 3887146"/>
              <a:gd name="connsiteY37" fmla="*/ 1756848 h 5025828"/>
              <a:gd name="connsiteX38" fmla="*/ 328606 w 3887146"/>
              <a:gd name="connsiteY38" fmla="*/ 1680648 h 5025828"/>
              <a:gd name="connsiteX39" fmla="*/ 412426 w 3887146"/>
              <a:gd name="connsiteY39" fmla="*/ 1474908 h 5025828"/>
              <a:gd name="connsiteX40" fmla="*/ 442906 w 3887146"/>
              <a:gd name="connsiteY40" fmla="*/ 1307268 h 5025828"/>
              <a:gd name="connsiteX41" fmla="*/ 465766 w 3887146"/>
              <a:gd name="connsiteY41" fmla="*/ 1192968 h 5025828"/>
              <a:gd name="connsiteX42" fmla="*/ 503866 w 3887146"/>
              <a:gd name="connsiteY42" fmla="*/ 1055808 h 5025828"/>
              <a:gd name="connsiteX43" fmla="*/ 557206 w 3887146"/>
              <a:gd name="connsiteY43" fmla="*/ 888168 h 5025828"/>
              <a:gd name="connsiteX44" fmla="*/ 503866 w 3887146"/>
              <a:gd name="connsiteY44" fmla="*/ 888168 h 5025828"/>
              <a:gd name="connsiteX45" fmla="*/ 412426 w 3887146"/>
              <a:gd name="connsiteY45" fmla="*/ 834828 h 5025828"/>
              <a:gd name="connsiteX46" fmla="*/ 328606 w 3887146"/>
              <a:gd name="connsiteY46" fmla="*/ 789108 h 5025828"/>
              <a:gd name="connsiteX47" fmla="*/ 260026 w 3887146"/>
              <a:gd name="connsiteY47" fmla="*/ 773868 h 5025828"/>
              <a:gd name="connsiteX48" fmla="*/ 214306 w 3887146"/>
              <a:gd name="connsiteY48" fmla="*/ 751008 h 5025828"/>
              <a:gd name="connsiteX49" fmla="*/ 260026 w 3887146"/>
              <a:gd name="connsiteY49" fmla="*/ 674808 h 5025828"/>
              <a:gd name="connsiteX50" fmla="*/ 374326 w 3887146"/>
              <a:gd name="connsiteY50" fmla="*/ 606228 h 5025828"/>
              <a:gd name="connsiteX51" fmla="*/ 557206 w 3887146"/>
              <a:gd name="connsiteY51" fmla="*/ 507168 h 5025828"/>
              <a:gd name="connsiteX52" fmla="*/ 656266 w 3887146"/>
              <a:gd name="connsiteY52" fmla="*/ 423348 h 5025828"/>
              <a:gd name="connsiteX53" fmla="*/ 892486 w 3887146"/>
              <a:gd name="connsiteY53" fmla="*/ 232848 h 5025828"/>
              <a:gd name="connsiteX54" fmla="*/ 1174426 w 3887146"/>
              <a:gd name="connsiteY54" fmla="*/ 80448 h 5025828"/>
              <a:gd name="connsiteX55" fmla="*/ 1593526 w 3887146"/>
              <a:gd name="connsiteY55" fmla="*/ 11868 h 5025828"/>
              <a:gd name="connsiteX56" fmla="*/ 1944046 w 3887146"/>
              <a:gd name="connsiteY56" fmla="*/ 4248 h 5025828"/>
              <a:gd name="connsiteX57" fmla="*/ 2172646 w 3887146"/>
              <a:gd name="connsiteY57" fmla="*/ 4248 h 5025828"/>
              <a:gd name="connsiteX58" fmla="*/ 2393626 w 3887146"/>
              <a:gd name="connsiteY58" fmla="*/ 57588 h 5025828"/>
              <a:gd name="connsiteX59" fmla="*/ 2667946 w 3887146"/>
              <a:gd name="connsiteY59" fmla="*/ 133788 h 5025828"/>
              <a:gd name="connsiteX60" fmla="*/ 2820346 w 3887146"/>
              <a:gd name="connsiteY60" fmla="*/ 202368 h 5025828"/>
              <a:gd name="connsiteX61" fmla="*/ 3102286 w 3887146"/>
              <a:gd name="connsiteY61" fmla="*/ 400488 h 5025828"/>
              <a:gd name="connsiteX62" fmla="*/ 3285166 w 3887146"/>
              <a:gd name="connsiteY62" fmla="*/ 651948 h 5025828"/>
              <a:gd name="connsiteX63" fmla="*/ 3407086 w 3887146"/>
              <a:gd name="connsiteY63" fmla="*/ 918648 h 5025828"/>
              <a:gd name="connsiteX64" fmla="*/ 3475666 w 3887146"/>
              <a:gd name="connsiteY64" fmla="*/ 1238688 h 5025828"/>
              <a:gd name="connsiteX65" fmla="*/ 3506146 w 3887146"/>
              <a:gd name="connsiteY65" fmla="*/ 1543488 h 5025828"/>
              <a:gd name="connsiteX66" fmla="*/ 3506146 w 3887146"/>
              <a:gd name="connsiteY66" fmla="*/ 1962588 h 5025828"/>
              <a:gd name="connsiteX67" fmla="*/ 3338506 w 3887146"/>
              <a:gd name="connsiteY67" fmla="*/ 2305488 h 5025828"/>
              <a:gd name="connsiteX68" fmla="*/ 3254686 w 3887146"/>
              <a:gd name="connsiteY68" fmla="*/ 2473128 h 5025828"/>
              <a:gd name="connsiteX69" fmla="*/ 3132766 w 3887146"/>
              <a:gd name="connsiteY69" fmla="*/ 2663628 h 5025828"/>
              <a:gd name="connsiteX70" fmla="*/ 3071806 w 3887146"/>
              <a:gd name="connsiteY70" fmla="*/ 2838888 h 5025828"/>
              <a:gd name="connsiteX71" fmla="*/ 3064186 w 3887146"/>
              <a:gd name="connsiteY71" fmla="*/ 2915088 h 5025828"/>
              <a:gd name="connsiteX72" fmla="*/ 3018466 w 3887146"/>
              <a:gd name="connsiteY72" fmla="*/ 3014148 h 5025828"/>
              <a:gd name="connsiteX73" fmla="*/ 2980366 w 3887146"/>
              <a:gd name="connsiteY73" fmla="*/ 3082728 h 5025828"/>
              <a:gd name="connsiteX74" fmla="*/ 2957506 w 3887146"/>
              <a:gd name="connsiteY74" fmla="*/ 3120828 h 5025828"/>
              <a:gd name="connsiteX75" fmla="*/ 2957506 w 3887146"/>
              <a:gd name="connsiteY75" fmla="*/ 3555168 h 5025828"/>
              <a:gd name="connsiteX76" fmla="*/ 3010846 w 3887146"/>
              <a:gd name="connsiteY76" fmla="*/ 3539928 h 5025828"/>
              <a:gd name="connsiteX77" fmla="*/ 3109906 w 3887146"/>
              <a:gd name="connsiteY77" fmla="*/ 3570408 h 5025828"/>
              <a:gd name="connsiteX78" fmla="*/ 3140386 w 3887146"/>
              <a:gd name="connsiteY78" fmla="*/ 3631368 h 5025828"/>
              <a:gd name="connsiteX79" fmla="*/ 3117526 w 3887146"/>
              <a:gd name="connsiteY79" fmla="*/ 3738048 h 5025828"/>
              <a:gd name="connsiteX80" fmla="*/ 3125146 w 3887146"/>
              <a:gd name="connsiteY80" fmla="*/ 4103808 h 5025828"/>
              <a:gd name="connsiteX81" fmla="*/ 3163246 w 3887146"/>
              <a:gd name="connsiteY81" fmla="*/ 4157148 h 5025828"/>
              <a:gd name="connsiteX82" fmla="*/ 3201346 w 3887146"/>
              <a:gd name="connsiteY82" fmla="*/ 4164768 h 5025828"/>
              <a:gd name="connsiteX83" fmla="*/ 3231826 w 3887146"/>
              <a:gd name="connsiteY83" fmla="*/ 4172388 h 5025828"/>
              <a:gd name="connsiteX84" fmla="*/ 3285166 w 3887146"/>
              <a:gd name="connsiteY84" fmla="*/ 4294308 h 5025828"/>
              <a:gd name="connsiteX85" fmla="*/ 3300406 w 3887146"/>
              <a:gd name="connsiteY85" fmla="*/ 4347648 h 5025828"/>
              <a:gd name="connsiteX86" fmla="*/ 3330886 w 3887146"/>
              <a:gd name="connsiteY86" fmla="*/ 4408608 h 5025828"/>
              <a:gd name="connsiteX87" fmla="*/ 3551866 w 3887146"/>
              <a:gd name="connsiteY87" fmla="*/ 4644828 h 5025828"/>
              <a:gd name="connsiteX88" fmla="*/ 3887146 w 3887146"/>
              <a:gd name="connsiteY88" fmla="*/ 5025828 h 5025828"/>
              <a:gd name="connsiteX0" fmla="*/ 707488 w 3884395"/>
              <a:gd name="connsiteY0" fmla="*/ 5008470 h 5017575"/>
              <a:gd name="connsiteX1" fmla="*/ 961066 w 3884395"/>
              <a:gd name="connsiteY1" fmla="*/ 4644828 h 5017575"/>
              <a:gd name="connsiteX2" fmla="*/ 1342066 w 3884395"/>
              <a:gd name="connsiteY2" fmla="*/ 4172388 h 5017575"/>
              <a:gd name="connsiteX3" fmla="*/ 1258246 w 3884395"/>
              <a:gd name="connsiteY3" fmla="*/ 4012368 h 5017575"/>
              <a:gd name="connsiteX4" fmla="*/ 1204906 w 3884395"/>
              <a:gd name="connsiteY4" fmla="*/ 3928548 h 5017575"/>
              <a:gd name="connsiteX5" fmla="*/ 1174426 w 3884395"/>
              <a:gd name="connsiteY5" fmla="*/ 3768528 h 5017575"/>
              <a:gd name="connsiteX6" fmla="*/ 1151566 w 3884395"/>
              <a:gd name="connsiteY6" fmla="*/ 3699948 h 5017575"/>
              <a:gd name="connsiteX7" fmla="*/ 1143946 w 3884395"/>
              <a:gd name="connsiteY7" fmla="*/ 3669468 h 5017575"/>
              <a:gd name="connsiteX8" fmla="*/ 1067746 w 3884395"/>
              <a:gd name="connsiteY8" fmla="*/ 3661848 h 5017575"/>
              <a:gd name="connsiteX9" fmla="*/ 938206 w 3884395"/>
              <a:gd name="connsiteY9" fmla="*/ 3669468 h 5017575"/>
              <a:gd name="connsiteX10" fmla="*/ 831526 w 3884395"/>
              <a:gd name="connsiteY10" fmla="*/ 3692328 h 5017575"/>
              <a:gd name="connsiteX11" fmla="*/ 610546 w 3884395"/>
              <a:gd name="connsiteY11" fmla="*/ 3738048 h 5017575"/>
              <a:gd name="connsiteX12" fmla="*/ 389566 w 3884395"/>
              <a:gd name="connsiteY12" fmla="*/ 3638988 h 5017575"/>
              <a:gd name="connsiteX13" fmla="*/ 381946 w 3884395"/>
              <a:gd name="connsiteY13" fmla="*/ 3326568 h 5017575"/>
              <a:gd name="connsiteX14" fmla="*/ 420046 w 3884395"/>
              <a:gd name="connsiteY14" fmla="*/ 3227508 h 5017575"/>
              <a:gd name="connsiteX15" fmla="*/ 389566 w 3884395"/>
              <a:gd name="connsiteY15" fmla="*/ 3166548 h 5017575"/>
              <a:gd name="connsiteX16" fmla="*/ 351466 w 3884395"/>
              <a:gd name="connsiteY16" fmla="*/ 3105588 h 5017575"/>
              <a:gd name="connsiteX17" fmla="*/ 397186 w 3884395"/>
              <a:gd name="connsiteY17" fmla="*/ 3021768 h 5017575"/>
              <a:gd name="connsiteX18" fmla="*/ 488626 w 3884395"/>
              <a:gd name="connsiteY18" fmla="*/ 2998908 h 5017575"/>
              <a:gd name="connsiteX19" fmla="*/ 471956 w 3884395"/>
              <a:gd name="connsiteY19" fmla="*/ 2942709 h 5017575"/>
              <a:gd name="connsiteX20" fmla="*/ 435286 w 3884395"/>
              <a:gd name="connsiteY20" fmla="*/ 2930328 h 5017575"/>
              <a:gd name="connsiteX21" fmla="*/ 389566 w 3884395"/>
              <a:gd name="connsiteY21" fmla="*/ 2930328 h 5017575"/>
              <a:gd name="connsiteX22" fmla="*/ 314000 w 3884395"/>
              <a:gd name="connsiteY22" fmla="*/ 2893495 h 5017575"/>
              <a:gd name="connsiteX23" fmla="*/ 320986 w 3884395"/>
              <a:gd name="connsiteY23" fmla="*/ 2846508 h 5017575"/>
              <a:gd name="connsiteX24" fmla="*/ 328606 w 3884395"/>
              <a:gd name="connsiteY24" fmla="*/ 2793168 h 5017575"/>
              <a:gd name="connsiteX25" fmla="*/ 313366 w 3884395"/>
              <a:gd name="connsiteY25" fmla="*/ 2732208 h 5017575"/>
              <a:gd name="connsiteX26" fmla="*/ 267646 w 3884395"/>
              <a:gd name="connsiteY26" fmla="*/ 2671248 h 5017575"/>
              <a:gd name="connsiteX27" fmla="*/ 176206 w 3884395"/>
              <a:gd name="connsiteY27" fmla="*/ 2656008 h 5017575"/>
              <a:gd name="connsiteX28" fmla="*/ 54286 w 3884395"/>
              <a:gd name="connsiteY28" fmla="*/ 2610288 h 5017575"/>
              <a:gd name="connsiteX29" fmla="*/ 7931 w 3884395"/>
              <a:gd name="connsiteY29" fmla="*/ 2563298 h 5017575"/>
              <a:gd name="connsiteX30" fmla="*/ 8566 w 3884395"/>
              <a:gd name="connsiteY30" fmla="*/ 2488368 h 5017575"/>
              <a:gd name="connsiteX31" fmla="*/ 92386 w 3884395"/>
              <a:gd name="connsiteY31" fmla="*/ 2335968 h 5017575"/>
              <a:gd name="connsiteX32" fmla="*/ 221926 w 3884395"/>
              <a:gd name="connsiteY32" fmla="*/ 2175948 h 5017575"/>
              <a:gd name="connsiteX33" fmla="*/ 282886 w 3884395"/>
              <a:gd name="connsiteY33" fmla="*/ 2084508 h 5017575"/>
              <a:gd name="connsiteX34" fmla="*/ 328606 w 3884395"/>
              <a:gd name="connsiteY34" fmla="*/ 1977828 h 5017575"/>
              <a:gd name="connsiteX35" fmla="*/ 359086 w 3884395"/>
              <a:gd name="connsiteY35" fmla="*/ 1871148 h 5017575"/>
              <a:gd name="connsiteX36" fmla="*/ 374326 w 3884395"/>
              <a:gd name="connsiteY36" fmla="*/ 1810188 h 5017575"/>
              <a:gd name="connsiteX37" fmla="*/ 343846 w 3884395"/>
              <a:gd name="connsiteY37" fmla="*/ 1756848 h 5017575"/>
              <a:gd name="connsiteX38" fmla="*/ 328606 w 3884395"/>
              <a:gd name="connsiteY38" fmla="*/ 1680648 h 5017575"/>
              <a:gd name="connsiteX39" fmla="*/ 412426 w 3884395"/>
              <a:gd name="connsiteY39" fmla="*/ 1474908 h 5017575"/>
              <a:gd name="connsiteX40" fmla="*/ 442906 w 3884395"/>
              <a:gd name="connsiteY40" fmla="*/ 1307268 h 5017575"/>
              <a:gd name="connsiteX41" fmla="*/ 465766 w 3884395"/>
              <a:gd name="connsiteY41" fmla="*/ 1192968 h 5017575"/>
              <a:gd name="connsiteX42" fmla="*/ 503866 w 3884395"/>
              <a:gd name="connsiteY42" fmla="*/ 1055808 h 5017575"/>
              <a:gd name="connsiteX43" fmla="*/ 557206 w 3884395"/>
              <a:gd name="connsiteY43" fmla="*/ 888168 h 5017575"/>
              <a:gd name="connsiteX44" fmla="*/ 503866 w 3884395"/>
              <a:gd name="connsiteY44" fmla="*/ 888168 h 5017575"/>
              <a:gd name="connsiteX45" fmla="*/ 412426 w 3884395"/>
              <a:gd name="connsiteY45" fmla="*/ 834828 h 5017575"/>
              <a:gd name="connsiteX46" fmla="*/ 328606 w 3884395"/>
              <a:gd name="connsiteY46" fmla="*/ 789108 h 5017575"/>
              <a:gd name="connsiteX47" fmla="*/ 260026 w 3884395"/>
              <a:gd name="connsiteY47" fmla="*/ 773868 h 5017575"/>
              <a:gd name="connsiteX48" fmla="*/ 214306 w 3884395"/>
              <a:gd name="connsiteY48" fmla="*/ 751008 h 5017575"/>
              <a:gd name="connsiteX49" fmla="*/ 260026 w 3884395"/>
              <a:gd name="connsiteY49" fmla="*/ 674808 h 5017575"/>
              <a:gd name="connsiteX50" fmla="*/ 374326 w 3884395"/>
              <a:gd name="connsiteY50" fmla="*/ 606228 h 5017575"/>
              <a:gd name="connsiteX51" fmla="*/ 557206 w 3884395"/>
              <a:gd name="connsiteY51" fmla="*/ 507168 h 5017575"/>
              <a:gd name="connsiteX52" fmla="*/ 656266 w 3884395"/>
              <a:gd name="connsiteY52" fmla="*/ 423348 h 5017575"/>
              <a:gd name="connsiteX53" fmla="*/ 892486 w 3884395"/>
              <a:gd name="connsiteY53" fmla="*/ 232848 h 5017575"/>
              <a:gd name="connsiteX54" fmla="*/ 1174426 w 3884395"/>
              <a:gd name="connsiteY54" fmla="*/ 80448 h 5017575"/>
              <a:gd name="connsiteX55" fmla="*/ 1593526 w 3884395"/>
              <a:gd name="connsiteY55" fmla="*/ 11868 h 5017575"/>
              <a:gd name="connsiteX56" fmla="*/ 1944046 w 3884395"/>
              <a:gd name="connsiteY56" fmla="*/ 4248 h 5017575"/>
              <a:gd name="connsiteX57" fmla="*/ 2172646 w 3884395"/>
              <a:gd name="connsiteY57" fmla="*/ 4248 h 5017575"/>
              <a:gd name="connsiteX58" fmla="*/ 2393626 w 3884395"/>
              <a:gd name="connsiteY58" fmla="*/ 57588 h 5017575"/>
              <a:gd name="connsiteX59" fmla="*/ 2667946 w 3884395"/>
              <a:gd name="connsiteY59" fmla="*/ 133788 h 5017575"/>
              <a:gd name="connsiteX60" fmla="*/ 2820346 w 3884395"/>
              <a:gd name="connsiteY60" fmla="*/ 202368 h 5017575"/>
              <a:gd name="connsiteX61" fmla="*/ 3102286 w 3884395"/>
              <a:gd name="connsiteY61" fmla="*/ 400488 h 5017575"/>
              <a:gd name="connsiteX62" fmla="*/ 3285166 w 3884395"/>
              <a:gd name="connsiteY62" fmla="*/ 651948 h 5017575"/>
              <a:gd name="connsiteX63" fmla="*/ 3407086 w 3884395"/>
              <a:gd name="connsiteY63" fmla="*/ 918648 h 5017575"/>
              <a:gd name="connsiteX64" fmla="*/ 3475666 w 3884395"/>
              <a:gd name="connsiteY64" fmla="*/ 1238688 h 5017575"/>
              <a:gd name="connsiteX65" fmla="*/ 3506146 w 3884395"/>
              <a:gd name="connsiteY65" fmla="*/ 1543488 h 5017575"/>
              <a:gd name="connsiteX66" fmla="*/ 3506146 w 3884395"/>
              <a:gd name="connsiteY66" fmla="*/ 1962588 h 5017575"/>
              <a:gd name="connsiteX67" fmla="*/ 3338506 w 3884395"/>
              <a:gd name="connsiteY67" fmla="*/ 2305488 h 5017575"/>
              <a:gd name="connsiteX68" fmla="*/ 3254686 w 3884395"/>
              <a:gd name="connsiteY68" fmla="*/ 2473128 h 5017575"/>
              <a:gd name="connsiteX69" fmla="*/ 3132766 w 3884395"/>
              <a:gd name="connsiteY69" fmla="*/ 2663628 h 5017575"/>
              <a:gd name="connsiteX70" fmla="*/ 3071806 w 3884395"/>
              <a:gd name="connsiteY70" fmla="*/ 2838888 h 5017575"/>
              <a:gd name="connsiteX71" fmla="*/ 3064186 w 3884395"/>
              <a:gd name="connsiteY71" fmla="*/ 2915088 h 5017575"/>
              <a:gd name="connsiteX72" fmla="*/ 3018466 w 3884395"/>
              <a:gd name="connsiteY72" fmla="*/ 3014148 h 5017575"/>
              <a:gd name="connsiteX73" fmla="*/ 2980366 w 3884395"/>
              <a:gd name="connsiteY73" fmla="*/ 3082728 h 5017575"/>
              <a:gd name="connsiteX74" fmla="*/ 2957506 w 3884395"/>
              <a:gd name="connsiteY74" fmla="*/ 3120828 h 5017575"/>
              <a:gd name="connsiteX75" fmla="*/ 2957506 w 3884395"/>
              <a:gd name="connsiteY75" fmla="*/ 3555168 h 5017575"/>
              <a:gd name="connsiteX76" fmla="*/ 3010846 w 3884395"/>
              <a:gd name="connsiteY76" fmla="*/ 3539928 h 5017575"/>
              <a:gd name="connsiteX77" fmla="*/ 3109906 w 3884395"/>
              <a:gd name="connsiteY77" fmla="*/ 3570408 h 5017575"/>
              <a:gd name="connsiteX78" fmla="*/ 3140386 w 3884395"/>
              <a:gd name="connsiteY78" fmla="*/ 3631368 h 5017575"/>
              <a:gd name="connsiteX79" fmla="*/ 3117526 w 3884395"/>
              <a:gd name="connsiteY79" fmla="*/ 3738048 h 5017575"/>
              <a:gd name="connsiteX80" fmla="*/ 3125146 w 3884395"/>
              <a:gd name="connsiteY80" fmla="*/ 4103808 h 5017575"/>
              <a:gd name="connsiteX81" fmla="*/ 3163246 w 3884395"/>
              <a:gd name="connsiteY81" fmla="*/ 4157148 h 5017575"/>
              <a:gd name="connsiteX82" fmla="*/ 3201346 w 3884395"/>
              <a:gd name="connsiteY82" fmla="*/ 4164768 h 5017575"/>
              <a:gd name="connsiteX83" fmla="*/ 3231826 w 3884395"/>
              <a:gd name="connsiteY83" fmla="*/ 4172388 h 5017575"/>
              <a:gd name="connsiteX84" fmla="*/ 3285166 w 3884395"/>
              <a:gd name="connsiteY84" fmla="*/ 4294308 h 5017575"/>
              <a:gd name="connsiteX85" fmla="*/ 3300406 w 3884395"/>
              <a:gd name="connsiteY85" fmla="*/ 4347648 h 5017575"/>
              <a:gd name="connsiteX86" fmla="*/ 3330886 w 3884395"/>
              <a:gd name="connsiteY86" fmla="*/ 4408608 h 5017575"/>
              <a:gd name="connsiteX87" fmla="*/ 3551866 w 3884395"/>
              <a:gd name="connsiteY87" fmla="*/ 4644828 h 5017575"/>
              <a:gd name="connsiteX88" fmla="*/ 3884395 w 3884395"/>
              <a:gd name="connsiteY88" fmla="*/ 5017575 h 5017575"/>
              <a:gd name="connsiteX0" fmla="*/ 707488 w 3889897"/>
              <a:gd name="connsiteY0" fmla="*/ 5008470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163246 w 3889897"/>
              <a:gd name="connsiteY81" fmla="*/ 4157148 h 5020326"/>
              <a:gd name="connsiteX82" fmla="*/ 3201346 w 3889897"/>
              <a:gd name="connsiteY82" fmla="*/ 4164768 h 5020326"/>
              <a:gd name="connsiteX83" fmla="*/ 3231826 w 3889897"/>
              <a:gd name="connsiteY83" fmla="*/ 4172388 h 5020326"/>
              <a:gd name="connsiteX84" fmla="*/ 3285166 w 3889897"/>
              <a:gd name="connsiteY84" fmla="*/ 4294308 h 5020326"/>
              <a:gd name="connsiteX85" fmla="*/ 3300406 w 3889897"/>
              <a:gd name="connsiteY85" fmla="*/ 4347648 h 5020326"/>
              <a:gd name="connsiteX86" fmla="*/ 3330886 w 3889897"/>
              <a:gd name="connsiteY86" fmla="*/ 4408608 h 5020326"/>
              <a:gd name="connsiteX87" fmla="*/ 3551866 w 3889897"/>
              <a:gd name="connsiteY87" fmla="*/ 4644828 h 5020326"/>
              <a:gd name="connsiteX88" fmla="*/ 3889897 w 3889897"/>
              <a:gd name="connsiteY88" fmla="*/ 5020326 h 5020326"/>
              <a:gd name="connsiteX0" fmla="*/ 704737 w 3889897"/>
              <a:gd name="connsiteY0" fmla="*/ 5016723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163246 w 3889897"/>
              <a:gd name="connsiteY81" fmla="*/ 4157148 h 5020326"/>
              <a:gd name="connsiteX82" fmla="*/ 3201346 w 3889897"/>
              <a:gd name="connsiteY82" fmla="*/ 4164768 h 5020326"/>
              <a:gd name="connsiteX83" fmla="*/ 3231826 w 3889897"/>
              <a:gd name="connsiteY83" fmla="*/ 4172388 h 5020326"/>
              <a:gd name="connsiteX84" fmla="*/ 3285166 w 3889897"/>
              <a:gd name="connsiteY84" fmla="*/ 4294308 h 5020326"/>
              <a:gd name="connsiteX85" fmla="*/ 3300406 w 3889897"/>
              <a:gd name="connsiteY85" fmla="*/ 4347648 h 5020326"/>
              <a:gd name="connsiteX86" fmla="*/ 3330886 w 3889897"/>
              <a:gd name="connsiteY86" fmla="*/ 4408608 h 5020326"/>
              <a:gd name="connsiteX87" fmla="*/ 3551866 w 3889897"/>
              <a:gd name="connsiteY87" fmla="*/ 4644828 h 5020326"/>
              <a:gd name="connsiteX88" fmla="*/ 3889897 w 3889897"/>
              <a:gd name="connsiteY88" fmla="*/ 5020326 h 5020326"/>
              <a:gd name="connsiteX0" fmla="*/ 710239 w 3889897"/>
              <a:gd name="connsiteY0" fmla="*/ 5024991 h 5024991"/>
              <a:gd name="connsiteX1" fmla="*/ 961066 w 3889897"/>
              <a:gd name="connsiteY1" fmla="*/ 4644828 h 5024991"/>
              <a:gd name="connsiteX2" fmla="*/ 1342066 w 3889897"/>
              <a:gd name="connsiteY2" fmla="*/ 4172388 h 5024991"/>
              <a:gd name="connsiteX3" fmla="*/ 1258246 w 3889897"/>
              <a:gd name="connsiteY3" fmla="*/ 4012368 h 5024991"/>
              <a:gd name="connsiteX4" fmla="*/ 1204906 w 3889897"/>
              <a:gd name="connsiteY4" fmla="*/ 3928548 h 5024991"/>
              <a:gd name="connsiteX5" fmla="*/ 1174426 w 3889897"/>
              <a:gd name="connsiteY5" fmla="*/ 3768528 h 5024991"/>
              <a:gd name="connsiteX6" fmla="*/ 1151566 w 3889897"/>
              <a:gd name="connsiteY6" fmla="*/ 3699948 h 5024991"/>
              <a:gd name="connsiteX7" fmla="*/ 1143946 w 3889897"/>
              <a:gd name="connsiteY7" fmla="*/ 3669468 h 5024991"/>
              <a:gd name="connsiteX8" fmla="*/ 1067746 w 3889897"/>
              <a:gd name="connsiteY8" fmla="*/ 3661848 h 5024991"/>
              <a:gd name="connsiteX9" fmla="*/ 938206 w 3889897"/>
              <a:gd name="connsiteY9" fmla="*/ 3669468 h 5024991"/>
              <a:gd name="connsiteX10" fmla="*/ 831526 w 3889897"/>
              <a:gd name="connsiteY10" fmla="*/ 3692328 h 5024991"/>
              <a:gd name="connsiteX11" fmla="*/ 610546 w 3889897"/>
              <a:gd name="connsiteY11" fmla="*/ 3738048 h 5024991"/>
              <a:gd name="connsiteX12" fmla="*/ 389566 w 3889897"/>
              <a:gd name="connsiteY12" fmla="*/ 3638988 h 5024991"/>
              <a:gd name="connsiteX13" fmla="*/ 381946 w 3889897"/>
              <a:gd name="connsiteY13" fmla="*/ 3326568 h 5024991"/>
              <a:gd name="connsiteX14" fmla="*/ 420046 w 3889897"/>
              <a:gd name="connsiteY14" fmla="*/ 3227508 h 5024991"/>
              <a:gd name="connsiteX15" fmla="*/ 389566 w 3889897"/>
              <a:gd name="connsiteY15" fmla="*/ 3166548 h 5024991"/>
              <a:gd name="connsiteX16" fmla="*/ 351466 w 3889897"/>
              <a:gd name="connsiteY16" fmla="*/ 3105588 h 5024991"/>
              <a:gd name="connsiteX17" fmla="*/ 397186 w 3889897"/>
              <a:gd name="connsiteY17" fmla="*/ 3021768 h 5024991"/>
              <a:gd name="connsiteX18" fmla="*/ 488626 w 3889897"/>
              <a:gd name="connsiteY18" fmla="*/ 2998908 h 5024991"/>
              <a:gd name="connsiteX19" fmla="*/ 471956 w 3889897"/>
              <a:gd name="connsiteY19" fmla="*/ 2942709 h 5024991"/>
              <a:gd name="connsiteX20" fmla="*/ 435286 w 3889897"/>
              <a:gd name="connsiteY20" fmla="*/ 2930328 h 5024991"/>
              <a:gd name="connsiteX21" fmla="*/ 389566 w 3889897"/>
              <a:gd name="connsiteY21" fmla="*/ 2930328 h 5024991"/>
              <a:gd name="connsiteX22" fmla="*/ 314000 w 3889897"/>
              <a:gd name="connsiteY22" fmla="*/ 2893495 h 5024991"/>
              <a:gd name="connsiteX23" fmla="*/ 320986 w 3889897"/>
              <a:gd name="connsiteY23" fmla="*/ 2846508 h 5024991"/>
              <a:gd name="connsiteX24" fmla="*/ 328606 w 3889897"/>
              <a:gd name="connsiteY24" fmla="*/ 2793168 h 5024991"/>
              <a:gd name="connsiteX25" fmla="*/ 313366 w 3889897"/>
              <a:gd name="connsiteY25" fmla="*/ 2732208 h 5024991"/>
              <a:gd name="connsiteX26" fmla="*/ 267646 w 3889897"/>
              <a:gd name="connsiteY26" fmla="*/ 2671248 h 5024991"/>
              <a:gd name="connsiteX27" fmla="*/ 176206 w 3889897"/>
              <a:gd name="connsiteY27" fmla="*/ 2656008 h 5024991"/>
              <a:gd name="connsiteX28" fmla="*/ 54286 w 3889897"/>
              <a:gd name="connsiteY28" fmla="*/ 2610288 h 5024991"/>
              <a:gd name="connsiteX29" fmla="*/ 7931 w 3889897"/>
              <a:gd name="connsiteY29" fmla="*/ 2563298 h 5024991"/>
              <a:gd name="connsiteX30" fmla="*/ 8566 w 3889897"/>
              <a:gd name="connsiteY30" fmla="*/ 2488368 h 5024991"/>
              <a:gd name="connsiteX31" fmla="*/ 92386 w 3889897"/>
              <a:gd name="connsiteY31" fmla="*/ 2335968 h 5024991"/>
              <a:gd name="connsiteX32" fmla="*/ 221926 w 3889897"/>
              <a:gd name="connsiteY32" fmla="*/ 2175948 h 5024991"/>
              <a:gd name="connsiteX33" fmla="*/ 282886 w 3889897"/>
              <a:gd name="connsiteY33" fmla="*/ 2084508 h 5024991"/>
              <a:gd name="connsiteX34" fmla="*/ 328606 w 3889897"/>
              <a:gd name="connsiteY34" fmla="*/ 1977828 h 5024991"/>
              <a:gd name="connsiteX35" fmla="*/ 359086 w 3889897"/>
              <a:gd name="connsiteY35" fmla="*/ 1871148 h 5024991"/>
              <a:gd name="connsiteX36" fmla="*/ 374326 w 3889897"/>
              <a:gd name="connsiteY36" fmla="*/ 1810188 h 5024991"/>
              <a:gd name="connsiteX37" fmla="*/ 343846 w 3889897"/>
              <a:gd name="connsiteY37" fmla="*/ 1756848 h 5024991"/>
              <a:gd name="connsiteX38" fmla="*/ 328606 w 3889897"/>
              <a:gd name="connsiteY38" fmla="*/ 1680648 h 5024991"/>
              <a:gd name="connsiteX39" fmla="*/ 412426 w 3889897"/>
              <a:gd name="connsiteY39" fmla="*/ 1474908 h 5024991"/>
              <a:gd name="connsiteX40" fmla="*/ 442906 w 3889897"/>
              <a:gd name="connsiteY40" fmla="*/ 1307268 h 5024991"/>
              <a:gd name="connsiteX41" fmla="*/ 465766 w 3889897"/>
              <a:gd name="connsiteY41" fmla="*/ 1192968 h 5024991"/>
              <a:gd name="connsiteX42" fmla="*/ 503866 w 3889897"/>
              <a:gd name="connsiteY42" fmla="*/ 1055808 h 5024991"/>
              <a:gd name="connsiteX43" fmla="*/ 557206 w 3889897"/>
              <a:gd name="connsiteY43" fmla="*/ 888168 h 5024991"/>
              <a:gd name="connsiteX44" fmla="*/ 503866 w 3889897"/>
              <a:gd name="connsiteY44" fmla="*/ 888168 h 5024991"/>
              <a:gd name="connsiteX45" fmla="*/ 412426 w 3889897"/>
              <a:gd name="connsiteY45" fmla="*/ 834828 h 5024991"/>
              <a:gd name="connsiteX46" fmla="*/ 328606 w 3889897"/>
              <a:gd name="connsiteY46" fmla="*/ 789108 h 5024991"/>
              <a:gd name="connsiteX47" fmla="*/ 260026 w 3889897"/>
              <a:gd name="connsiteY47" fmla="*/ 773868 h 5024991"/>
              <a:gd name="connsiteX48" fmla="*/ 214306 w 3889897"/>
              <a:gd name="connsiteY48" fmla="*/ 751008 h 5024991"/>
              <a:gd name="connsiteX49" fmla="*/ 260026 w 3889897"/>
              <a:gd name="connsiteY49" fmla="*/ 674808 h 5024991"/>
              <a:gd name="connsiteX50" fmla="*/ 374326 w 3889897"/>
              <a:gd name="connsiteY50" fmla="*/ 606228 h 5024991"/>
              <a:gd name="connsiteX51" fmla="*/ 557206 w 3889897"/>
              <a:gd name="connsiteY51" fmla="*/ 507168 h 5024991"/>
              <a:gd name="connsiteX52" fmla="*/ 656266 w 3889897"/>
              <a:gd name="connsiteY52" fmla="*/ 423348 h 5024991"/>
              <a:gd name="connsiteX53" fmla="*/ 892486 w 3889897"/>
              <a:gd name="connsiteY53" fmla="*/ 232848 h 5024991"/>
              <a:gd name="connsiteX54" fmla="*/ 1174426 w 3889897"/>
              <a:gd name="connsiteY54" fmla="*/ 80448 h 5024991"/>
              <a:gd name="connsiteX55" fmla="*/ 1593526 w 3889897"/>
              <a:gd name="connsiteY55" fmla="*/ 11868 h 5024991"/>
              <a:gd name="connsiteX56" fmla="*/ 1944046 w 3889897"/>
              <a:gd name="connsiteY56" fmla="*/ 4248 h 5024991"/>
              <a:gd name="connsiteX57" fmla="*/ 2172646 w 3889897"/>
              <a:gd name="connsiteY57" fmla="*/ 4248 h 5024991"/>
              <a:gd name="connsiteX58" fmla="*/ 2393626 w 3889897"/>
              <a:gd name="connsiteY58" fmla="*/ 57588 h 5024991"/>
              <a:gd name="connsiteX59" fmla="*/ 2667946 w 3889897"/>
              <a:gd name="connsiteY59" fmla="*/ 133788 h 5024991"/>
              <a:gd name="connsiteX60" fmla="*/ 2820346 w 3889897"/>
              <a:gd name="connsiteY60" fmla="*/ 202368 h 5024991"/>
              <a:gd name="connsiteX61" fmla="*/ 3102286 w 3889897"/>
              <a:gd name="connsiteY61" fmla="*/ 400488 h 5024991"/>
              <a:gd name="connsiteX62" fmla="*/ 3285166 w 3889897"/>
              <a:gd name="connsiteY62" fmla="*/ 651948 h 5024991"/>
              <a:gd name="connsiteX63" fmla="*/ 3407086 w 3889897"/>
              <a:gd name="connsiteY63" fmla="*/ 918648 h 5024991"/>
              <a:gd name="connsiteX64" fmla="*/ 3475666 w 3889897"/>
              <a:gd name="connsiteY64" fmla="*/ 1238688 h 5024991"/>
              <a:gd name="connsiteX65" fmla="*/ 3506146 w 3889897"/>
              <a:gd name="connsiteY65" fmla="*/ 1543488 h 5024991"/>
              <a:gd name="connsiteX66" fmla="*/ 3506146 w 3889897"/>
              <a:gd name="connsiteY66" fmla="*/ 1962588 h 5024991"/>
              <a:gd name="connsiteX67" fmla="*/ 3338506 w 3889897"/>
              <a:gd name="connsiteY67" fmla="*/ 2305488 h 5024991"/>
              <a:gd name="connsiteX68" fmla="*/ 3254686 w 3889897"/>
              <a:gd name="connsiteY68" fmla="*/ 2473128 h 5024991"/>
              <a:gd name="connsiteX69" fmla="*/ 3132766 w 3889897"/>
              <a:gd name="connsiteY69" fmla="*/ 2663628 h 5024991"/>
              <a:gd name="connsiteX70" fmla="*/ 3071806 w 3889897"/>
              <a:gd name="connsiteY70" fmla="*/ 2838888 h 5024991"/>
              <a:gd name="connsiteX71" fmla="*/ 3064186 w 3889897"/>
              <a:gd name="connsiteY71" fmla="*/ 2915088 h 5024991"/>
              <a:gd name="connsiteX72" fmla="*/ 3018466 w 3889897"/>
              <a:gd name="connsiteY72" fmla="*/ 3014148 h 5024991"/>
              <a:gd name="connsiteX73" fmla="*/ 2980366 w 3889897"/>
              <a:gd name="connsiteY73" fmla="*/ 3082728 h 5024991"/>
              <a:gd name="connsiteX74" fmla="*/ 2957506 w 3889897"/>
              <a:gd name="connsiteY74" fmla="*/ 3120828 h 5024991"/>
              <a:gd name="connsiteX75" fmla="*/ 2957506 w 3889897"/>
              <a:gd name="connsiteY75" fmla="*/ 3555168 h 5024991"/>
              <a:gd name="connsiteX76" fmla="*/ 3010846 w 3889897"/>
              <a:gd name="connsiteY76" fmla="*/ 3539928 h 5024991"/>
              <a:gd name="connsiteX77" fmla="*/ 3109906 w 3889897"/>
              <a:gd name="connsiteY77" fmla="*/ 3570408 h 5024991"/>
              <a:gd name="connsiteX78" fmla="*/ 3140386 w 3889897"/>
              <a:gd name="connsiteY78" fmla="*/ 3631368 h 5024991"/>
              <a:gd name="connsiteX79" fmla="*/ 3117526 w 3889897"/>
              <a:gd name="connsiteY79" fmla="*/ 3738048 h 5024991"/>
              <a:gd name="connsiteX80" fmla="*/ 3125146 w 3889897"/>
              <a:gd name="connsiteY80" fmla="*/ 4103808 h 5024991"/>
              <a:gd name="connsiteX81" fmla="*/ 3163246 w 3889897"/>
              <a:gd name="connsiteY81" fmla="*/ 4157148 h 5024991"/>
              <a:gd name="connsiteX82" fmla="*/ 3201346 w 3889897"/>
              <a:gd name="connsiteY82" fmla="*/ 4164768 h 5024991"/>
              <a:gd name="connsiteX83" fmla="*/ 3231826 w 3889897"/>
              <a:gd name="connsiteY83" fmla="*/ 4172388 h 5024991"/>
              <a:gd name="connsiteX84" fmla="*/ 3285166 w 3889897"/>
              <a:gd name="connsiteY84" fmla="*/ 4294308 h 5024991"/>
              <a:gd name="connsiteX85" fmla="*/ 3300406 w 3889897"/>
              <a:gd name="connsiteY85" fmla="*/ 4347648 h 5024991"/>
              <a:gd name="connsiteX86" fmla="*/ 3330886 w 3889897"/>
              <a:gd name="connsiteY86" fmla="*/ 4408608 h 5024991"/>
              <a:gd name="connsiteX87" fmla="*/ 3551866 w 3889897"/>
              <a:gd name="connsiteY87" fmla="*/ 4644828 h 5024991"/>
              <a:gd name="connsiteX88" fmla="*/ 3889897 w 3889897"/>
              <a:gd name="connsiteY88" fmla="*/ 5020326 h 5024991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163246 w 3889897"/>
              <a:gd name="connsiteY81" fmla="*/ 4157148 h 5020326"/>
              <a:gd name="connsiteX82" fmla="*/ 3201346 w 3889897"/>
              <a:gd name="connsiteY82" fmla="*/ 4164768 h 5020326"/>
              <a:gd name="connsiteX83" fmla="*/ 3231826 w 3889897"/>
              <a:gd name="connsiteY83" fmla="*/ 4172388 h 5020326"/>
              <a:gd name="connsiteX84" fmla="*/ 3285166 w 3889897"/>
              <a:gd name="connsiteY84" fmla="*/ 4294308 h 5020326"/>
              <a:gd name="connsiteX85" fmla="*/ 3300406 w 3889897"/>
              <a:gd name="connsiteY85" fmla="*/ 4347648 h 5020326"/>
              <a:gd name="connsiteX86" fmla="*/ 3330886 w 3889897"/>
              <a:gd name="connsiteY86" fmla="*/ 4408608 h 5020326"/>
              <a:gd name="connsiteX87" fmla="*/ 3551866 w 3889897"/>
              <a:gd name="connsiteY87" fmla="*/ 4644828 h 5020326"/>
              <a:gd name="connsiteX88" fmla="*/ 3889897 w 3889897"/>
              <a:gd name="connsiteY88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201346 w 3889897"/>
              <a:gd name="connsiteY81" fmla="*/ 4164768 h 5020326"/>
              <a:gd name="connsiteX82" fmla="*/ 3231826 w 3889897"/>
              <a:gd name="connsiteY82" fmla="*/ 4172388 h 5020326"/>
              <a:gd name="connsiteX83" fmla="*/ 3285166 w 3889897"/>
              <a:gd name="connsiteY83" fmla="*/ 4294308 h 5020326"/>
              <a:gd name="connsiteX84" fmla="*/ 3300406 w 3889897"/>
              <a:gd name="connsiteY84" fmla="*/ 4347648 h 5020326"/>
              <a:gd name="connsiteX85" fmla="*/ 3330886 w 3889897"/>
              <a:gd name="connsiteY85" fmla="*/ 4408608 h 5020326"/>
              <a:gd name="connsiteX86" fmla="*/ 3551866 w 3889897"/>
              <a:gd name="connsiteY86" fmla="*/ 4644828 h 5020326"/>
              <a:gd name="connsiteX87" fmla="*/ 3889897 w 3889897"/>
              <a:gd name="connsiteY87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231826 w 3889897"/>
              <a:gd name="connsiteY81" fmla="*/ 4172388 h 5020326"/>
              <a:gd name="connsiteX82" fmla="*/ 3285166 w 3889897"/>
              <a:gd name="connsiteY82" fmla="*/ 4294308 h 5020326"/>
              <a:gd name="connsiteX83" fmla="*/ 3300406 w 3889897"/>
              <a:gd name="connsiteY83" fmla="*/ 4347648 h 5020326"/>
              <a:gd name="connsiteX84" fmla="*/ 3330886 w 3889897"/>
              <a:gd name="connsiteY84" fmla="*/ 4408608 h 5020326"/>
              <a:gd name="connsiteX85" fmla="*/ 3551866 w 3889897"/>
              <a:gd name="connsiteY85" fmla="*/ 4644828 h 5020326"/>
              <a:gd name="connsiteX86" fmla="*/ 3889897 w 3889897"/>
              <a:gd name="connsiteY86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43946 w 3889897"/>
              <a:gd name="connsiteY6" fmla="*/ 3669468 h 5020326"/>
              <a:gd name="connsiteX7" fmla="*/ 1067746 w 3889897"/>
              <a:gd name="connsiteY7" fmla="*/ 3661848 h 5020326"/>
              <a:gd name="connsiteX8" fmla="*/ 938206 w 3889897"/>
              <a:gd name="connsiteY8" fmla="*/ 3669468 h 5020326"/>
              <a:gd name="connsiteX9" fmla="*/ 831526 w 3889897"/>
              <a:gd name="connsiteY9" fmla="*/ 3692328 h 5020326"/>
              <a:gd name="connsiteX10" fmla="*/ 610546 w 3889897"/>
              <a:gd name="connsiteY10" fmla="*/ 3738048 h 5020326"/>
              <a:gd name="connsiteX11" fmla="*/ 389566 w 3889897"/>
              <a:gd name="connsiteY11" fmla="*/ 3638988 h 5020326"/>
              <a:gd name="connsiteX12" fmla="*/ 381946 w 3889897"/>
              <a:gd name="connsiteY12" fmla="*/ 3326568 h 5020326"/>
              <a:gd name="connsiteX13" fmla="*/ 420046 w 3889897"/>
              <a:gd name="connsiteY13" fmla="*/ 3227508 h 5020326"/>
              <a:gd name="connsiteX14" fmla="*/ 389566 w 3889897"/>
              <a:gd name="connsiteY14" fmla="*/ 3166548 h 5020326"/>
              <a:gd name="connsiteX15" fmla="*/ 351466 w 3889897"/>
              <a:gd name="connsiteY15" fmla="*/ 3105588 h 5020326"/>
              <a:gd name="connsiteX16" fmla="*/ 397186 w 3889897"/>
              <a:gd name="connsiteY16" fmla="*/ 3021768 h 5020326"/>
              <a:gd name="connsiteX17" fmla="*/ 488626 w 3889897"/>
              <a:gd name="connsiteY17" fmla="*/ 2998908 h 5020326"/>
              <a:gd name="connsiteX18" fmla="*/ 471956 w 3889897"/>
              <a:gd name="connsiteY18" fmla="*/ 2942709 h 5020326"/>
              <a:gd name="connsiteX19" fmla="*/ 435286 w 3889897"/>
              <a:gd name="connsiteY19" fmla="*/ 2930328 h 5020326"/>
              <a:gd name="connsiteX20" fmla="*/ 389566 w 3889897"/>
              <a:gd name="connsiteY20" fmla="*/ 2930328 h 5020326"/>
              <a:gd name="connsiteX21" fmla="*/ 314000 w 3889897"/>
              <a:gd name="connsiteY21" fmla="*/ 2893495 h 5020326"/>
              <a:gd name="connsiteX22" fmla="*/ 320986 w 3889897"/>
              <a:gd name="connsiteY22" fmla="*/ 2846508 h 5020326"/>
              <a:gd name="connsiteX23" fmla="*/ 328606 w 3889897"/>
              <a:gd name="connsiteY23" fmla="*/ 2793168 h 5020326"/>
              <a:gd name="connsiteX24" fmla="*/ 313366 w 3889897"/>
              <a:gd name="connsiteY24" fmla="*/ 2732208 h 5020326"/>
              <a:gd name="connsiteX25" fmla="*/ 267646 w 3889897"/>
              <a:gd name="connsiteY25" fmla="*/ 2671248 h 5020326"/>
              <a:gd name="connsiteX26" fmla="*/ 176206 w 3889897"/>
              <a:gd name="connsiteY26" fmla="*/ 2656008 h 5020326"/>
              <a:gd name="connsiteX27" fmla="*/ 54286 w 3889897"/>
              <a:gd name="connsiteY27" fmla="*/ 2610288 h 5020326"/>
              <a:gd name="connsiteX28" fmla="*/ 7931 w 3889897"/>
              <a:gd name="connsiteY28" fmla="*/ 2563298 h 5020326"/>
              <a:gd name="connsiteX29" fmla="*/ 8566 w 3889897"/>
              <a:gd name="connsiteY29" fmla="*/ 2488368 h 5020326"/>
              <a:gd name="connsiteX30" fmla="*/ 92386 w 3889897"/>
              <a:gd name="connsiteY30" fmla="*/ 2335968 h 5020326"/>
              <a:gd name="connsiteX31" fmla="*/ 221926 w 3889897"/>
              <a:gd name="connsiteY31" fmla="*/ 2175948 h 5020326"/>
              <a:gd name="connsiteX32" fmla="*/ 282886 w 3889897"/>
              <a:gd name="connsiteY32" fmla="*/ 2084508 h 5020326"/>
              <a:gd name="connsiteX33" fmla="*/ 328606 w 3889897"/>
              <a:gd name="connsiteY33" fmla="*/ 1977828 h 5020326"/>
              <a:gd name="connsiteX34" fmla="*/ 359086 w 3889897"/>
              <a:gd name="connsiteY34" fmla="*/ 1871148 h 5020326"/>
              <a:gd name="connsiteX35" fmla="*/ 374326 w 3889897"/>
              <a:gd name="connsiteY35" fmla="*/ 1810188 h 5020326"/>
              <a:gd name="connsiteX36" fmla="*/ 343846 w 3889897"/>
              <a:gd name="connsiteY36" fmla="*/ 1756848 h 5020326"/>
              <a:gd name="connsiteX37" fmla="*/ 328606 w 3889897"/>
              <a:gd name="connsiteY37" fmla="*/ 1680648 h 5020326"/>
              <a:gd name="connsiteX38" fmla="*/ 412426 w 3889897"/>
              <a:gd name="connsiteY38" fmla="*/ 1474908 h 5020326"/>
              <a:gd name="connsiteX39" fmla="*/ 442906 w 3889897"/>
              <a:gd name="connsiteY39" fmla="*/ 1307268 h 5020326"/>
              <a:gd name="connsiteX40" fmla="*/ 465766 w 3889897"/>
              <a:gd name="connsiteY40" fmla="*/ 1192968 h 5020326"/>
              <a:gd name="connsiteX41" fmla="*/ 503866 w 3889897"/>
              <a:gd name="connsiteY41" fmla="*/ 1055808 h 5020326"/>
              <a:gd name="connsiteX42" fmla="*/ 557206 w 3889897"/>
              <a:gd name="connsiteY42" fmla="*/ 888168 h 5020326"/>
              <a:gd name="connsiteX43" fmla="*/ 503866 w 3889897"/>
              <a:gd name="connsiteY43" fmla="*/ 888168 h 5020326"/>
              <a:gd name="connsiteX44" fmla="*/ 412426 w 3889897"/>
              <a:gd name="connsiteY44" fmla="*/ 834828 h 5020326"/>
              <a:gd name="connsiteX45" fmla="*/ 328606 w 3889897"/>
              <a:gd name="connsiteY45" fmla="*/ 789108 h 5020326"/>
              <a:gd name="connsiteX46" fmla="*/ 260026 w 3889897"/>
              <a:gd name="connsiteY46" fmla="*/ 773868 h 5020326"/>
              <a:gd name="connsiteX47" fmla="*/ 214306 w 3889897"/>
              <a:gd name="connsiteY47" fmla="*/ 751008 h 5020326"/>
              <a:gd name="connsiteX48" fmla="*/ 260026 w 3889897"/>
              <a:gd name="connsiteY48" fmla="*/ 674808 h 5020326"/>
              <a:gd name="connsiteX49" fmla="*/ 374326 w 3889897"/>
              <a:gd name="connsiteY49" fmla="*/ 606228 h 5020326"/>
              <a:gd name="connsiteX50" fmla="*/ 557206 w 3889897"/>
              <a:gd name="connsiteY50" fmla="*/ 507168 h 5020326"/>
              <a:gd name="connsiteX51" fmla="*/ 656266 w 3889897"/>
              <a:gd name="connsiteY51" fmla="*/ 423348 h 5020326"/>
              <a:gd name="connsiteX52" fmla="*/ 892486 w 3889897"/>
              <a:gd name="connsiteY52" fmla="*/ 232848 h 5020326"/>
              <a:gd name="connsiteX53" fmla="*/ 1174426 w 3889897"/>
              <a:gd name="connsiteY53" fmla="*/ 80448 h 5020326"/>
              <a:gd name="connsiteX54" fmla="*/ 1593526 w 3889897"/>
              <a:gd name="connsiteY54" fmla="*/ 11868 h 5020326"/>
              <a:gd name="connsiteX55" fmla="*/ 1944046 w 3889897"/>
              <a:gd name="connsiteY55" fmla="*/ 4248 h 5020326"/>
              <a:gd name="connsiteX56" fmla="*/ 2172646 w 3889897"/>
              <a:gd name="connsiteY56" fmla="*/ 4248 h 5020326"/>
              <a:gd name="connsiteX57" fmla="*/ 2393626 w 3889897"/>
              <a:gd name="connsiteY57" fmla="*/ 57588 h 5020326"/>
              <a:gd name="connsiteX58" fmla="*/ 2667946 w 3889897"/>
              <a:gd name="connsiteY58" fmla="*/ 133788 h 5020326"/>
              <a:gd name="connsiteX59" fmla="*/ 2820346 w 3889897"/>
              <a:gd name="connsiteY59" fmla="*/ 202368 h 5020326"/>
              <a:gd name="connsiteX60" fmla="*/ 3102286 w 3889897"/>
              <a:gd name="connsiteY60" fmla="*/ 400488 h 5020326"/>
              <a:gd name="connsiteX61" fmla="*/ 3285166 w 3889897"/>
              <a:gd name="connsiteY61" fmla="*/ 651948 h 5020326"/>
              <a:gd name="connsiteX62" fmla="*/ 3407086 w 3889897"/>
              <a:gd name="connsiteY62" fmla="*/ 918648 h 5020326"/>
              <a:gd name="connsiteX63" fmla="*/ 3475666 w 3889897"/>
              <a:gd name="connsiteY63" fmla="*/ 1238688 h 5020326"/>
              <a:gd name="connsiteX64" fmla="*/ 3506146 w 3889897"/>
              <a:gd name="connsiteY64" fmla="*/ 1543488 h 5020326"/>
              <a:gd name="connsiteX65" fmla="*/ 3506146 w 3889897"/>
              <a:gd name="connsiteY65" fmla="*/ 1962588 h 5020326"/>
              <a:gd name="connsiteX66" fmla="*/ 3338506 w 3889897"/>
              <a:gd name="connsiteY66" fmla="*/ 2305488 h 5020326"/>
              <a:gd name="connsiteX67" fmla="*/ 3254686 w 3889897"/>
              <a:gd name="connsiteY67" fmla="*/ 2473128 h 5020326"/>
              <a:gd name="connsiteX68" fmla="*/ 3132766 w 3889897"/>
              <a:gd name="connsiteY68" fmla="*/ 2663628 h 5020326"/>
              <a:gd name="connsiteX69" fmla="*/ 3071806 w 3889897"/>
              <a:gd name="connsiteY69" fmla="*/ 2838888 h 5020326"/>
              <a:gd name="connsiteX70" fmla="*/ 3064186 w 3889897"/>
              <a:gd name="connsiteY70" fmla="*/ 2915088 h 5020326"/>
              <a:gd name="connsiteX71" fmla="*/ 3018466 w 3889897"/>
              <a:gd name="connsiteY71" fmla="*/ 3014148 h 5020326"/>
              <a:gd name="connsiteX72" fmla="*/ 2980366 w 3889897"/>
              <a:gd name="connsiteY72" fmla="*/ 3082728 h 5020326"/>
              <a:gd name="connsiteX73" fmla="*/ 2957506 w 3889897"/>
              <a:gd name="connsiteY73" fmla="*/ 3120828 h 5020326"/>
              <a:gd name="connsiteX74" fmla="*/ 2957506 w 3889897"/>
              <a:gd name="connsiteY74" fmla="*/ 3555168 h 5020326"/>
              <a:gd name="connsiteX75" fmla="*/ 3010846 w 3889897"/>
              <a:gd name="connsiteY75" fmla="*/ 3539928 h 5020326"/>
              <a:gd name="connsiteX76" fmla="*/ 3109906 w 3889897"/>
              <a:gd name="connsiteY76" fmla="*/ 3570408 h 5020326"/>
              <a:gd name="connsiteX77" fmla="*/ 3140386 w 3889897"/>
              <a:gd name="connsiteY77" fmla="*/ 3631368 h 5020326"/>
              <a:gd name="connsiteX78" fmla="*/ 3117526 w 3889897"/>
              <a:gd name="connsiteY78" fmla="*/ 3738048 h 5020326"/>
              <a:gd name="connsiteX79" fmla="*/ 3125146 w 3889897"/>
              <a:gd name="connsiteY79" fmla="*/ 4103808 h 5020326"/>
              <a:gd name="connsiteX80" fmla="*/ 3231826 w 3889897"/>
              <a:gd name="connsiteY80" fmla="*/ 4172388 h 5020326"/>
              <a:gd name="connsiteX81" fmla="*/ 3285166 w 3889897"/>
              <a:gd name="connsiteY81" fmla="*/ 4294308 h 5020326"/>
              <a:gd name="connsiteX82" fmla="*/ 3300406 w 3889897"/>
              <a:gd name="connsiteY82" fmla="*/ 4347648 h 5020326"/>
              <a:gd name="connsiteX83" fmla="*/ 3330886 w 3889897"/>
              <a:gd name="connsiteY83" fmla="*/ 4408608 h 5020326"/>
              <a:gd name="connsiteX84" fmla="*/ 3551866 w 3889897"/>
              <a:gd name="connsiteY84" fmla="*/ 4644828 h 5020326"/>
              <a:gd name="connsiteX85" fmla="*/ 3889897 w 3889897"/>
              <a:gd name="connsiteY85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43946 w 3889897"/>
              <a:gd name="connsiteY6" fmla="*/ 3669468 h 5020326"/>
              <a:gd name="connsiteX7" fmla="*/ 1067746 w 3889897"/>
              <a:gd name="connsiteY7" fmla="*/ 3661848 h 5020326"/>
              <a:gd name="connsiteX8" fmla="*/ 938206 w 3889897"/>
              <a:gd name="connsiteY8" fmla="*/ 3669468 h 5020326"/>
              <a:gd name="connsiteX9" fmla="*/ 831526 w 3889897"/>
              <a:gd name="connsiteY9" fmla="*/ 3692328 h 5020326"/>
              <a:gd name="connsiteX10" fmla="*/ 610546 w 3889897"/>
              <a:gd name="connsiteY10" fmla="*/ 3738048 h 5020326"/>
              <a:gd name="connsiteX11" fmla="*/ 389566 w 3889897"/>
              <a:gd name="connsiteY11" fmla="*/ 3638988 h 5020326"/>
              <a:gd name="connsiteX12" fmla="*/ 381946 w 3889897"/>
              <a:gd name="connsiteY12" fmla="*/ 3326568 h 5020326"/>
              <a:gd name="connsiteX13" fmla="*/ 420046 w 3889897"/>
              <a:gd name="connsiteY13" fmla="*/ 3227508 h 5020326"/>
              <a:gd name="connsiteX14" fmla="*/ 389566 w 3889897"/>
              <a:gd name="connsiteY14" fmla="*/ 3166548 h 5020326"/>
              <a:gd name="connsiteX15" fmla="*/ 351466 w 3889897"/>
              <a:gd name="connsiteY15" fmla="*/ 3105588 h 5020326"/>
              <a:gd name="connsiteX16" fmla="*/ 397186 w 3889897"/>
              <a:gd name="connsiteY16" fmla="*/ 3021768 h 5020326"/>
              <a:gd name="connsiteX17" fmla="*/ 488626 w 3889897"/>
              <a:gd name="connsiteY17" fmla="*/ 2998908 h 5020326"/>
              <a:gd name="connsiteX18" fmla="*/ 471956 w 3889897"/>
              <a:gd name="connsiteY18" fmla="*/ 2942709 h 5020326"/>
              <a:gd name="connsiteX19" fmla="*/ 435286 w 3889897"/>
              <a:gd name="connsiteY19" fmla="*/ 2930328 h 5020326"/>
              <a:gd name="connsiteX20" fmla="*/ 389566 w 3889897"/>
              <a:gd name="connsiteY20" fmla="*/ 2930328 h 5020326"/>
              <a:gd name="connsiteX21" fmla="*/ 314000 w 3889897"/>
              <a:gd name="connsiteY21" fmla="*/ 2893495 h 5020326"/>
              <a:gd name="connsiteX22" fmla="*/ 320986 w 3889897"/>
              <a:gd name="connsiteY22" fmla="*/ 2846508 h 5020326"/>
              <a:gd name="connsiteX23" fmla="*/ 328606 w 3889897"/>
              <a:gd name="connsiteY23" fmla="*/ 2793168 h 5020326"/>
              <a:gd name="connsiteX24" fmla="*/ 313366 w 3889897"/>
              <a:gd name="connsiteY24" fmla="*/ 2732208 h 5020326"/>
              <a:gd name="connsiteX25" fmla="*/ 267646 w 3889897"/>
              <a:gd name="connsiteY25" fmla="*/ 2671248 h 5020326"/>
              <a:gd name="connsiteX26" fmla="*/ 176206 w 3889897"/>
              <a:gd name="connsiteY26" fmla="*/ 2656008 h 5020326"/>
              <a:gd name="connsiteX27" fmla="*/ 54286 w 3889897"/>
              <a:gd name="connsiteY27" fmla="*/ 2610288 h 5020326"/>
              <a:gd name="connsiteX28" fmla="*/ 7931 w 3889897"/>
              <a:gd name="connsiteY28" fmla="*/ 2563298 h 5020326"/>
              <a:gd name="connsiteX29" fmla="*/ 8566 w 3889897"/>
              <a:gd name="connsiteY29" fmla="*/ 2488368 h 5020326"/>
              <a:gd name="connsiteX30" fmla="*/ 92386 w 3889897"/>
              <a:gd name="connsiteY30" fmla="*/ 2335968 h 5020326"/>
              <a:gd name="connsiteX31" fmla="*/ 221926 w 3889897"/>
              <a:gd name="connsiteY31" fmla="*/ 2175948 h 5020326"/>
              <a:gd name="connsiteX32" fmla="*/ 282886 w 3889897"/>
              <a:gd name="connsiteY32" fmla="*/ 2084508 h 5020326"/>
              <a:gd name="connsiteX33" fmla="*/ 328606 w 3889897"/>
              <a:gd name="connsiteY33" fmla="*/ 1977828 h 5020326"/>
              <a:gd name="connsiteX34" fmla="*/ 359086 w 3889897"/>
              <a:gd name="connsiteY34" fmla="*/ 1871148 h 5020326"/>
              <a:gd name="connsiteX35" fmla="*/ 374326 w 3889897"/>
              <a:gd name="connsiteY35" fmla="*/ 1810188 h 5020326"/>
              <a:gd name="connsiteX36" fmla="*/ 343846 w 3889897"/>
              <a:gd name="connsiteY36" fmla="*/ 1756848 h 5020326"/>
              <a:gd name="connsiteX37" fmla="*/ 328606 w 3889897"/>
              <a:gd name="connsiteY37" fmla="*/ 1680648 h 5020326"/>
              <a:gd name="connsiteX38" fmla="*/ 412426 w 3889897"/>
              <a:gd name="connsiteY38" fmla="*/ 1474908 h 5020326"/>
              <a:gd name="connsiteX39" fmla="*/ 442906 w 3889897"/>
              <a:gd name="connsiteY39" fmla="*/ 1307268 h 5020326"/>
              <a:gd name="connsiteX40" fmla="*/ 465766 w 3889897"/>
              <a:gd name="connsiteY40" fmla="*/ 1192968 h 5020326"/>
              <a:gd name="connsiteX41" fmla="*/ 503866 w 3889897"/>
              <a:gd name="connsiteY41" fmla="*/ 1055808 h 5020326"/>
              <a:gd name="connsiteX42" fmla="*/ 557206 w 3889897"/>
              <a:gd name="connsiteY42" fmla="*/ 888168 h 5020326"/>
              <a:gd name="connsiteX43" fmla="*/ 503866 w 3889897"/>
              <a:gd name="connsiteY43" fmla="*/ 888168 h 5020326"/>
              <a:gd name="connsiteX44" fmla="*/ 412426 w 3889897"/>
              <a:gd name="connsiteY44" fmla="*/ 834828 h 5020326"/>
              <a:gd name="connsiteX45" fmla="*/ 328606 w 3889897"/>
              <a:gd name="connsiteY45" fmla="*/ 789108 h 5020326"/>
              <a:gd name="connsiteX46" fmla="*/ 260026 w 3889897"/>
              <a:gd name="connsiteY46" fmla="*/ 773868 h 5020326"/>
              <a:gd name="connsiteX47" fmla="*/ 214306 w 3889897"/>
              <a:gd name="connsiteY47" fmla="*/ 751008 h 5020326"/>
              <a:gd name="connsiteX48" fmla="*/ 260026 w 3889897"/>
              <a:gd name="connsiteY48" fmla="*/ 674808 h 5020326"/>
              <a:gd name="connsiteX49" fmla="*/ 374326 w 3889897"/>
              <a:gd name="connsiteY49" fmla="*/ 606228 h 5020326"/>
              <a:gd name="connsiteX50" fmla="*/ 557206 w 3889897"/>
              <a:gd name="connsiteY50" fmla="*/ 507168 h 5020326"/>
              <a:gd name="connsiteX51" fmla="*/ 656266 w 3889897"/>
              <a:gd name="connsiteY51" fmla="*/ 423348 h 5020326"/>
              <a:gd name="connsiteX52" fmla="*/ 892486 w 3889897"/>
              <a:gd name="connsiteY52" fmla="*/ 232848 h 5020326"/>
              <a:gd name="connsiteX53" fmla="*/ 1174426 w 3889897"/>
              <a:gd name="connsiteY53" fmla="*/ 80448 h 5020326"/>
              <a:gd name="connsiteX54" fmla="*/ 1593526 w 3889897"/>
              <a:gd name="connsiteY54" fmla="*/ 11868 h 5020326"/>
              <a:gd name="connsiteX55" fmla="*/ 1944046 w 3889897"/>
              <a:gd name="connsiteY55" fmla="*/ 4248 h 5020326"/>
              <a:gd name="connsiteX56" fmla="*/ 2172646 w 3889897"/>
              <a:gd name="connsiteY56" fmla="*/ 4248 h 5020326"/>
              <a:gd name="connsiteX57" fmla="*/ 2393626 w 3889897"/>
              <a:gd name="connsiteY57" fmla="*/ 57588 h 5020326"/>
              <a:gd name="connsiteX58" fmla="*/ 2667946 w 3889897"/>
              <a:gd name="connsiteY58" fmla="*/ 133788 h 5020326"/>
              <a:gd name="connsiteX59" fmla="*/ 2820346 w 3889897"/>
              <a:gd name="connsiteY59" fmla="*/ 202368 h 5020326"/>
              <a:gd name="connsiteX60" fmla="*/ 3102286 w 3889897"/>
              <a:gd name="connsiteY60" fmla="*/ 400488 h 5020326"/>
              <a:gd name="connsiteX61" fmla="*/ 3285166 w 3889897"/>
              <a:gd name="connsiteY61" fmla="*/ 651948 h 5020326"/>
              <a:gd name="connsiteX62" fmla="*/ 3407086 w 3889897"/>
              <a:gd name="connsiteY62" fmla="*/ 918648 h 5020326"/>
              <a:gd name="connsiteX63" fmla="*/ 3475666 w 3889897"/>
              <a:gd name="connsiteY63" fmla="*/ 1238688 h 5020326"/>
              <a:gd name="connsiteX64" fmla="*/ 3506146 w 3889897"/>
              <a:gd name="connsiteY64" fmla="*/ 1543488 h 5020326"/>
              <a:gd name="connsiteX65" fmla="*/ 3506146 w 3889897"/>
              <a:gd name="connsiteY65" fmla="*/ 1962588 h 5020326"/>
              <a:gd name="connsiteX66" fmla="*/ 3338506 w 3889897"/>
              <a:gd name="connsiteY66" fmla="*/ 2305488 h 5020326"/>
              <a:gd name="connsiteX67" fmla="*/ 3254686 w 3889897"/>
              <a:gd name="connsiteY67" fmla="*/ 2473128 h 5020326"/>
              <a:gd name="connsiteX68" fmla="*/ 3132766 w 3889897"/>
              <a:gd name="connsiteY68" fmla="*/ 2663628 h 5020326"/>
              <a:gd name="connsiteX69" fmla="*/ 3071806 w 3889897"/>
              <a:gd name="connsiteY69" fmla="*/ 2838888 h 5020326"/>
              <a:gd name="connsiteX70" fmla="*/ 3064186 w 3889897"/>
              <a:gd name="connsiteY70" fmla="*/ 2915088 h 5020326"/>
              <a:gd name="connsiteX71" fmla="*/ 3018466 w 3889897"/>
              <a:gd name="connsiteY71" fmla="*/ 3014148 h 5020326"/>
              <a:gd name="connsiteX72" fmla="*/ 2980366 w 3889897"/>
              <a:gd name="connsiteY72" fmla="*/ 3082728 h 5020326"/>
              <a:gd name="connsiteX73" fmla="*/ 2957506 w 3889897"/>
              <a:gd name="connsiteY73" fmla="*/ 3120828 h 5020326"/>
              <a:gd name="connsiteX74" fmla="*/ 2957506 w 3889897"/>
              <a:gd name="connsiteY74" fmla="*/ 3555168 h 5020326"/>
              <a:gd name="connsiteX75" fmla="*/ 3010846 w 3889897"/>
              <a:gd name="connsiteY75" fmla="*/ 3539928 h 5020326"/>
              <a:gd name="connsiteX76" fmla="*/ 3109906 w 3889897"/>
              <a:gd name="connsiteY76" fmla="*/ 3570408 h 5020326"/>
              <a:gd name="connsiteX77" fmla="*/ 3140386 w 3889897"/>
              <a:gd name="connsiteY77" fmla="*/ 3631368 h 5020326"/>
              <a:gd name="connsiteX78" fmla="*/ 3117526 w 3889897"/>
              <a:gd name="connsiteY78" fmla="*/ 3738048 h 5020326"/>
              <a:gd name="connsiteX79" fmla="*/ 3125146 w 3889897"/>
              <a:gd name="connsiteY79" fmla="*/ 4103808 h 5020326"/>
              <a:gd name="connsiteX80" fmla="*/ 3231826 w 3889897"/>
              <a:gd name="connsiteY80" fmla="*/ 4172388 h 5020326"/>
              <a:gd name="connsiteX81" fmla="*/ 3285166 w 3889897"/>
              <a:gd name="connsiteY81" fmla="*/ 4294308 h 5020326"/>
              <a:gd name="connsiteX82" fmla="*/ 3330886 w 3889897"/>
              <a:gd name="connsiteY82" fmla="*/ 4408608 h 5020326"/>
              <a:gd name="connsiteX83" fmla="*/ 3551866 w 3889897"/>
              <a:gd name="connsiteY83" fmla="*/ 4644828 h 5020326"/>
              <a:gd name="connsiteX84" fmla="*/ 3889897 w 3889897"/>
              <a:gd name="connsiteY84" fmla="*/ 5020326 h 5020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3889897" h="5020326">
                <a:moveTo>
                  <a:pt x="712990" y="5019479"/>
                </a:moveTo>
                <a:cubicBezTo>
                  <a:pt x="766965" y="4944867"/>
                  <a:pt x="856220" y="4786010"/>
                  <a:pt x="961066" y="4644828"/>
                </a:cubicBezTo>
                <a:cubicBezTo>
                  <a:pt x="1065912" y="4503646"/>
                  <a:pt x="1292536" y="4277798"/>
                  <a:pt x="1342066" y="4172388"/>
                </a:cubicBezTo>
                <a:cubicBezTo>
                  <a:pt x="1391596" y="4066978"/>
                  <a:pt x="1281106" y="4053008"/>
                  <a:pt x="1258246" y="4012368"/>
                </a:cubicBezTo>
                <a:cubicBezTo>
                  <a:pt x="1235386" y="3971728"/>
                  <a:pt x="1218876" y="3969188"/>
                  <a:pt x="1204906" y="3928548"/>
                </a:cubicBezTo>
                <a:cubicBezTo>
                  <a:pt x="1190936" y="3887908"/>
                  <a:pt x="1184586" y="3811708"/>
                  <a:pt x="1174426" y="3768528"/>
                </a:cubicBezTo>
                <a:cubicBezTo>
                  <a:pt x="1164266" y="3725348"/>
                  <a:pt x="1161726" y="3687248"/>
                  <a:pt x="1143946" y="3669468"/>
                </a:cubicBezTo>
                <a:cubicBezTo>
                  <a:pt x="1126166" y="3651688"/>
                  <a:pt x="1102036" y="3661848"/>
                  <a:pt x="1067746" y="3661848"/>
                </a:cubicBezTo>
                <a:cubicBezTo>
                  <a:pt x="1033456" y="3661848"/>
                  <a:pt x="977576" y="3664388"/>
                  <a:pt x="938206" y="3669468"/>
                </a:cubicBezTo>
                <a:cubicBezTo>
                  <a:pt x="898836" y="3674548"/>
                  <a:pt x="831526" y="3692328"/>
                  <a:pt x="831526" y="3692328"/>
                </a:cubicBezTo>
                <a:cubicBezTo>
                  <a:pt x="776916" y="3703758"/>
                  <a:pt x="684206" y="3746938"/>
                  <a:pt x="610546" y="3738048"/>
                </a:cubicBezTo>
                <a:cubicBezTo>
                  <a:pt x="536886" y="3729158"/>
                  <a:pt x="427666" y="3707568"/>
                  <a:pt x="389566" y="3638988"/>
                </a:cubicBezTo>
                <a:cubicBezTo>
                  <a:pt x="351466" y="3570408"/>
                  <a:pt x="376866" y="3395148"/>
                  <a:pt x="381946" y="3326568"/>
                </a:cubicBezTo>
                <a:cubicBezTo>
                  <a:pt x="387026" y="3257988"/>
                  <a:pt x="418776" y="3254178"/>
                  <a:pt x="420046" y="3227508"/>
                </a:cubicBezTo>
                <a:cubicBezTo>
                  <a:pt x="421316" y="3200838"/>
                  <a:pt x="400996" y="3186868"/>
                  <a:pt x="389566" y="3166548"/>
                </a:cubicBezTo>
                <a:cubicBezTo>
                  <a:pt x="378136" y="3146228"/>
                  <a:pt x="350196" y="3129718"/>
                  <a:pt x="351466" y="3105588"/>
                </a:cubicBezTo>
                <a:cubicBezTo>
                  <a:pt x="352736" y="3081458"/>
                  <a:pt x="374326" y="3039548"/>
                  <a:pt x="397186" y="3021768"/>
                </a:cubicBezTo>
                <a:cubicBezTo>
                  <a:pt x="420046" y="3003988"/>
                  <a:pt x="476164" y="3012084"/>
                  <a:pt x="488626" y="2998908"/>
                </a:cubicBezTo>
                <a:cubicBezTo>
                  <a:pt x="501088" y="2985732"/>
                  <a:pt x="480846" y="2954139"/>
                  <a:pt x="471956" y="2942709"/>
                </a:cubicBezTo>
                <a:cubicBezTo>
                  <a:pt x="463066" y="2931279"/>
                  <a:pt x="449018" y="2932392"/>
                  <a:pt x="435286" y="2930328"/>
                </a:cubicBezTo>
                <a:cubicBezTo>
                  <a:pt x="421554" y="2928265"/>
                  <a:pt x="409780" y="2936467"/>
                  <a:pt x="389566" y="2930328"/>
                </a:cubicBezTo>
                <a:cubicBezTo>
                  <a:pt x="369352" y="2924189"/>
                  <a:pt x="325430" y="2907465"/>
                  <a:pt x="314000" y="2893495"/>
                </a:cubicBezTo>
                <a:cubicBezTo>
                  <a:pt x="302570" y="2879525"/>
                  <a:pt x="318552" y="2863229"/>
                  <a:pt x="320986" y="2846508"/>
                </a:cubicBezTo>
                <a:cubicBezTo>
                  <a:pt x="323420" y="2829787"/>
                  <a:pt x="329876" y="2812218"/>
                  <a:pt x="328606" y="2793168"/>
                </a:cubicBezTo>
                <a:cubicBezTo>
                  <a:pt x="327336" y="2774118"/>
                  <a:pt x="323526" y="2752528"/>
                  <a:pt x="313366" y="2732208"/>
                </a:cubicBezTo>
                <a:cubicBezTo>
                  <a:pt x="303206" y="2711888"/>
                  <a:pt x="290506" y="2683948"/>
                  <a:pt x="267646" y="2671248"/>
                </a:cubicBezTo>
                <a:cubicBezTo>
                  <a:pt x="244786" y="2658548"/>
                  <a:pt x="211766" y="2666168"/>
                  <a:pt x="176206" y="2656008"/>
                </a:cubicBezTo>
                <a:cubicBezTo>
                  <a:pt x="140646" y="2645848"/>
                  <a:pt x="82332" y="2625740"/>
                  <a:pt x="54286" y="2610288"/>
                </a:cubicBezTo>
                <a:cubicBezTo>
                  <a:pt x="26240" y="2594836"/>
                  <a:pt x="15551" y="2583618"/>
                  <a:pt x="7931" y="2563298"/>
                </a:cubicBezTo>
                <a:cubicBezTo>
                  <a:pt x="311" y="2542978"/>
                  <a:pt x="-5510" y="2526256"/>
                  <a:pt x="8566" y="2488368"/>
                </a:cubicBezTo>
                <a:cubicBezTo>
                  <a:pt x="22642" y="2450480"/>
                  <a:pt x="56826" y="2388038"/>
                  <a:pt x="92386" y="2335968"/>
                </a:cubicBezTo>
                <a:cubicBezTo>
                  <a:pt x="127946" y="2283898"/>
                  <a:pt x="190176" y="2217858"/>
                  <a:pt x="221926" y="2175948"/>
                </a:cubicBezTo>
                <a:cubicBezTo>
                  <a:pt x="253676" y="2134038"/>
                  <a:pt x="265106" y="2117528"/>
                  <a:pt x="282886" y="2084508"/>
                </a:cubicBezTo>
                <a:cubicBezTo>
                  <a:pt x="300666" y="2051488"/>
                  <a:pt x="315906" y="2013388"/>
                  <a:pt x="328606" y="1977828"/>
                </a:cubicBezTo>
                <a:cubicBezTo>
                  <a:pt x="341306" y="1942268"/>
                  <a:pt x="351466" y="1899088"/>
                  <a:pt x="359086" y="1871148"/>
                </a:cubicBezTo>
                <a:cubicBezTo>
                  <a:pt x="366706" y="1843208"/>
                  <a:pt x="376866" y="1829238"/>
                  <a:pt x="374326" y="1810188"/>
                </a:cubicBezTo>
                <a:cubicBezTo>
                  <a:pt x="371786" y="1791138"/>
                  <a:pt x="351466" y="1778438"/>
                  <a:pt x="343846" y="1756848"/>
                </a:cubicBezTo>
                <a:cubicBezTo>
                  <a:pt x="336226" y="1735258"/>
                  <a:pt x="317176" y="1727638"/>
                  <a:pt x="328606" y="1680648"/>
                </a:cubicBezTo>
                <a:cubicBezTo>
                  <a:pt x="340036" y="1633658"/>
                  <a:pt x="393376" y="1537138"/>
                  <a:pt x="412426" y="1474908"/>
                </a:cubicBezTo>
                <a:cubicBezTo>
                  <a:pt x="431476" y="1412678"/>
                  <a:pt x="434016" y="1354258"/>
                  <a:pt x="442906" y="1307268"/>
                </a:cubicBezTo>
                <a:cubicBezTo>
                  <a:pt x="451796" y="1260278"/>
                  <a:pt x="455606" y="1234878"/>
                  <a:pt x="465766" y="1192968"/>
                </a:cubicBezTo>
                <a:cubicBezTo>
                  <a:pt x="475926" y="1151058"/>
                  <a:pt x="488626" y="1106608"/>
                  <a:pt x="503866" y="1055808"/>
                </a:cubicBezTo>
                <a:cubicBezTo>
                  <a:pt x="519106" y="1005008"/>
                  <a:pt x="557206" y="916108"/>
                  <a:pt x="557206" y="888168"/>
                </a:cubicBezTo>
                <a:cubicBezTo>
                  <a:pt x="557206" y="860228"/>
                  <a:pt x="527996" y="897058"/>
                  <a:pt x="503866" y="888168"/>
                </a:cubicBezTo>
                <a:cubicBezTo>
                  <a:pt x="479736" y="879278"/>
                  <a:pt x="441636" y="851338"/>
                  <a:pt x="412426" y="834828"/>
                </a:cubicBezTo>
                <a:cubicBezTo>
                  <a:pt x="383216" y="818318"/>
                  <a:pt x="354006" y="799268"/>
                  <a:pt x="328606" y="789108"/>
                </a:cubicBezTo>
                <a:cubicBezTo>
                  <a:pt x="303206" y="778948"/>
                  <a:pt x="279076" y="780218"/>
                  <a:pt x="260026" y="773868"/>
                </a:cubicBezTo>
                <a:cubicBezTo>
                  <a:pt x="240976" y="767518"/>
                  <a:pt x="214306" y="767518"/>
                  <a:pt x="214306" y="751008"/>
                </a:cubicBezTo>
                <a:cubicBezTo>
                  <a:pt x="214306" y="734498"/>
                  <a:pt x="233356" y="698938"/>
                  <a:pt x="260026" y="674808"/>
                </a:cubicBezTo>
                <a:cubicBezTo>
                  <a:pt x="286696" y="650678"/>
                  <a:pt x="324796" y="634168"/>
                  <a:pt x="374326" y="606228"/>
                </a:cubicBezTo>
                <a:cubicBezTo>
                  <a:pt x="423856" y="578288"/>
                  <a:pt x="510216" y="537648"/>
                  <a:pt x="557206" y="507168"/>
                </a:cubicBezTo>
                <a:cubicBezTo>
                  <a:pt x="604196" y="476688"/>
                  <a:pt x="600386" y="469068"/>
                  <a:pt x="656266" y="423348"/>
                </a:cubicBezTo>
                <a:cubicBezTo>
                  <a:pt x="712146" y="377628"/>
                  <a:pt x="806126" y="289998"/>
                  <a:pt x="892486" y="232848"/>
                </a:cubicBezTo>
                <a:cubicBezTo>
                  <a:pt x="978846" y="175698"/>
                  <a:pt x="1057586" y="117278"/>
                  <a:pt x="1174426" y="80448"/>
                </a:cubicBezTo>
                <a:cubicBezTo>
                  <a:pt x="1291266" y="43618"/>
                  <a:pt x="1465256" y="24568"/>
                  <a:pt x="1593526" y="11868"/>
                </a:cubicBezTo>
                <a:cubicBezTo>
                  <a:pt x="1721796" y="-832"/>
                  <a:pt x="1847526" y="5518"/>
                  <a:pt x="1944046" y="4248"/>
                </a:cubicBezTo>
                <a:cubicBezTo>
                  <a:pt x="2040566" y="2978"/>
                  <a:pt x="2097716" y="-4642"/>
                  <a:pt x="2172646" y="4248"/>
                </a:cubicBezTo>
                <a:cubicBezTo>
                  <a:pt x="2247576" y="13138"/>
                  <a:pt x="2311076" y="35998"/>
                  <a:pt x="2393626" y="57588"/>
                </a:cubicBezTo>
                <a:cubicBezTo>
                  <a:pt x="2476176" y="79178"/>
                  <a:pt x="2596826" y="109658"/>
                  <a:pt x="2667946" y="133788"/>
                </a:cubicBezTo>
                <a:cubicBezTo>
                  <a:pt x="2739066" y="157918"/>
                  <a:pt x="2747956" y="157918"/>
                  <a:pt x="2820346" y="202368"/>
                </a:cubicBezTo>
                <a:cubicBezTo>
                  <a:pt x="2892736" y="246818"/>
                  <a:pt x="3024816" y="325558"/>
                  <a:pt x="3102286" y="400488"/>
                </a:cubicBezTo>
                <a:cubicBezTo>
                  <a:pt x="3179756" y="475418"/>
                  <a:pt x="3234366" y="565588"/>
                  <a:pt x="3285166" y="651948"/>
                </a:cubicBezTo>
                <a:cubicBezTo>
                  <a:pt x="3335966" y="738308"/>
                  <a:pt x="3375336" y="820858"/>
                  <a:pt x="3407086" y="918648"/>
                </a:cubicBezTo>
                <a:cubicBezTo>
                  <a:pt x="3438836" y="1016438"/>
                  <a:pt x="3459156" y="1134548"/>
                  <a:pt x="3475666" y="1238688"/>
                </a:cubicBezTo>
                <a:cubicBezTo>
                  <a:pt x="3492176" y="1342828"/>
                  <a:pt x="3501066" y="1422838"/>
                  <a:pt x="3506146" y="1543488"/>
                </a:cubicBezTo>
                <a:cubicBezTo>
                  <a:pt x="3511226" y="1664138"/>
                  <a:pt x="3534086" y="1835588"/>
                  <a:pt x="3506146" y="1962588"/>
                </a:cubicBezTo>
                <a:cubicBezTo>
                  <a:pt x="3478206" y="2089588"/>
                  <a:pt x="3380416" y="2220398"/>
                  <a:pt x="3338506" y="2305488"/>
                </a:cubicBezTo>
                <a:cubicBezTo>
                  <a:pt x="3296596" y="2390578"/>
                  <a:pt x="3288976" y="2413438"/>
                  <a:pt x="3254686" y="2473128"/>
                </a:cubicBezTo>
                <a:cubicBezTo>
                  <a:pt x="3220396" y="2532818"/>
                  <a:pt x="3163246" y="2602668"/>
                  <a:pt x="3132766" y="2663628"/>
                </a:cubicBezTo>
                <a:cubicBezTo>
                  <a:pt x="3102286" y="2724588"/>
                  <a:pt x="3083236" y="2796978"/>
                  <a:pt x="3071806" y="2838888"/>
                </a:cubicBezTo>
                <a:cubicBezTo>
                  <a:pt x="3060376" y="2880798"/>
                  <a:pt x="3073076" y="2885878"/>
                  <a:pt x="3064186" y="2915088"/>
                </a:cubicBezTo>
                <a:cubicBezTo>
                  <a:pt x="3055296" y="2944298"/>
                  <a:pt x="3032436" y="2986208"/>
                  <a:pt x="3018466" y="3014148"/>
                </a:cubicBezTo>
                <a:cubicBezTo>
                  <a:pt x="3004496" y="3042088"/>
                  <a:pt x="2990526" y="3064948"/>
                  <a:pt x="2980366" y="3082728"/>
                </a:cubicBezTo>
                <a:cubicBezTo>
                  <a:pt x="2970206" y="3100508"/>
                  <a:pt x="2961316" y="3042088"/>
                  <a:pt x="2957506" y="3120828"/>
                </a:cubicBezTo>
                <a:cubicBezTo>
                  <a:pt x="2953696" y="3199568"/>
                  <a:pt x="2948616" y="3485318"/>
                  <a:pt x="2957506" y="3555168"/>
                </a:cubicBezTo>
                <a:cubicBezTo>
                  <a:pt x="2966396" y="3625018"/>
                  <a:pt x="2985446" y="3537388"/>
                  <a:pt x="3010846" y="3539928"/>
                </a:cubicBezTo>
                <a:cubicBezTo>
                  <a:pt x="3036246" y="3542468"/>
                  <a:pt x="3088316" y="3555168"/>
                  <a:pt x="3109906" y="3570408"/>
                </a:cubicBezTo>
                <a:cubicBezTo>
                  <a:pt x="3131496" y="3585648"/>
                  <a:pt x="3139116" y="3603428"/>
                  <a:pt x="3140386" y="3631368"/>
                </a:cubicBezTo>
                <a:cubicBezTo>
                  <a:pt x="3141656" y="3659308"/>
                  <a:pt x="3120066" y="3659308"/>
                  <a:pt x="3117526" y="3738048"/>
                </a:cubicBezTo>
                <a:cubicBezTo>
                  <a:pt x="3114986" y="3816788"/>
                  <a:pt x="3106096" y="4031418"/>
                  <a:pt x="3125146" y="4103808"/>
                </a:cubicBezTo>
                <a:cubicBezTo>
                  <a:pt x="3144196" y="4176198"/>
                  <a:pt x="3205156" y="4140638"/>
                  <a:pt x="3231826" y="4172388"/>
                </a:cubicBezTo>
                <a:cubicBezTo>
                  <a:pt x="3258496" y="4204138"/>
                  <a:pt x="3268656" y="4254938"/>
                  <a:pt x="3285166" y="4294308"/>
                </a:cubicBezTo>
                <a:cubicBezTo>
                  <a:pt x="3301676" y="4333678"/>
                  <a:pt x="3286436" y="4350188"/>
                  <a:pt x="3330886" y="4408608"/>
                </a:cubicBezTo>
                <a:cubicBezTo>
                  <a:pt x="3372796" y="4458138"/>
                  <a:pt x="3458698" y="4542875"/>
                  <a:pt x="3551866" y="4644828"/>
                </a:cubicBezTo>
                <a:cubicBezTo>
                  <a:pt x="3645035" y="4746781"/>
                  <a:pt x="3798457" y="4911106"/>
                  <a:pt x="3889897" y="5020326"/>
                </a:cubicBezTo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>
            <a:outerShdw blurRad="101600" dist="635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reeform 5"/>
          <p:cNvSpPr/>
          <p:nvPr/>
        </p:nvSpPr>
        <p:spPr>
          <a:xfrm>
            <a:off x="1266479" y="2659931"/>
            <a:ext cx="897300" cy="922942"/>
          </a:xfrm>
          <a:custGeom>
            <a:avLst/>
            <a:gdLst>
              <a:gd name="connsiteX0" fmla="*/ 1106997 w 2213994"/>
              <a:gd name="connsiteY0" fmla="*/ 432449 h 2180359"/>
              <a:gd name="connsiteX1" fmla="*/ 431357 w 2213994"/>
              <a:gd name="connsiteY1" fmla="*/ 1108089 h 2180359"/>
              <a:gd name="connsiteX2" fmla="*/ 1106997 w 2213994"/>
              <a:gd name="connsiteY2" fmla="*/ 1783729 h 2180359"/>
              <a:gd name="connsiteX3" fmla="*/ 1782637 w 2213994"/>
              <a:gd name="connsiteY3" fmla="*/ 1108089 h 2180359"/>
              <a:gd name="connsiteX4" fmla="*/ 1106997 w 2213994"/>
              <a:gd name="connsiteY4" fmla="*/ 432449 h 2180359"/>
              <a:gd name="connsiteX5" fmla="*/ 1016339 w 2213994"/>
              <a:gd name="connsiteY5" fmla="*/ 0 h 2180359"/>
              <a:gd name="connsiteX6" fmla="*/ 1197655 w 2213994"/>
              <a:gd name="connsiteY6" fmla="*/ 0 h 2180359"/>
              <a:gd name="connsiteX7" fmla="*/ 1237062 w 2213994"/>
              <a:gd name="connsiteY7" fmla="*/ 223520 h 2180359"/>
              <a:gd name="connsiteX8" fmla="*/ 1575952 w 2213994"/>
              <a:gd name="connsiteY8" fmla="*/ 346866 h 2180359"/>
              <a:gd name="connsiteX9" fmla="*/ 1749815 w 2213994"/>
              <a:gd name="connsiteY9" fmla="*/ 200970 h 2180359"/>
              <a:gd name="connsiteX10" fmla="*/ 1888711 w 2213994"/>
              <a:gd name="connsiteY10" fmla="*/ 317518 h 2180359"/>
              <a:gd name="connsiteX11" fmla="*/ 1775222 w 2213994"/>
              <a:gd name="connsiteY11" fmla="*/ 514074 h 2180359"/>
              <a:gd name="connsiteX12" fmla="*/ 1955541 w 2213994"/>
              <a:gd name="connsiteY12" fmla="*/ 826396 h 2180359"/>
              <a:gd name="connsiteX13" fmla="*/ 2182509 w 2213994"/>
              <a:gd name="connsiteY13" fmla="*/ 826390 h 2180359"/>
              <a:gd name="connsiteX14" fmla="*/ 2213994 w 2213994"/>
              <a:gd name="connsiteY14" fmla="*/ 1004952 h 2180359"/>
              <a:gd name="connsiteX15" fmla="*/ 2000713 w 2213994"/>
              <a:gd name="connsiteY15" fmla="*/ 1082574 h 2180359"/>
              <a:gd name="connsiteX16" fmla="*/ 1938089 w 2213994"/>
              <a:gd name="connsiteY16" fmla="*/ 1437734 h 2180359"/>
              <a:gd name="connsiteX17" fmla="*/ 2111959 w 2213994"/>
              <a:gd name="connsiteY17" fmla="*/ 1583621 h 2180359"/>
              <a:gd name="connsiteX18" fmla="*/ 2021301 w 2213994"/>
              <a:gd name="connsiteY18" fmla="*/ 1740646 h 2180359"/>
              <a:gd name="connsiteX19" fmla="*/ 1808024 w 2213994"/>
              <a:gd name="connsiteY19" fmla="*/ 1663013 h 2180359"/>
              <a:gd name="connsiteX20" fmla="*/ 1531759 w 2213994"/>
              <a:gd name="connsiteY20" fmla="*/ 1894827 h 2180359"/>
              <a:gd name="connsiteX21" fmla="*/ 1571177 w 2213994"/>
              <a:gd name="connsiteY21" fmla="*/ 2118345 h 2180359"/>
              <a:gd name="connsiteX22" fmla="*/ 1400795 w 2213994"/>
              <a:gd name="connsiteY22" fmla="*/ 2180359 h 2180359"/>
              <a:gd name="connsiteX23" fmla="*/ 1287316 w 2213994"/>
              <a:gd name="connsiteY23" fmla="*/ 1983797 h 2180359"/>
              <a:gd name="connsiteX24" fmla="*/ 926677 w 2213994"/>
              <a:gd name="connsiteY24" fmla="*/ 1983797 h 2180359"/>
              <a:gd name="connsiteX25" fmla="*/ 813199 w 2213994"/>
              <a:gd name="connsiteY25" fmla="*/ 2180359 h 2180359"/>
              <a:gd name="connsiteX26" fmla="*/ 642817 w 2213994"/>
              <a:gd name="connsiteY26" fmla="*/ 2118345 h 2180359"/>
              <a:gd name="connsiteX27" fmla="*/ 682236 w 2213994"/>
              <a:gd name="connsiteY27" fmla="*/ 1894827 h 2180359"/>
              <a:gd name="connsiteX28" fmla="*/ 405971 w 2213994"/>
              <a:gd name="connsiteY28" fmla="*/ 1663013 h 2180359"/>
              <a:gd name="connsiteX29" fmla="*/ 192693 w 2213994"/>
              <a:gd name="connsiteY29" fmla="*/ 1740646 h 2180359"/>
              <a:gd name="connsiteX30" fmla="*/ 102035 w 2213994"/>
              <a:gd name="connsiteY30" fmla="*/ 1583621 h 2180359"/>
              <a:gd name="connsiteX31" fmla="*/ 275905 w 2213994"/>
              <a:gd name="connsiteY31" fmla="*/ 1437734 h 2180359"/>
              <a:gd name="connsiteX32" fmla="*/ 213281 w 2213994"/>
              <a:gd name="connsiteY32" fmla="*/ 1082574 h 2180359"/>
              <a:gd name="connsiteX33" fmla="*/ 0 w 2213994"/>
              <a:gd name="connsiteY33" fmla="*/ 1004952 h 2180359"/>
              <a:gd name="connsiteX34" fmla="*/ 31485 w 2213994"/>
              <a:gd name="connsiteY34" fmla="*/ 826390 h 2180359"/>
              <a:gd name="connsiteX35" fmla="*/ 258452 w 2213994"/>
              <a:gd name="connsiteY35" fmla="*/ 826396 h 2180359"/>
              <a:gd name="connsiteX36" fmla="*/ 438771 w 2213994"/>
              <a:gd name="connsiteY36" fmla="*/ 514074 h 2180359"/>
              <a:gd name="connsiteX37" fmla="*/ 325283 w 2213994"/>
              <a:gd name="connsiteY37" fmla="*/ 317518 h 2180359"/>
              <a:gd name="connsiteX38" fmla="*/ 464179 w 2213994"/>
              <a:gd name="connsiteY38" fmla="*/ 200970 h 2180359"/>
              <a:gd name="connsiteX39" fmla="*/ 638042 w 2213994"/>
              <a:gd name="connsiteY39" fmla="*/ 346866 h 2180359"/>
              <a:gd name="connsiteX40" fmla="*/ 976932 w 2213994"/>
              <a:gd name="connsiteY40" fmla="*/ 223520 h 2180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213994" h="2180359">
                <a:moveTo>
                  <a:pt x="1106997" y="432449"/>
                </a:moveTo>
                <a:cubicBezTo>
                  <a:pt x="733851" y="432449"/>
                  <a:pt x="431357" y="734943"/>
                  <a:pt x="431357" y="1108089"/>
                </a:cubicBezTo>
                <a:cubicBezTo>
                  <a:pt x="431357" y="1481235"/>
                  <a:pt x="733851" y="1783729"/>
                  <a:pt x="1106997" y="1783729"/>
                </a:cubicBezTo>
                <a:cubicBezTo>
                  <a:pt x="1480143" y="1783729"/>
                  <a:pt x="1782637" y="1481235"/>
                  <a:pt x="1782637" y="1108089"/>
                </a:cubicBezTo>
                <a:cubicBezTo>
                  <a:pt x="1782637" y="734943"/>
                  <a:pt x="1480143" y="432449"/>
                  <a:pt x="1106997" y="432449"/>
                </a:cubicBezTo>
                <a:close/>
                <a:moveTo>
                  <a:pt x="1016339" y="0"/>
                </a:moveTo>
                <a:lnTo>
                  <a:pt x="1197655" y="0"/>
                </a:lnTo>
                <a:lnTo>
                  <a:pt x="1237062" y="223520"/>
                </a:lnTo>
                <a:cubicBezTo>
                  <a:pt x="1357231" y="241189"/>
                  <a:pt x="1472539" y="283158"/>
                  <a:pt x="1575952" y="346866"/>
                </a:cubicBezTo>
                <a:lnTo>
                  <a:pt x="1749815" y="200970"/>
                </a:lnTo>
                <a:lnTo>
                  <a:pt x="1888711" y="317518"/>
                </a:lnTo>
                <a:lnTo>
                  <a:pt x="1775222" y="514074"/>
                </a:lnTo>
                <a:cubicBezTo>
                  <a:pt x="1855919" y="604853"/>
                  <a:pt x="1917273" y="711121"/>
                  <a:pt x="1955541" y="826396"/>
                </a:cubicBezTo>
                <a:lnTo>
                  <a:pt x="2182509" y="826390"/>
                </a:lnTo>
                <a:lnTo>
                  <a:pt x="2213994" y="1004952"/>
                </a:lnTo>
                <a:lnTo>
                  <a:pt x="2000713" y="1082574"/>
                </a:lnTo>
                <a:cubicBezTo>
                  <a:pt x="2004179" y="1203985"/>
                  <a:pt x="1982871" y="1324830"/>
                  <a:pt x="1938089" y="1437734"/>
                </a:cubicBezTo>
                <a:lnTo>
                  <a:pt x="2111959" y="1583621"/>
                </a:lnTo>
                <a:lnTo>
                  <a:pt x="2021301" y="1740646"/>
                </a:lnTo>
                <a:lnTo>
                  <a:pt x="1808024" y="1663013"/>
                </a:lnTo>
                <a:cubicBezTo>
                  <a:pt x="1732638" y="1758248"/>
                  <a:pt x="1638637" y="1837123"/>
                  <a:pt x="1531759" y="1894827"/>
                </a:cubicBezTo>
                <a:lnTo>
                  <a:pt x="1571177" y="2118345"/>
                </a:lnTo>
                <a:lnTo>
                  <a:pt x="1400795" y="2180359"/>
                </a:lnTo>
                <a:lnTo>
                  <a:pt x="1287316" y="1983797"/>
                </a:lnTo>
                <a:cubicBezTo>
                  <a:pt x="1168351" y="2008293"/>
                  <a:pt x="1045642" y="2008293"/>
                  <a:pt x="926677" y="1983797"/>
                </a:cubicBezTo>
                <a:lnTo>
                  <a:pt x="813199" y="2180359"/>
                </a:lnTo>
                <a:lnTo>
                  <a:pt x="642817" y="2118345"/>
                </a:lnTo>
                <a:lnTo>
                  <a:pt x="682236" y="1894827"/>
                </a:lnTo>
                <a:cubicBezTo>
                  <a:pt x="575358" y="1837123"/>
                  <a:pt x="481357" y="1758247"/>
                  <a:pt x="405971" y="1663013"/>
                </a:cubicBezTo>
                <a:lnTo>
                  <a:pt x="192693" y="1740646"/>
                </a:lnTo>
                <a:lnTo>
                  <a:pt x="102035" y="1583621"/>
                </a:lnTo>
                <a:lnTo>
                  <a:pt x="275905" y="1437734"/>
                </a:lnTo>
                <a:cubicBezTo>
                  <a:pt x="231123" y="1324830"/>
                  <a:pt x="209814" y="1203985"/>
                  <a:pt x="213281" y="1082574"/>
                </a:cubicBezTo>
                <a:lnTo>
                  <a:pt x="0" y="1004952"/>
                </a:lnTo>
                <a:lnTo>
                  <a:pt x="31485" y="826390"/>
                </a:lnTo>
                <a:lnTo>
                  <a:pt x="258452" y="826396"/>
                </a:lnTo>
                <a:cubicBezTo>
                  <a:pt x="296720" y="711121"/>
                  <a:pt x="358074" y="604852"/>
                  <a:pt x="438771" y="514074"/>
                </a:cubicBezTo>
                <a:lnTo>
                  <a:pt x="325283" y="317518"/>
                </a:lnTo>
                <a:lnTo>
                  <a:pt x="464179" y="200970"/>
                </a:lnTo>
                <a:lnTo>
                  <a:pt x="638042" y="346866"/>
                </a:lnTo>
                <a:cubicBezTo>
                  <a:pt x="741454" y="283158"/>
                  <a:pt x="856763" y="241190"/>
                  <a:pt x="976932" y="223520"/>
                </a:cubicBezTo>
                <a:close/>
              </a:path>
            </a:pathLst>
          </a:custGeom>
          <a:solidFill>
            <a:srgbClr val="84DFFE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6" name="Freeform 6"/>
          <p:cNvSpPr/>
          <p:nvPr/>
        </p:nvSpPr>
        <p:spPr>
          <a:xfrm>
            <a:off x="1775197" y="3335345"/>
            <a:ext cx="1006916" cy="1035691"/>
          </a:xfrm>
          <a:custGeom>
            <a:avLst/>
            <a:gdLst>
              <a:gd name="connsiteX0" fmla="*/ 1106997 w 2213994"/>
              <a:gd name="connsiteY0" fmla="*/ 561989 h 2180359"/>
              <a:gd name="connsiteX1" fmla="*/ 560897 w 2213994"/>
              <a:gd name="connsiteY1" fmla="*/ 1108089 h 2180359"/>
              <a:gd name="connsiteX2" fmla="*/ 1106997 w 2213994"/>
              <a:gd name="connsiteY2" fmla="*/ 1654189 h 2180359"/>
              <a:gd name="connsiteX3" fmla="*/ 1653097 w 2213994"/>
              <a:gd name="connsiteY3" fmla="*/ 1108089 h 2180359"/>
              <a:gd name="connsiteX4" fmla="*/ 1106997 w 2213994"/>
              <a:gd name="connsiteY4" fmla="*/ 561989 h 2180359"/>
              <a:gd name="connsiteX5" fmla="*/ 1016339 w 2213994"/>
              <a:gd name="connsiteY5" fmla="*/ 0 h 2180359"/>
              <a:gd name="connsiteX6" fmla="*/ 1197655 w 2213994"/>
              <a:gd name="connsiteY6" fmla="*/ 0 h 2180359"/>
              <a:gd name="connsiteX7" fmla="*/ 1237062 w 2213994"/>
              <a:gd name="connsiteY7" fmla="*/ 223520 h 2180359"/>
              <a:gd name="connsiteX8" fmla="*/ 1575952 w 2213994"/>
              <a:gd name="connsiteY8" fmla="*/ 346866 h 2180359"/>
              <a:gd name="connsiteX9" fmla="*/ 1749815 w 2213994"/>
              <a:gd name="connsiteY9" fmla="*/ 200970 h 2180359"/>
              <a:gd name="connsiteX10" fmla="*/ 1888711 w 2213994"/>
              <a:gd name="connsiteY10" fmla="*/ 317518 h 2180359"/>
              <a:gd name="connsiteX11" fmla="*/ 1775222 w 2213994"/>
              <a:gd name="connsiteY11" fmla="*/ 514074 h 2180359"/>
              <a:gd name="connsiteX12" fmla="*/ 1955541 w 2213994"/>
              <a:gd name="connsiteY12" fmla="*/ 826396 h 2180359"/>
              <a:gd name="connsiteX13" fmla="*/ 2182509 w 2213994"/>
              <a:gd name="connsiteY13" fmla="*/ 826390 h 2180359"/>
              <a:gd name="connsiteX14" fmla="*/ 2213994 w 2213994"/>
              <a:gd name="connsiteY14" fmla="*/ 1004952 h 2180359"/>
              <a:gd name="connsiteX15" fmla="*/ 2000713 w 2213994"/>
              <a:gd name="connsiteY15" fmla="*/ 1082574 h 2180359"/>
              <a:gd name="connsiteX16" fmla="*/ 1938089 w 2213994"/>
              <a:gd name="connsiteY16" fmla="*/ 1437734 h 2180359"/>
              <a:gd name="connsiteX17" fmla="*/ 2111959 w 2213994"/>
              <a:gd name="connsiteY17" fmla="*/ 1583621 h 2180359"/>
              <a:gd name="connsiteX18" fmla="*/ 2021301 w 2213994"/>
              <a:gd name="connsiteY18" fmla="*/ 1740646 h 2180359"/>
              <a:gd name="connsiteX19" fmla="*/ 1808024 w 2213994"/>
              <a:gd name="connsiteY19" fmla="*/ 1663013 h 2180359"/>
              <a:gd name="connsiteX20" fmla="*/ 1531759 w 2213994"/>
              <a:gd name="connsiteY20" fmla="*/ 1894827 h 2180359"/>
              <a:gd name="connsiteX21" fmla="*/ 1571177 w 2213994"/>
              <a:gd name="connsiteY21" fmla="*/ 2118345 h 2180359"/>
              <a:gd name="connsiteX22" fmla="*/ 1400795 w 2213994"/>
              <a:gd name="connsiteY22" fmla="*/ 2180359 h 2180359"/>
              <a:gd name="connsiteX23" fmla="*/ 1287316 w 2213994"/>
              <a:gd name="connsiteY23" fmla="*/ 1983797 h 2180359"/>
              <a:gd name="connsiteX24" fmla="*/ 926677 w 2213994"/>
              <a:gd name="connsiteY24" fmla="*/ 1983797 h 2180359"/>
              <a:gd name="connsiteX25" fmla="*/ 813199 w 2213994"/>
              <a:gd name="connsiteY25" fmla="*/ 2180359 h 2180359"/>
              <a:gd name="connsiteX26" fmla="*/ 642817 w 2213994"/>
              <a:gd name="connsiteY26" fmla="*/ 2118345 h 2180359"/>
              <a:gd name="connsiteX27" fmla="*/ 682236 w 2213994"/>
              <a:gd name="connsiteY27" fmla="*/ 1894827 h 2180359"/>
              <a:gd name="connsiteX28" fmla="*/ 405971 w 2213994"/>
              <a:gd name="connsiteY28" fmla="*/ 1663013 h 2180359"/>
              <a:gd name="connsiteX29" fmla="*/ 192693 w 2213994"/>
              <a:gd name="connsiteY29" fmla="*/ 1740646 h 2180359"/>
              <a:gd name="connsiteX30" fmla="*/ 102035 w 2213994"/>
              <a:gd name="connsiteY30" fmla="*/ 1583621 h 2180359"/>
              <a:gd name="connsiteX31" fmla="*/ 275905 w 2213994"/>
              <a:gd name="connsiteY31" fmla="*/ 1437734 h 2180359"/>
              <a:gd name="connsiteX32" fmla="*/ 213281 w 2213994"/>
              <a:gd name="connsiteY32" fmla="*/ 1082574 h 2180359"/>
              <a:gd name="connsiteX33" fmla="*/ 0 w 2213994"/>
              <a:gd name="connsiteY33" fmla="*/ 1004952 h 2180359"/>
              <a:gd name="connsiteX34" fmla="*/ 31485 w 2213994"/>
              <a:gd name="connsiteY34" fmla="*/ 826390 h 2180359"/>
              <a:gd name="connsiteX35" fmla="*/ 258452 w 2213994"/>
              <a:gd name="connsiteY35" fmla="*/ 826396 h 2180359"/>
              <a:gd name="connsiteX36" fmla="*/ 438771 w 2213994"/>
              <a:gd name="connsiteY36" fmla="*/ 514074 h 2180359"/>
              <a:gd name="connsiteX37" fmla="*/ 325283 w 2213994"/>
              <a:gd name="connsiteY37" fmla="*/ 317518 h 2180359"/>
              <a:gd name="connsiteX38" fmla="*/ 464179 w 2213994"/>
              <a:gd name="connsiteY38" fmla="*/ 200970 h 2180359"/>
              <a:gd name="connsiteX39" fmla="*/ 638042 w 2213994"/>
              <a:gd name="connsiteY39" fmla="*/ 346866 h 2180359"/>
              <a:gd name="connsiteX40" fmla="*/ 976932 w 2213994"/>
              <a:gd name="connsiteY40" fmla="*/ 223520 h 2180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213994" h="2180359">
                <a:moveTo>
                  <a:pt x="1106997" y="561989"/>
                </a:moveTo>
                <a:cubicBezTo>
                  <a:pt x="805394" y="561989"/>
                  <a:pt x="560897" y="806486"/>
                  <a:pt x="560897" y="1108089"/>
                </a:cubicBezTo>
                <a:cubicBezTo>
                  <a:pt x="560897" y="1409692"/>
                  <a:pt x="805394" y="1654189"/>
                  <a:pt x="1106997" y="1654189"/>
                </a:cubicBezTo>
                <a:cubicBezTo>
                  <a:pt x="1408600" y="1654189"/>
                  <a:pt x="1653097" y="1409692"/>
                  <a:pt x="1653097" y="1108089"/>
                </a:cubicBezTo>
                <a:cubicBezTo>
                  <a:pt x="1653097" y="806486"/>
                  <a:pt x="1408600" y="561989"/>
                  <a:pt x="1106997" y="561989"/>
                </a:cubicBezTo>
                <a:close/>
                <a:moveTo>
                  <a:pt x="1016339" y="0"/>
                </a:moveTo>
                <a:lnTo>
                  <a:pt x="1197655" y="0"/>
                </a:lnTo>
                <a:lnTo>
                  <a:pt x="1237062" y="223520"/>
                </a:lnTo>
                <a:cubicBezTo>
                  <a:pt x="1357231" y="241189"/>
                  <a:pt x="1472539" y="283158"/>
                  <a:pt x="1575952" y="346866"/>
                </a:cubicBezTo>
                <a:lnTo>
                  <a:pt x="1749815" y="200970"/>
                </a:lnTo>
                <a:lnTo>
                  <a:pt x="1888711" y="317518"/>
                </a:lnTo>
                <a:lnTo>
                  <a:pt x="1775222" y="514074"/>
                </a:lnTo>
                <a:cubicBezTo>
                  <a:pt x="1855919" y="604853"/>
                  <a:pt x="1917273" y="711121"/>
                  <a:pt x="1955541" y="826396"/>
                </a:cubicBezTo>
                <a:lnTo>
                  <a:pt x="2182509" y="826390"/>
                </a:lnTo>
                <a:lnTo>
                  <a:pt x="2213994" y="1004952"/>
                </a:lnTo>
                <a:lnTo>
                  <a:pt x="2000713" y="1082574"/>
                </a:lnTo>
                <a:cubicBezTo>
                  <a:pt x="2004179" y="1203985"/>
                  <a:pt x="1982871" y="1324830"/>
                  <a:pt x="1938089" y="1437734"/>
                </a:cubicBezTo>
                <a:lnTo>
                  <a:pt x="2111959" y="1583621"/>
                </a:lnTo>
                <a:lnTo>
                  <a:pt x="2021301" y="1740646"/>
                </a:lnTo>
                <a:lnTo>
                  <a:pt x="1808024" y="1663013"/>
                </a:lnTo>
                <a:cubicBezTo>
                  <a:pt x="1732638" y="1758248"/>
                  <a:pt x="1638637" y="1837123"/>
                  <a:pt x="1531759" y="1894827"/>
                </a:cubicBezTo>
                <a:lnTo>
                  <a:pt x="1571177" y="2118345"/>
                </a:lnTo>
                <a:lnTo>
                  <a:pt x="1400795" y="2180359"/>
                </a:lnTo>
                <a:lnTo>
                  <a:pt x="1287316" y="1983797"/>
                </a:lnTo>
                <a:cubicBezTo>
                  <a:pt x="1168351" y="2008293"/>
                  <a:pt x="1045642" y="2008293"/>
                  <a:pt x="926677" y="1983797"/>
                </a:cubicBezTo>
                <a:lnTo>
                  <a:pt x="813199" y="2180359"/>
                </a:lnTo>
                <a:lnTo>
                  <a:pt x="642817" y="2118345"/>
                </a:lnTo>
                <a:lnTo>
                  <a:pt x="682236" y="1894827"/>
                </a:lnTo>
                <a:cubicBezTo>
                  <a:pt x="575358" y="1837123"/>
                  <a:pt x="481357" y="1758247"/>
                  <a:pt x="405971" y="1663013"/>
                </a:cubicBezTo>
                <a:lnTo>
                  <a:pt x="192693" y="1740646"/>
                </a:lnTo>
                <a:lnTo>
                  <a:pt x="102035" y="1583621"/>
                </a:lnTo>
                <a:lnTo>
                  <a:pt x="275905" y="1437734"/>
                </a:lnTo>
                <a:cubicBezTo>
                  <a:pt x="231123" y="1324830"/>
                  <a:pt x="209814" y="1203985"/>
                  <a:pt x="213281" y="1082574"/>
                </a:cubicBezTo>
                <a:lnTo>
                  <a:pt x="0" y="1004952"/>
                </a:lnTo>
                <a:lnTo>
                  <a:pt x="31485" y="826390"/>
                </a:lnTo>
                <a:lnTo>
                  <a:pt x="258452" y="826396"/>
                </a:lnTo>
                <a:cubicBezTo>
                  <a:pt x="296720" y="711121"/>
                  <a:pt x="358074" y="604852"/>
                  <a:pt x="438771" y="514074"/>
                </a:cubicBezTo>
                <a:lnTo>
                  <a:pt x="325283" y="317518"/>
                </a:lnTo>
                <a:lnTo>
                  <a:pt x="464179" y="200970"/>
                </a:lnTo>
                <a:lnTo>
                  <a:pt x="638042" y="346866"/>
                </a:lnTo>
                <a:cubicBezTo>
                  <a:pt x="741454" y="283158"/>
                  <a:pt x="856763" y="241190"/>
                  <a:pt x="976932" y="223520"/>
                </a:cubicBezTo>
                <a:close/>
              </a:path>
            </a:pathLst>
          </a:custGeom>
          <a:solidFill>
            <a:srgbClr val="F5C35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" name="Freeform 7"/>
          <p:cNvSpPr/>
          <p:nvPr/>
        </p:nvSpPr>
        <p:spPr>
          <a:xfrm>
            <a:off x="2145585" y="2763716"/>
            <a:ext cx="570875" cy="646964"/>
          </a:xfrm>
          <a:custGeom>
            <a:avLst/>
            <a:gdLst>
              <a:gd name="connsiteX0" fmla="*/ 731630 w 1463260"/>
              <a:gd name="connsiteY0" fmla="*/ 406741 h 1587726"/>
              <a:gd name="connsiteX1" fmla="*/ 344508 w 1463260"/>
              <a:gd name="connsiteY1" fmla="*/ 793863 h 1587726"/>
              <a:gd name="connsiteX2" fmla="*/ 731630 w 1463260"/>
              <a:gd name="connsiteY2" fmla="*/ 1180985 h 1587726"/>
              <a:gd name="connsiteX3" fmla="*/ 1118752 w 1463260"/>
              <a:gd name="connsiteY3" fmla="*/ 793863 h 1587726"/>
              <a:gd name="connsiteX4" fmla="*/ 731630 w 1463260"/>
              <a:gd name="connsiteY4" fmla="*/ 406741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406741"/>
                </a:moveTo>
                <a:cubicBezTo>
                  <a:pt x="517828" y="406741"/>
                  <a:pt x="344508" y="580061"/>
                  <a:pt x="344508" y="793863"/>
                </a:cubicBezTo>
                <a:cubicBezTo>
                  <a:pt x="344508" y="1007665"/>
                  <a:pt x="517828" y="1180985"/>
                  <a:pt x="731630" y="1180985"/>
                </a:cubicBezTo>
                <a:cubicBezTo>
                  <a:pt x="945432" y="1180985"/>
                  <a:pt x="1118752" y="1007665"/>
                  <a:pt x="1118752" y="793863"/>
                </a:cubicBezTo>
                <a:cubicBezTo>
                  <a:pt x="1118752" y="580061"/>
                  <a:pt x="945432" y="406741"/>
                  <a:pt x="731630" y="406741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53D7C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" name="Freeform 8"/>
          <p:cNvSpPr/>
          <p:nvPr/>
        </p:nvSpPr>
        <p:spPr>
          <a:xfrm rot="20700000">
            <a:off x="1195447" y="3499095"/>
            <a:ext cx="632593" cy="716909"/>
          </a:xfrm>
          <a:custGeom>
            <a:avLst/>
            <a:gdLst>
              <a:gd name="connsiteX0" fmla="*/ 823018 w 1433696"/>
              <a:gd name="connsiteY0" fmla="*/ 381592 h 1555648"/>
              <a:gd name="connsiteX1" fmla="*/ 320616 w 1433696"/>
              <a:gd name="connsiteY1" fmla="*/ 671654 h 1555648"/>
              <a:gd name="connsiteX2" fmla="*/ 610678 w 1433696"/>
              <a:gd name="connsiteY2" fmla="*/ 1174056 h 1555648"/>
              <a:gd name="connsiteX3" fmla="*/ 1113080 w 1433696"/>
              <a:gd name="connsiteY3" fmla="*/ 883994 h 1555648"/>
              <a:gd name="connsiteX4" fmla="*/ 823018 w 1433696"/>
              <a:gd name="connsiteY4" fmla="*/ 381592 h 1555648"/>
              <a:gd name="connsiteX5" fmla="*/ 803314 w 1433696"/>
              <a:gd name="connsiteY5" fmla="*/ 0 h 1555648"/>
              <a:gd name="connsiteX6" fmla="*/ 859474 w 1433696"/>
              <a:gd name="connsiteY6" fmla="*/ 238914 h 1555648"/>
              <a:gd name="connsiteX7" fmla="*/ 1112245 w 1433696"/>
              <a:gd name="connsiteY7" fmla="*/ 384851 h 1555648"/>
              <a:gd name="connsiteX8" fmla="*/ 1347230 w 1433696"/>
              <a:gd name="connsiteY8" fmla="*/ 314030 h 1555648"/>
              <a:gd name="connsiteX9" fmla="*/ 1433696 w 1433696"/>
              <a:gd name="connsiteY9" fmla="*/ 463794 h 1555648"/>
              <a:gd name="connsiteX10" fmla="*/ 1254871 w 1433696"/>
              <a:gd name="connsiteY10" fmla="*/ 631887 h 1555648"/>
              <a:gd name="connsiteX11" fmla="*/ 1254871 w 1433696"/>
              <a:gd name="connsiteY11" fmla="*/ 923761 h 1555648"/>
              <a:gd name="connsiteX12" fmla="*/ 1433696 w 1433696"/>
              <a:gd name="connsiteY12" fmla="*/ 1091854 h 1555648"/>
              <a:gd name="connsiteX13" fmla="*/ 1347230 w 1433696"/>
              <a:gd name="connsiteY13" fmla="*/ 1241618 h 1555648"/>
              <a:gd name="connsiteX14" fmla="*/ 1112245 w 1433696"/>
              <a:gd name="connsiteY14" fmla="*/ 1170797 h 1555648"/>
              <a:gd name="connsiteX15" fmla="*/ 859474 w 1433696"/>
              <a:gd name="connsiteY15" fmla="*/ 1316734 h 1555648"/>
              <a:gd name="connsiteX16" fmla="*/ 803314 w 1433696"/>
              <a:gd name="connsiteY16" fmla="*/ 1555648 h 1555648"/>
              <a:gd name="connsiteX17" fmla="*/ 630382 w 1433696"/>
              <a:gd name="connsiteY17" fmla="*/ 1555648 h 1555648"/>
              <a:gd name="connsiteX18" fmla="*/ 574222 w 1433696"/>
              <a:gd name="connsiteY18" fmla="*/ 1316734 h 1555648"/>
              <a:gd name="connsiteX19" fmla="*/ 321451 w 1433696"/>
              <a:gd name="connsiteY19" fmla="*/ 1170797 h 1555648"/>
              <a:gd name="connsiteX20" fmla="*/ 86466 w 1433696"/>
              <a:gd name="connsiteY20" fmla="*/ 1241618 h 1555648"/>
              <a:gd name="connsiteX21" fmla="*/ 0 w 1433696"/>
              <a:gd name="connsiteY21" fmla="*/ 1091854 h 1555648"/>
              <a:gd name="connsiteX22" fmla="*/ 178825 w 1433696"/>
              <a:gd name="connsiteY22" fmla="*/ 923761 h 1555648"/>
              <a:gd name="connsiteX23" fmla="*/ 178825 w 1433696"/>
              <a:gd name="connsiteY23" fmla="*/ 631887 h 1555648"/>
              <a:gd name="connsiteX24" fmla="*/ 0 w 1433696"/>
              <a:gd name="connsiteY24" fmla="*/ 463794 h 1555648"/>
              <a:gd name="connsiteX25" fmla="*/ 86466 w 1433696"/>
              <a:gd name="connsiteY25" fmla="*/ 314030 h 1555648"/>
              <a:gd name="connsiteX26" fmla="*/ 321451 w 1433696"/>
              <a:gd name="connsiteY26" fmla="*/ 384851 h 1555648"/>
              <a:gd name="connsiteX27" fmla="*/ 574222 w 1433696"/>
              <a:gd name="connsiteY27" fmla="*/ 238914 h 1555648"/>
              <a:gd name="connsiteX28" fmla="*/ 630382 w 1433696"/>
              <a:gd name="connsiteY28" fmla="*/ 0 h 1555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433696" h="1555648">
                <a:moveTo>
                  <a:pt x="823018" y="381592"/>
                </a:moveTo>
                <a:cubicBezTo>
                  <a:pt x="604185" y="322955"/>
                  <a:pt x="379252" y="452820"/>
                  <a:pt x="320616" y="671654"/>
                </a:cubicBezTo>
                <a:cubicBezTo>
                  <a:pt x="261979" y="890487"/>
                  <a:pt x="391844" y="1115420"/>
                  <a:pt x="610678" y="1174056"/>
                </a:cubicBezTo>
                <a:cubicBezTo>
                  <a:pt x="829511" y="1232693"/>
                  <a:pt x="1054444" y="1102828"/>
                  <a:pt x="1113080" y="883994"/>
                </a:cubicBezTo>
                <a:cubicBezTo>
                  <a:pt x="1171717" y="665161"/>
                  <a:pt x="1041852" y="440228"/>
                  <a:pt x="823018" y="381592"/>
                </a:cubicBezTo>
                <a:close/>
                <a:moveTo>
                  <a:pt x="803314" y="0"/>
                </a:moveTo>
                <a:lnTo>
                  <a:pt x="859474" y="238914"/>
                </a:lnTo>
                <a:cubicBezTo>
                  <a:pt x="955196" y="264248"/>
                  <a:pt x="1042444" y="314620"/>
                  <a:pt x="1112245" y="384851"/>
                </a:cubicBezTo>
                <a:lnTo>
                  <a:pt x="1347230" y="314030"/>
                </a:lnTo>
                <a:lnTo>
                  <a:pt x="1433696" y="463794"/>
                </a:lnTo>
                <a:lnTo>
                  <a:pt x="1254871" y="631887"/>
                </a:lnTo>
                <a:cubicBezTo>
                  <a:pt x="1280793" y="727452"/>
                  <a:pt x="1280793" y="828197"/>
                  <a:pt x="1254871" y="923761"/>
                </a:cubicBezTo>
                <a:lnTo>
                  <a:pt x="1433696" y="1091854"/>
                </a:lnTo>
                <a:lnTo>
                  <a:pt x="1347230" y="1241618"/>
                </a:lnTo>
                <a:lnTo>
                  <a:pt x="1112245" y="1170797"/>
                </a:lnTo>
                <a:cubicBezTo>
                  <a:pt x="1042444" y="1241028"/>
                  <a:pt x="955197" y="1291401"/>
                  <a:pt x="859474" y="1316734"/>
                </a:cubicBezTo>
                <a:lnTo>
                  <a:pt x="803314" y="1555648"/>
                </a:lnTo>
                <a:lnTo>
                  <a:pt x="630382" y="1555648"/>
                </a:lnTo>
                <a:lnTo>
                  <a:pt x="574222" y="1316734"/>
                </a:lnTo>
                <a:cubicBezTo>
                  <a:pt x="478500" y="1291400"/>
                  <a:pt x="391252" y="1241028"/>
                  <a:pt x="321451" y="1170797"/>
                </a:cubicBezTo>
                <a:lnTo>
                  <a:pt x="86466" y="1241618"/>
                </a:lnTo>
                <a:lnTo>
                  <a:pt x="0" y="1091854"/>
                </a:lnTo>
                <a:lnTo>
                  <a:pt x="178825" y="923761"/>
                </a:lnTo>
                <a:cubicBezTo>
                  <a:pt x="152903" y="828196"/>
                  <a:pt x="152903" y="727451"/>
                  <a:pt x="178825" y="631887"/>
                </a:cubicBezTo>
                <a:lnTo>
                  <a:pt x="0" y="463794"/>
                </a:lnTo>
                <a:lnTo>
                  <a:pt x="86466" y="314030"/>
                </a:lnTo>
                <a:lnTo>
                  <a:pt x="321451" y="384851"/>
                </a:lnTo>
                <a:cubicBezTo>
                  <a:pt x="391252" y="314620"/>
                  <a:pt x="478499" y="264247"/>
                  <a:pt x="574222" y="238914"/>
                </a:cubicBezTo>
                <a:lnTo>
                  <a:pt x="630382" y="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Freeform 9"/>
          <p:cNvSpPr/>
          <p:nvPr/>
        </p:nvSpPr>
        <p:spPr>
          <a:xfrm>
            <a:off x="956844" y="3183291"/>
            <a:ext cx="352600" cy="399597"/>
          </a:xfrm>
          <a:custGeom>
            <a:avLst/>
            <a:gdLst>
              <a:gd name="connsiteX0" fmla="*/ 731630 w 1463260"/>
              <a:gd name="connsiteY0" fmla="*/ 406741 h 1587726"/>
              <a:gd name="connsiteX1" fmla="*/ 344508 w 1463260"/>
              <a:gd name="connsiteY1" fmla="*/ 793863 h 1587726"/>
              <a:gd name="connsiteX2" fmla="*/ 731630 w 1463260"/>
              <a:gd name="connsiteY2" fmla="*/ 1180985 h 1587726"/>
              <a:gd name="connsiteX3" fmla="*/ 1118752 w 1463260"/>
              <a:gd name="connsiteY3" fmla="*/ 793863 h 1587726"/>
              <a:gd name="connsiteX4" fmla="*/ 731630 w 1463260"/>
              <a:gd name="connsiteY4" fmla="*/ 406741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406741"/>
                </a:moveTo>
                <a:cubicBezTo>
                  <a:pt x="517828" y="406741"/>
                  <a:pt x="344508" y="580061"/>
                  <a:pt x="344508" y="793863"/>
                </a:cubicBezTo>
                <a:cubicBezTo>
                  <a:pt x="344508" y="1007665"/>
                  <a:pt x="517828" y="1180985"/>
                  <a:pt x="731630" y="1180985"/>
                </a:cubicBezTo>
                <a:cubicBezTo>
                  <a:pt x="945432" y="1180985"/>
                  <a:pt x="1118752" y="1007665"/>
                  <a:pt x="1118752" y="793863"/>
                </a:cubicBezTo>
                <a:cubicBezTo>
                  <a:pt x="1118752" y="580061"/>
                  <a:pt x="945432" y="406741"/>
                  <a:pt x="731630" y="406741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D3D2D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" name="Freeform 10"/>
          <p:cNvSpPr/>
          <p:nvPr/>
        </p:nvSpPr>
        <p:spPr>
          <a:xfrm>
            <a:off x="2630226" y="3296979"/>
            <a:ext cx="352600" cy="399597"/>
          </a:xfrm>
          <a:custGeom>
            <a:avLst/>
            <a:gdLst>
              <a:gd name="connsiteX0" fmla="*/ 731630 w 1463260"/>
              <a:gd name="connsiteY0" fmla="*/ 406741 h 1587726"/>
              <a:gd name="connsiteX1" fmla="*/ 344508 w 1463260"/>
              <a:gd name="connsiteY1" fmla="*/ 793863 h 1587726"/>
              <a:gd name="connsiteX2" fmla="*/ 731630 w 1463260"/>
              <a:gd name="connsiteY2" fmla="*/ 1180985 h 1587726"/>
              <a:gd name="connsiteX3" fmla="*/ 1118752 w 1463260"/>
              <a:gd name="connsiteY3" fmla="*/ 793863 h 1587726"/>
              <a:gd name="connsiteX4" fmla="*/ 731630 w 1463260"/>
              <a:gd name="connsiteY4" fmla="*/ 406741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406741"/>
                </a:moveTo>
                <a:cubicBezTo>
                  <a:pt x="517828" y="406741"/>
                  <a:pt x="344508" y="580061"/>
                  <a:pt x="344508" y="793863"/>
                </a:cubicBezTo>
                <a:cubicBezTo>
                  <a:pt x="344508" y="1007665"/>
                  <a:pt x="517828" y="1180985"/>
                  <a:pt x="731630" y="1180985"/>
                </a:cubicBezTo>
                <a:cubicBezTo>
                  <a:pt x="945432" y="1180985"/>
                  <a:pt x="1118752" y="1007665"/>
                  <a:pt x="1118752" y="793863"/>
                </a:cubicBezTo>
                <a:cubicBezTo>
                  <a:pt x="1118752" y="580061"/>
                  <a:pt x="945432" y="406741"/>
                  <a:pt x="731630" y="406741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E6E7E9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Freeform 11"/>
          <p:cNvSpPr/>
          <p:nvPr/>
        </p:nvSpPr>
        <p:spPr>
          <a:xfrm rot="20700000">
            <a:off x="2083200" y="3631677"/>
            <a:ext cx="390923" cy="443027"/>
          </a:xfrm>
          <a:custGeom>
            <a:avLst/>
            <a:gdLst>
              <a:gd name="connsiteX0" fmla="*/ 840547 w 1433696"/>
              <a:gd name="connsiteY0" fmla="*/ 316176 h 1555648"/>
              <a:gd name="connsiteX1" fmla="*/ 255200 w 1433696"/>
              <a:gd name="connsiteY1" fmla="*/ 654127 h 1555648"/>
              <a:gd name="connsiteX2" fmla="*/ 593150 w 1433696"/>
              <a:gd name="connsiteY2" fmla="*/ 1239474 h 1555648"/>
              <a:gd name="connsiteX3" fmla="*/ 1178498 w 1433696"/>
              <a:gd name="connsiteY3" fmla="*/ 901524 h 1555648"/>
              <a:gd name="connsiteX4" fmla="*/ 840547 w 1433696"/>
              <a:gd name="connsiteY4" fmla="*/ 316176 h 1555648"/>
              <a:gd name="connsiteX5" fmla="*/ 803314 w 1433696"/>
              <a:gd name="connsiteY5" fmla="*/ 0 h 1555648"/>
              <a:gd name="connsiteX6" fmla="*/ 859474 w 1433696"/>
              <a:gd name="connsiteY6" fmla="*/ 238914 h 1555648"/>
              <a:gd name="connsiteX7" fmla="*/ 1112245 w 1433696"/>
              <a:gd name="connsiteY7" fmla="*/ 384851 h 1555648"/>
              <a:gd name="connsiteX8" fmla="*/ 1347230 w 1433696"/>
              <a:gd name="connsiteY8" fmla="*/ 314030 h 1555648"/>
              <a:gd name="connsiteX9" fmla="*/ 1433696 w 1433696"/>
              <a:gd name="connsiteY9" fmla="*/ 463794 h 1555648"/>
              <a:gd name="connsiteX10" fmla="*/ 1254871 w 1433696"/>
              <a:gd name="connsiteY10" fmla="*/ 631887 h 1555648"/>
              <a:gd name="connsiteX11" fmla="*/ 1254871 w 1433696"/>
              <a:gd name="connsiteY11" fmla="*/ 923761 h 1555648"/>
              <a:gd name="connsiteX12" fmla="*/ 1433696 w 1433696"/>
              <a:gd name="connsiteY12" fmla="*/ 1091854 h 1555648"/>
              <a:gd name="connsiteX13" fmla="*/ 1347230 w 1433696"/>
              <a:gd name="connsiteY13" fmla="*/ 1241618 h 1555648"/>
              <a:gd name="connsiteX14" fmla="*/ 1112245 w 1433696"/>
              <a:gd name="connsiteY14" fmla="*/ 1170797 h 1555648"/>
              <a:gd name="connsiteX15" fmla="*/ 859474 w 1433696"/>
              <a:gd name="connsiteY15" fmla="*/ 1316734 h 1555648"/>
              <a:gd name="connsiteX16" fmla="*/ 803314 w 1433696"/>
              <a:gd name="connsiteY16" fmla="*/ 1555648 h 1555648"/>
              <a:gd name="connsiteX17" fmla="*/ 630382 w 1433696"/>
              <a:gd name="connsiteY17" fmla="*/ 1555648 h 1555648"/>
              <a:gd name="connsiteX18" fmla="*/ 574222 w 1433696"/>
              <a:gd name="connsiteY18" fmla="*/ 1316734 h 1555648"/>
              <a:gd name="connsiteX19" fmla="*/ 321451 w 1433696"/>
              <a:gd name="connsiteY19" fmla="*/ 1170797 h 1555648"/>
              <a:gd name="connsiteX20" fmla="*/ 86466 w 1433696"/>
              <a:gd name="connsiteY20" fmla="*/ 1241618 h 1555648"/>
              <a:gd name="connsiteX21" fmla="*/ 0 w 1433696"/>
              <a:gd name="connsiteY21" fmla="*/ 1091854 h 1555648"/>
              <a:gd name="connsiteX22" fmla="*/ 178825 w 1433696"/>
              <a:gd name="connsiteY22" fmla="*/ 923761 h 1555648"/>
              <a:gd name="connsiteX23" fmla="*/ 178825 w 1433696"/>
              <a:gd name="connsiteY23" fmla="*/ 631887 h 1555648"/>
              <a:gd name="connsiteX24" fmla="*/ 0 w 1433696"/>
              <a:gd name="connsiteY24" fmla="*/ 463794 h 1555648"/>
              <a:gd name="connsiteX25" fmla="*/ 86466 w 1433696"/>
              <a:gd name="connsiteY25" fmla="*/ 314030 h 1555648"/>
              <a:gd name="connsiteX26" fmla="*/ 321451 w 1433696"/>
              <a:gd name="connsiteY26" fmla="*/ 384851 h 1555648"/>
              <a:gd name="connsiteX27" fmla="*/ 574222 w 1433696"/>
              <a:gd name="connsiteY27" fmla="*/ 238914 h 1555648"/>
              <a:gd name="connsiteX28" fmla="*/ 630382 w 1433696"/>
              <a:gd name="connsiteY28" fmla="*/ 0 h 1555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433696" h="1555648">
                <a:moveTo>
                  <a:pt x="840547" y="316176"/>
                </a:moveTo>
                <a:cubicBezTo>
                  <a:pt x="585585" y="247860"/>
                  <a:pt x="323517" y="399165"/>
                  <a:pt x="255200" y="654127"/>
                </a:cubicBezTo>
                <a:cubicBezTo>
                  <a:pt x="186883" y="909089"/>
                  <a:pt x="338188" y="1171157"/>
                  <a:pt x="593150" y="1239474"/>
                </a:cubicBezTo>
                <a:cubicBezTo>
                  <a:pt x="848112" y="1307791"/>
                  <a:pt x="1110181" y="1156486"/>
                  <a:pt x="1178498" y="901524"/>
                </a:cubicBezTo>
                <a:cubicBezTo>
                  <a:pt x="1246814" y="646562"/>
                  <a:pt x="1095509" y="384493"/>
                  <a:pt x="840547" y="316176"/>
                </a:cubicBezTo>
                <a:close/>
                <a:moveTo>
                  <a:pt x="803314" y="0"/>
                </a:moveTo>
                <a:lnTo>
                  <a:pt x="859474" y="238914"/>
                </a:lnTo>
                <a:cubicBezTo>
                  <a:pt x="955196" y="264248"/>
                  <a:pt x="1042444" y="314620"/>
                  <a:pt x="1112245" y="384851"/>
                </a:cubicBezTo>
                <a:lnTo>
                  <a:pt x="1347230" y="314030"/>
                </a:lnTo>
                <a:lnTo>
                  <a:pt x="1433696" y="463794"/>
                </a:lnTo>
                <a:lnTo>
                  <a:pt x="1254871" y="631887"/>
                </a:lnTo>
                <a:cubicBezTo>
                  <a:pt x="1280793" y="727452"/>
                  <a:pt x="1280793" y="828197"/>
                  <a:pt x="1254871" y="923761"/>
                </a:cubicBezTo>
                <a:lnTo>
                  <a:pt x="1433696" y="1091854"/>
                </a:lnTo>
                <a:lnTo>
                  <a:pt x="1347230" y="1241618"/>
                </a:lnTo>
                <a:lnTo>
                  <a:pt x="1112245" y="1170797"/>
                </a:lnTo>
                <a:cubicBezTo>
                  <a:pt x="1042444" y="1241028"/>
                  <a:pt x="955197" y="1291401"/>
                  <a:pt x="859474" y="1316734"/>
                </a:cubicBezTo>
                <a:lnTo>
                  <a:pt x="803314" y="1555648"/>
                </a:lnTo>
                <a:lnTo>
                  <a:pt x="630382" y="1555648"/>
                </a:lnTo>
                <a:lnTo>
                  <a:pt x="574222" y="1316734"/>
                </a:lnTo>
                <a:cubicBezTo>
                  <a:pt x="478500" y="1291400"/>
                  <a:pt x="391252" y="1241028"/>
                  <a:pt x="321451" y="1170797"/>
                </a:cubicBezTo>
                <a:lnTo>
                  <a:pt x="86466" y="1241618"/>
                </a:lnTo>
                <a:lnTo>
                  <a:pt x="0" y="1091854"/>
                </a:lnTo>
                <a:lnTo>
                  <a:pt x="178825" y="923761"/>
                </a:lnTo>
                <a:cubicBezTo>
                  <a:pt x="152903" y="828196"/>
                  <a:pt x="152903" y="727451"/>
                  <a:pt x="178825" y="631887"/>
                </a:cubicBezTo>
                <a:lnTo>
                  <a:pt x="0" y="463794"/>
                </a:lnTo>
                <a:lnTo>
                  <a:pt x="86466" y="314030"/>
                </a:lnTo>
                <a:lnTo>
                  <a:pt x="321451" y="384851"/>
                </a:lnTo>
                <a:cubicBezTo>
                  <a:pt x="391252" y="314620"/>
                  <a:pt x="478499" y="264247"/>
                  <a:pt x="574222" y="238914"/>
                </a:cubicBezTo>
                <a:lnTo>
                  <a:pt x="630382" y="0"/>
                </a:lnTo>
                <a:close/>
              </a:path>
            </a:pathLst>
          </a:custGeom>
          <a:solidFill>
            <a:srgbClr val="F5C35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2" name="Freeform 12"/>
          <p:cNvSpPr/>
          <p:nvPr/>
        </p:nvSpPr>
        <p:spPr>
          <a:xfrm>
            <a:off x="1515017" y="2890713"/>
            <a:ext cx="407141" cy="461407"/>
          </a:xfrm>
          <a:custGeom>
            <a:avLst/>
            <a:gdLst>
              <a:gd name="connsiteX0" fmla="*/ 731630 w 1463260"/>
              <a:gd name="connsiteY0" fmla="*/ 383653 h 1587726"/>
              <a:gd name="connsiteX1" fmla="*/ 321420 w 1463260"/>
              <a:gd name="connsiteY1" fmla="*/ 793863 h 1587726"/>
              <a:gd name="connsiteX2" fmla="*/ 731630 w 1463260"/>
              <a:gd name="connsiteY2" fmla="*/ 1204073 h 1587726"/>
              <a:gd name="connsiteX3" fmla="*/ 1141840 w 1463260"/>
              <a:gd name="connsiteY3" fmla="*/ 793863 h 1587726"/>
              <a:gd name="connsiteX4" fmla="*/ 731630 w 1463260"/>
              <a:gd name="connsiteY4" fmla="*/ 383653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383653"/>
                </a:moveTo>
                <a:cubicBezTo>
                  <a:pt x="505077" y="383653"/>
                  <a:pt x="321420" y="567310"/>
                  <a:pt x="321420" y="793863"/>
                </a:cubicBezTo>
                <a:cubicBezTo>
                  <a:pt x="321420" y="1020416"/>
                  <a:pt x="505077" y="1204073"/>
                  <a:pt x="731630" y="1204073"/>
                </a:cubicBezTo>
                <a:cubicBezTo>
                  <a:pt x="958183" y="1204073"/>
                  <a:pt x="1141840" y="1020416"/>
                  <a:pt x="1141840" y="793863"/>
                </a:cubicBezTo>
                <a:cubicBezTo>
                  <a:pt x="1141840" y="567310"/>
                  <a:pt x="958183" y="383653"/>
                  <a:pt x="731630" y="383653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84DFFE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 13"/>
          <p:cNvSpPr/>
          <p:nvPr/>
        </p:nvSpPr>
        <p:spPr>
          <a:xfrm>
            <a:off x="958494" y="2659931"/>
            <a:ext cx="395896" cy="407210"/>
          </a:xfrm>
          <a:custGeom>
            <a:avLst/>
            <a:gdLst>
              <a:gd name="connsiteX0" fmla="*/ 1106997 w 2213994"/>
              <a:gd name="connsiteY0" fmla="*/ 561989 h 2180359"/>
              <a:gd name="connsiteX1" fmla="*/ 560897 w 2213994"/>
              <a:gd name="connsiteY1" fmla="*/ 1108089 h 2180359"/>
              <a:gd name="connsiteX2" fmla="*/ 1106997 w 2213994"/>
              <a:gd name="connsiteY2" fmla="*/ 1654189 h 2180359"/>
              <a:gd name="connsiteX3" fmla="*/ 1653097 w 2213994"/>
              <a:gd name="connsiteY3" fmla="*/ 1108089 h 2180359"/>
              <a:gd name="connsiteX4" fmla="*/ 1106997 w 2213994"/>
              <a:gd name="connsiteY4" fmla="*/ 561989 h 2180359"/>
              <a:gd name="connsiteX5" fmla="*/ 1016339 w 2213994"/>
              <a:gd name="connsiteY5" fmla="*/ 0 h 2180359"/>
              <a:gd name="connsiteX6" fmla="*/ 1197655 w 2213994"/>
              <a:gd name="connsiteY6" fmla="*/ 0 h 2180359"/>
              <a:gd name="connsiteX7" fmla="*/ 1237062 w 2213994"/>
              <a:gd name="connsiteY7" fmla="*/ 223520 h 2180359"/>
              <a:gd name="connsiteX8" fmla="*/ 1575952 w 2213994"/>
              <a:gd name="connsiteY8" fmla="*/ 346866 h 2180359"/>
              <a:gd name="connsiteX9" fmla="*/ 1749815 w 2213994"/>
              <a:gd name="connsiteY9" fmla="*/ 200970 h 2180359"/>
              <a:gd name="connsiteX10" fmla="*/ 1888711 w 2213994"/>
              <a:gd name="connsiteY10" fmla="*/ 317518 h 2180359"/>
              <a:gd name="connsiteX11" fmla="*/ 1775222 w 2213994"/>
              <a:gd name="connsiteY11" fmla="*/ 514074 h 2180359"/>
              <a:gd name="connsiteX12" fmla="*/ 1955541 w 2213994"/>
              <a:gd name="connsiteY12" fmla="*/ 826396 h 2180359"/>
              <a:gd name="connsiteX13" fmla="*/ 2182509 w 2213994"/>
              <a:gd name="connsiteY13" fmla="*/ 826390 h 2180359"/>
              <a:gd name="connsiteX14" fmla="*/ 2213994 w 2213994"/>
              <a:gd name="connsiteY14" fmla="*/ 1004952 h 2180359"/>
              <a:gd name="connsiteX15" fmla="*/ 2000713 w 2213994"/>
              <a:gd name="connsiteY15" fmla="*/ 1082574 h 2180359"/>
              <a:gd name="connsiteX16" fmla="*/ 1938089 w 2213994"/>
              <a:gd name="connsiteY16" fmla="*/ 1437734 h 2180359"/>
              <a:gd name="connsiteX17" fmla="*/ 2111959 w 2213994"/>
              <a:gd name="connsiteY17" fmla="*/ 1583621 h 2180359"/>
              <a:gd name="connsiteX18" fmla="*/ 2021301 w 2213994"/>
              <a:gd name="connsiteY18" fmla="*/ 1740646 h 2180359"/>
              <a:gd name="connsiteX19" fmla="*/ 1808024 w 2213994"/>
              <a:gd name="connsiteY19" fmla="*/ 1663013 h 2180359"/>
              <a:gd name="connsiteX20" fmla="*/ 1531759 w 2213994"/>
              <a:gd name="connsiteY20" fmla="*/ 1894827 h 2180359"/>
              <a:gd name="connsiteX21" fmla="*/ 1571177 w 2213994"/>
              <a:gd name="connsiteY21" fmla="*/ 2118345 h 2180359"/>
              <a:gd name="connsiteX22" fmla="*/ 1400795 w 2213994"/>
              <a:gd name="connsiteY22" fmla="*/ 2180359 h 2180359"/>
              <a:gd name="connsiteX23" fmla="*/ 1287316 w 2213994"/>
              <a:gd name="connsiteY23" fmla="*/ 1983797 h 2180359"/>
              <a:gd name="connsiteX24" fmla="*/ 926677 w 2213994"/>
              <a:gd name="connsiteY24" fmla="*/ 1983797 h 2180359"/>
              <a:gd name="connsiteX25" fmla="*/ 813199 w 2213994"/>
              <a:gd name="connsiteY25" fmla="*/ 2180359 h 2180359"/>
              <a:gd name="connsiteX26" fmla="*/ 642817 w 2213994"/>
              <a:gd name="connsiteY26" fmla="*/ 2118345 h 2180359"/>
              <a:gd name="connsiteX27" fmla="*/ 682236 w 2213994"/>
              <a:gd name="connsiteY27" fmla="*/ 1894827 h 2180359"/>
              <a:gd name="connsiteX28" fmla="*/ 405971 w 2213994"/>
              <a:gd name="connsiteY28" fmla="*/ 1663013 h 2180359"/>
              <a:gd name="connsiteX29" fmla="*/ 192693 w 2213994"/>
              <a:gd name="connsiteY29" fmla="*/ 1740646 h 2180359"/>
              <a:gd name="connsiteX30" fmla="*/ 102035 w 2213994"/>
              <a:gd name="connsiteY30" fmla="*/ 1583621 h 2180359"/>
              <a:gd name="connsiteX31" fmla="*/ 275905 w 2213994"/>
              <a:gd name="connsiteY31" fmla="*/ 1437734 h 2180359"/>
              <a:gd name="connsiteX32" fmla="*/ 213281 w 2213994"/>
              <a:gd name="connsiteY32" fmla="*/ 1082574 h 2180359"/>
              <a:gd name="connsiteX33" fmla="*/ 0 w 2213994"/>
              <a:gd name="connsiteY33" fmla="*/ 1004952 h 2180359"/>
              <a:gd name="connsiteX34" fmla="*/ 31485 w 2213994"/>
              <a:gd name="connsiteY34" fmla="*/ 826390 h 2180359"/>
              <a:gd name="connsiteX35" fmla="*/ 258452 w 2213994"/>
              <a:gd name="connsiteY35" fmla="*/ 826396 h 2180359"/>
              <a:gd name="connsiteX36" fmla="*/ 438771 w 2213994"/>
              <a:gd name="connsiteY36" fmla="*/ 514074 h 2180359"/>
              <a:gd name="connsiteX37" fmla="*/ 325283 w 2213994"/>
              <a:gd name="connsiteY37" fmla="*/ 317518 h 2180359"/>
              <a:gd name="connsiteX38" fmla="*/ 464179 w 2213994"/>
              <a:gd name="connsiteY38" fmla="*/ 200970 h 2180359"/>
              <a:gd name="connsiteX39" fmla="*/ 638042 w 2213994"/>
              <a:gd name="connsiteY39" fmla="*/ 346866 h 2180359"/>
              <a:gd name="connsiteX40" fmla="*/ 976932 w 2213994"/>
              <a:gd name="connsiteY40" fmla="*/ 223520 h 2180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213994" h="2180359">
                <a:moveTo>
                  <a:pt x="1106997" y="561989"/>
                </a:moveTo>
                <a:cubicBezTo>
                  <a:pt x="805394" y="561989"/>
                  <a:pt x="560897" y="806486"/>
                  <a:pt x="560897" y="1108089"/>
                </a:cubicBezTo>
                <a:cubicBezTo>
                  <a:pt x="560897" y="1409692"/>
                  <a:pt x="805394" y="1654189"/>
                  <a:pt x="1106997" y="1654189"/>
                </a:cubicBezTo>
                <a:cubicBezTo>
                  <a:pt x="1408600" y="1654189"/>
                  <a:pt x="1653097" y="1409692"/>
                  <a:pt x="1653097" y="1108089"/>
                </a:cubicBezTo>
                <a:cubicBezTo>
                  <a:pt x="1653097" y="806486"/>
                  <a:pt x="1408600" y="561989"/>
                  <a:pt x="1106997" y="561989"/>
                </a:cubicBezTo>
                <a:close/>
                <a:moveTo>
                  <a:pt x="1016339" y="0"/>
                </a:moveTo>
                <a:lnTo>
                  <a:pt x="1197655" y="0"/>
                </a:lnTo>
                <a:lnTo>
                  <a:pt x="1237062" y="223520"/>
                </a:lnTo>
                <a:cubicBezTo>
                  <a:pt x="1357231" y="241189"/>
                  <a:pt x="1472539" y="283158"/>
                  <a:pt x="1575952" y="346866"/>
                </a:cubicBezTo>
                <a:lnTo>
                  <a:pt x="1749815" y="200970"/>
                </a:lnTo>
                <a:lnTo>
                  <a:pt x="1888711" y="317518"/>
                </a:lnTo>
                <a:lnTo>
                  <a:pt x="1775222" y="514074"/>
                </a:lnTo>
                <a:cubicBezTo>
                  <a:pt x="1855919" y="604853"/>
                  <a:pt x="1917273" y="711121"/>
                  <a:pt x="1955541" y="826396"/>
                </a:cubicBezTo>
                <a:lnTo>
                  <a:pt x="2182509" y="826390"/>
                </a:lnTo>
                <a:lnTo>
                  <a:pt x="2213994" y="1004952"/>
                </a:lnTo>
                <a:lnTo>
                  <a:pt x="2000713" y="1082574"/>
                </a:lnTo>
                <a:cubicBezTo>
                  <a:pt x="2004179" y="1203985"/>
                  <a:pt x="1982871" y="1324830"/>
                  <a:pt x="1938089" y="1437734"/>
                </a:cubicBezTo>
                <a:lnTo>
                  <a:pt x="2111959" y="1583621"/>
                </a:lnTo>
                <a:lnTo>
                  <a:pt x="2021301" y="1740646"/>
                </a:lnTo>
                <a:lnTo>
                  <a:pt x="1808024" y="1663013"/>
                </a:lnTo>
                <a:cubicBezTo>
                  <a:pt x="1732638" y="1758248"/>
                  <a:pt x="1638637" y="1837123"/>
                  <a:pt x="1531759" y="1894827"/>
                </a:cubicBezTo>
                <a:lnTo>
                  <a:pt x="1571177" y="2118345"/>
                </a:lnTo>
                <a:lnTo>
                  <a:pt x="1400795" y="2180359"/>
                </a:lnTo>
                <a:lnTo>
                  <a:pt x="1287316" y="1983797"/>
                </a:lnTo>
                <a:cubicBezTo>
                  <a:pt x="1168351" y="2008293"/>
                  <a:pt x="1045642" y="2008293"/>
                  <a:pt x="926677" y="1983797"/>
                </a:cubicBezTo>
                <a:lnTo>
                  <a:pt x="813199" y="2180359"/>
                </a:lnTo>
                <a:lnTo>
                  <a:pt x="642817" y="2118345"/>
                </a:lnTo>
                <a:lnTo>
                  <a:pt x="682236" y="1894827"/>
                </a:lnTo>
                <a:cubicBezTo>
                  <a:pt x="575358" y="1837123"/>
                  <a:pt x="481357" y="1758247"/>
                  <a:pt x="405971" y="1663013"/>
                </a:cubicBezTo>
                <a:lnTo>
                  <a:pt x="192693" y="1740646"/>
                </a:lnTo>
                <a:lnTo>
                  <a:pt x="102035" y="1583621"/>
                </a:lnTo>
                <a:lnTo>
                  <a:pt x="275905" y="1437734"/>
                </a:lnTo>
                <a:cubicBezTo>
                  <a:pt x="231123" y="1324830"/>
                  <a:pt x="209814" y="1203985"/>
                  <a:pt x="213281" y="1082574"/>
                </a:cubicBezTo>
                <a:lnTo>
                  <a:pt x="0" y="1004952"/>
                </a:lnTo>
                <a:lnTo>
                  <a:pt x="31485" y="826390"/>
                </a:lnTo>
                <a:lnTo>
                  <a:pt x="258452" y="826396"/>
                </a:lnTo>
                <a:cubicBezTo>
                  <a:pt x="296720" y="711121"/>
                  <a:pt x="358074" y="604852"/>
                  <a:pt x="438771" y="514074"/>
                </a:cubicBezTo>
                <a:lnTo>
                  <a:pt x="325283" y="317518"/>
                </a:lnTo>
                <a:lnTo>
                  <a:pt x="464179" y="200970"/>
                </a:lnTo>
                <a:lnTo>
                  <a:pt x="638042" y="346866"/>
                </a:lnTo>
                <a:cubicBezTo>
                  <a:pt x="741454" y="283158"/>
                  <a:pt x="856763" y="241190"/>
                  <a:pt x="976932" y="22352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4" name="Freeform 14"/>
          <p:cNvSpPr/>
          <p:nvPr/>
        </p:nvSpPr>
        <p:spPr>
          <a:xfrm>
            <a:off x="1370331" y="3709851"/>
            <a:ext cx="282827" cy="295397"/>
          </a:xfrm>
          <a:custGeom>
            <a:avLst/>
            <a:gdLst>
              <a:gd name="connsiteX0" fmla="*/ 675641 w 1351280"/>
              <a:gd name="connsiteY0" fmla="*/ 436140 h 1351280"/>
              <a:gd name="connsiteX1" fmla="*/ 436140 w 1351280"/>
              <a:gd name="connsiteY1" fmla="*/ 675641 h 1351280"/>
              <a:gd name="connsiteX2" fmla="*/ 675641 w 1351280"/>
              <a:gd name="connsiteY2" fmla="*/ 915142 h 1351280"/>
              <a:gd name="connsiteX3" fmla="*/ 915142 w 1351280"/>
              <a:gd name="connsiteY3" fmla="*/ 675641 h 1351280"/>
              <a:gd name="connsiteX4" fmla="*/ 675641 w 1351280"/>
              <a:gd name="connsiteY4" fmla="*/ 436140 h 1351280"/>
              <a:gd name="connsiteX5" fmla="*/ 675640 w 1351280"/>
              <a:gd name="connsiteY5" fmla="*/ 0 h 1351280"/>
              <a:gd name="connsiteX6" fmla="*/ 1351280 w 1351280"/>
              <a:gd name="connsiteY6" fmla="*/ 675640 h 1351280"/>
              <a:gd name="connsiteX7" fmla="*/ 675640 w 1351280"/>
              <a:gd name="connsiteY7" fmla="*/ 1351280 h 1351280"/>
              <a:gd name="connsiteX8" fmla="*/ 0 w 1351280"/>
              <a:gd name="connsiteY8" fmla="*/ 675640 h 1351280"/>
              <a:gd name="connsiteX9" fmla="*/ 675640 w 1351280"/>
              <a:gd name="connsiteY9" fmla="*/ 0 h 13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51280" h="1351280">
                <a:moveTo>
                  <a:pt x="675641" y="436140"/>
                </a:moveTo>
                <a:cubicBezTo>
                  <a:pt x="543368" y="436140"/>
                  <a:pt x="436140" y="543368"/>
                  <a:pt x="436140" y="675641"/>
                </a:cubicBezTo>
                <a:cubicBezTo>
                  <a:pt x="436140" y="807914"/>
                  <a:pt x="543368" y="915142"/>
                  <a:pt x="675641" y="915142"/>
                </a:cubicBezTo>
                <a:cubicBezTo>
                  <a:pt x="807914" y="915142"/>
                  <a:pt x="915142" y="807914"/>
                  <a:pt x="915142" y="675641"/>
                </a:cubicBezTo>
                <a:cubicBezTo>
                  <a:pt x="915142" y="543368"/>
                  <a:pt x="807914" y="436140"/>
                  <a:pt x="675641" y="436140"/>
                </a:cubicBezTo>
                <a:close/>
                <a:moveTo>
                  <a:pt x="675640" y="0"/>
                </a:moveTo>
                <a:cubicBezTo>
                  <a:pt x="1048786" y="0"/>
                  <a:pt x="1351280" y="302494"/>
                  <a:pt x="1351280" y="675640"/>
                </a:cubicBezTo>
                <a:cubicBezTo>
                  <a:pt x="1351280" y="1048786"/>
                  <a:pt x="1048786" y="1351280"/>
                  <a:pt x="675640" y="1351280"/>
                </a:cubicBezTo>
                <a:cubicBezTo>
                  <a:pt x="302494" y="1351280"/>
                  <a:pt x="0" y="1048786"/>
                  <a:pt x="0" y="675640"/>
                </a:cubicBezTo>
                <a:cubicBezTo>
                  <a:pt x="0" y="302494"/>
                  <a:pt x="302494" y="0"/>
                  <a:pt x="675640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reeform 15"/>
          <p:cNvSpPr/>
          <p:nvPr/>
        </p:nvSpPr>
        <p:spPr>
          <a:xfrm>
            <a:off x="2318457" y="2966922"/>
            <a:ext cx="232747" cy="243092"/>
          </a:xfrm>
          <a:custGeom>
            <a:avLst/>
            <a:gdLst>
              <a:gd name="connsiteX0" fmla="*/ 675641 w 1351280"/>
              <a:gd name="connsiteY0" fmla="*/ 436140 h 1351280"/>
              <a:gd name="connsiteX1" fmla="*/ 436140 w 1351280"/>
              <a:gd name="connsiteY1" fmla="*/ 675641 h 1351280"/>
              <a:gd name="connsiteX2" fmla="*/ 675641 w 1351280"/>
              <a:gd name="connsiteY2" fmla="*/ 915142 h 1351280"/>
              <a:gd name="connsiteX3" fmla="*/ 915142 w 1351280"/>
              <a:gd name="connsiteY3" fmla="*/ 675641 h 1351280"/>
              <a:gd name="connsiteX4" fmla="*/ 675641 w 1351280"/>
              <a:gd name="connsiteY4" fmla="*/ 436140 h 1351280"/>
              <a:gd name="connsiteX5" fmla="*/ 675640 w 1351280"/>
              <a:gd name="connsiteY5" fmla="*/ 0 h 1351280"/>
              <a:gd name="connsiteX6" fmla="*/ 1351280 w 1351280"/>
              <a:gd name="connsiteY6" fmla="*/ 675640 h 1351280"/>
              <a:gd name="connsiteX7" fmla="*/ 675640 w 1351280"/>
              <a:gd name="connsiteY7" fmla="*/ 1351280 h 1351280"/>
              <a:gd name="connsiteX8" fmla="*/ 0 w 1351280"/>
              <a:gd name="connsiteY8" fmla="*/ 675640 h 1351280"/>
              <a:gd name="connsiteX9" fmla="*/ 675640 w 1351280"/>
              <a:gd name="connsiteY9" fmla="*/ 0 h 13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51280" h="1351280">
                <a:moveTo>
                  <a:pt x="675641" y="436140"/>
                </a:moveTo>
                <a:cubicBezTo>
                  <a:pt x="543368" y="436140"/>
                  <a:pt x="436140" y="543368"/>
                  <a:pt x="436140" y="675641"/>
                </a:cubicBezTo>
                <a:cubicBezTo>
                  <a:pt x="436140" y="807914"/>
                  <a:pt x="543368" y="915142"/>
                  <a:pt x="675641" y="915142"/>
                </a:cubicBezTo>
                <a:cubicBezTo>
                  <a:pt x="807914" y="915142"/>
                  <a:pt x="915142" y="807914"/>
                  <a:pt x="915142" y="675641"/>
                </a:cubicBezTo>
                <a:cubicBezTo>
                  <a:pt x="915142" y="543368"/>
                  <a:pt x="807914" y="436140"/>
                  <a:pt x="675641" y="436140"/>
                </a:cubicBezTo>
                <a:close/>
                <a:moveTo>
                  <a:pt x="675640" y="0"/>
                </a:moveTo>
                <a:cubicBezTo>
                  <a:pt x="1048786" y="0"/>
                  <a:pt x="1351280" y="302494"/>
                  <a:pt x="1351280" y="675640"/>
                </a:cubicBezTo>
                <a:cubicBezTo>
                  <a:pt x="1351280" y="1048786"/>
                  <a:pt x="1048786" y="1351280"/>
                  <a:pt x="675640" y="1351280"/>
                </a:cubicBezTo>
                <a:cubicBezTo>
                  <a:pt x="302494" y="1351280"/>
                  <a:pt x="0" y="1048786"/>
                  <a:pt x="0" y="675640"/>
                </a:cubicBezTo>
                <a:cubicBezTo>
                  <a:pt x="0" y="302494"/>
                  <a:pt x="302494" y="0"/>
                  <a:pt x="675640" y="0"/>
                </a:cubicBezTo>
                <a:close/>
              </a:path>
            </a:pathLst>
          </a:custGeom>
          <a:solidFill>
            <a:srgbClr val="53D7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8" name="Agrupar 17"/>
          <p:cNvGrpSpPr/>
          <p:nvPr/>
        </p:nvGrpSpPr>
        <p:grpSpPr>
          <a:xfrm>
            <a:off x="5076057" y="519808"/>
            <a:ext cx="3594472" cy="2370905"/>
            <a:chOff x="5148064" y="662667"/>
            <a:chExt cx="3073519" cy="1955520"/>
          </a:xfrm>
        </p:grpSpPr>
        <p:sp>
          <p:nvSpPr>
            <p:cNvPr id="16" name="Line Callout 2 3"/>
            <p:cNvSpPr/>
            <p:nvPr/>
          </p:nvSpPr>
          <p:spPr>
            <a:xfrm>
              <a:off x="5148064" y="662667"/>
              <a:ext cx="3073519" cy="1955520"/>
            </a:xfrm>
            <a:prstGeom prst="borderCallout2">
              <a:avLst>
                <a:gd name="adj1" fmla="val 52340"/>
                <a:gd name="adj2" fmla="val -246"/>
                <a:gd name="adj3" fmla="val 52332"/>
                <a:gd name="adj4" fmla="val -19899"/>
                <a:gd name="adj5" fmla="val 104110"/>
                <a:gd name="adj6" fmla="val -66165"/>
              </a:avLst>
            </a:prstGeom>
            <a:solidFill>
              <a:schemeClr val="tx2"/>
            </a:solidFill>
            <a:ln w="3175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7" name="Retângulo 16"/>
            <p:cNvSpPr/>
            <p:nvPr/>
          </p:nvSpPr>
          <p:spPr>
            <a:xfrm>
              <a:off x="5212169" y="842446"/>
              <a:ext cx="2945308" cy="159927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pt-BR" sz="2400" b="1" dirty="0">
                  <a:solidFill>
                    <a:schemeClr val="bg1"/>
                  </a:solidFill>
                </a:rPr>
                <a:t>Quantos US$ bilhões que o etanol pode buscar a mais espalhando desenvolvimento econômico e social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749832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Estimativa do mercado</a:t>
            </a:r>
            <a:r>
              <a:rPr lang="bg-BG" dirty="0"/>
              <a:t> de etanol</a:t>
            </a:r>
            <a:r>
              <a:rPr lang="en-US" dirty="0"/>
              <a:t> 2030/31</a:t>
            </a:r>
            <a:endParaRPr lang="pt-BR" dirty="0"/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3422308"/>
              </p:ext>
            </p:extLst>
          </p:nvPr>
        </p:nvGraphicFramePr>
        <p:xfrm>
          <a:off x="360000" y="1556792"/>
          <a:ext cx="8424001" cy="446449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28321">
                  <a:extLst>
                    <a:ext uri="{9D8B030D-6E8A-4147-A177-3AD203B41FA5}">
                      <a16:colId xmlns:a16="http://schemas.microsoft.com/office/drawing/2014/main" xmlns="" val="2176446544"/>
                    </a:ext>
                  </a:extLst>
                </a:gridCol>
                <a:gridCol w="1347840">
                  <a:extLst>
                    <a:ext uri="{9D8B030D-6E8A-4147-A177-3AD203B41FA5}">
                      <a16:colId xmlns:a16="http://schemas.microsoft.com/office/drawing/2014/main" xmlns="" val="3172813251"/>
                    </a:ext>
                  </a:extLst>
                </a:gridCol>
                <a:gridCol w="1347840">
                  <a:extLst>
                    <a:ext uri="{9D8B030D-6E8A-4147-A177-3AD203B41FA5}">
                      <a16:colId xmlns:a16="http://schemas.microsoft.com/office/drawing/2014/main" xmlns="" val="4289544676"/>
                    </a:ext>
                  </a:extLst>
                </a:gridCol>
              </a:tblGrid>
              <a:tr h="405863">
                <a:tc>
                  <a:txBody>
                    <a:bodyPr/>
                    <a:lstStyle/>
                    <a:p>
                      <a:pPr algn="l" fontAlgn="b"/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2015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0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81842832"/>
                  </a:ext>
                </a:extLst>
              </a:tr>
              <a:tr h="405863">
                <a:tc>
                  <a:txBody>
                    <a:bodyPr/>
                    <a:lstStyle/>
                    <a:p>
                      <a:pPr lvl="1" algn="l" fontAlgn="b"/>
                      <a:r>
                        <a:rPr lang="pt-BR" sz="1800" b="1" u="none" strike="noStrike" dirty="0">
                          <a:effectLst/>
                        </a:rPr>
                        <a:t>Consumo Etanol Anidro (bilhões litros)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r" fontAlgn="b"/>
                      <a:r>
                        <a:rPr lang="pt-BR" sz="1800" b="1" u="none" strike="noStrike" dirty="0">
                          <a:effectLst/>
                        </a:rPr>
                        <a:t>10,93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r" fontAlgn="b"/>
                      <a:r>
                        <a:rPr lang="pt-BR" sz="1800" b="1" u="none" strike="noStrike" dirty="0">
                          <a:effectLst/>
                        </a:rPr>
                        <a:t>12,5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22908346"/>
                  </a:ext>
                </a:extLst>
              </a:tr>
              <a:tr h="405863">
                <a:tc>
                  <a:txBody>
                    <a:bodyPr/>
                    <a:lstStyle/>
                    <a:p>
                      <a:pPr lvl="1" algn="l" fontAlgn="b"/>
                      <a:r>
                        <a:rPr lang="pt-BR" sz="1800" b="1" u="none" strike="noStrike" dirty="0">
                          <a:effectLst/>
                        </a:rPr>
                        <a:t>Consumo Etanol Hidratado (bilhões litros)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r" fontAlgn="b"/>
                      <a:r>
                        <a:rPr lang="pt-BR" sz="1800" b="1" u="none" strike="noStrike" dirty="0">
                          <a:effectLst/>
                        </a:rPr>
                        <a:t>17,86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r" fontAlgn="b"/>
                      <a:r>
                        <a:rPr lang="pt-BR" sz="1800" b="1" u="none" strike="noStrike" dirty="0">
                          <a:effectLst/>
                        </a:rPr>
                        <a:t>37,5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87860680"/>
                  </a:ext>
                </a:extLst>
              </a:tr>
              <a:tr h="405863">
                <a:tc>
                  <a:txBody>
                    <a:bodyPr/>
                    <a:lstStyle/>
                    <a:p>
                      <a:pPr lvl="1" algn="l" fontAlgn="b"/>
                      <a:r>
                        <a:rPr lang="pt-BR" sz="1800" b="1" u="none" strike="noStrike" dirty="0">
                          <a:effectLst/>
                        </a:rPr>
                        <a:t>Consumo Etanol Total (bilhões litros)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b"/>
                      <a:r>
                        <a:rPr lang="pt-BR" sz="1800" b="1" u="none" strike="noStrike" dirty="0">
                          <a:effectLst/>
                        </a:rPr>
                        <a:t>28,79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b"/>
                      <a:r>
                        <a:rPr lang="pt-BR" sz="1800" b="1" u="none" strike="noStrike" dirty="0">
                          <a:effectLst/>
                        </a:rPr>
                        <a:t>50</a:t>
                      </a:r>
                      <a:r>
                        <a:rPr lang="bg-BG" sz="1800" b="1" u="none" strike="noStrike" dirty="0">
                          <a:effectLst/>
                        </a:rPr>
                        <a:t>,00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34206109"/>
                  </a:ext>
                </a:extLst>
              </a:tr>
              <a:tr h="405863">
                <a:tc>
                  <a:txBody>
                    <a:bodyPr/>
                    <a:lstStyle/>
                    <a:p>
                      <a:pPr lvl="1" algn="l" fontAlgn="b"/>
                      <a:r>
                        <a:rPr lang="pt-BR" sz="1800" b="1" u="none" strike="noStrike" dirty="0">
                          <a:effectLst/>
                        </a:rPr>
                        <a:t>Participação etanol Anidro (%)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r" fontAlgn="b"/>
                      <a:r>
                        <a:rPr lang="pt-BR" sz="1800" b="1" u="none" strike="noStrike" dirty="0">
                          <a:effectLst/>
                        </a:rPr>
                        <a:t>38%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r" fontAlgn="b"/>
                      <a:r>
                        <a:rPr lang="pt-BR" sz="1800" b="1" u="none" strike="noStrike" dirty="0">
                          <a:effectLst/>
                        </a:rPr>
                        <a:t>25%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14907401"/>
                  </a:ext>
                </a:extLst>
              </a:tr>
              <a:tr h="405863">
                <a:tc>
                  <a:txBody>
                    <a:bodyPr/>
                    <a:lstStyle/>
                    <a:p>
                      <a:pPr lvl="1" algn="l" fontAlgn="b"/>
                      <a:r>
                        <a:rPr lang="pt-BR" sz="1800" b="1" u="none" strike="noStrike" dirty="0">
                          <a:effectLst/>
                        </a:rPr>
                        <a:t>Participação etanol Hidratado (%)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r" fontAlgn="b"/>
                      <a:r>
                        <a:rPr lang="pt-BR" sz="1800" b="1" u="none" strike="noStrike" dirty="0">
                          <a:effectLst/>
                        </a:rPr>
                        <a:t>62%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r" fontAlgn="b"/>
                      <a:r>
                        <a:rPr lang="pt-BR" sz="1800" b="1" u="none" strike="noStrike" dirty="0">
                          <a:effectLst/>
                        </a:rPr>
                        <a:t>75%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80865305"/>
                  </a:ext>
                </a:extLst>
              </a:tr>
              <a:tr h="405863">
                <a:tc>
                  <a:txBody>
                    <a:bodyPr/>
                    <a:lstStyle/>
                    <a:p>
                      <a:pPr lvl="1" algn="l" fontAlgn="b"/>
                      <a:r>
                        <a:rPr lang="pt-BR" sz="1800" b="1" u="none" strike="noStrike" dirty="0">
                          <a:effectLst/>
                        </a:rPr>
                        <a:t>Preço Etanol Anidro (R$/l)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r" fontAlgn="b"/>
                      <a:r>
                        <a:rPr lang="pt-BR" sz="1800" b="1" u="none" strike="noStrike" dirty="0">
                          <a:effectLst/>
                        </a:rPr>
                        <a:t>1,6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r" fontAlgn="b"/>
                      <a:r>
                        <a:rPr lang="pt-BR" sz="1800" b="1" u="none" strike="noStrike" dirty="0">
                          <a:effectLst/>
                        </a:rPr>
                        <a:t>1,6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74823503"/>
                  </a:ext>
                </a:extLst>
              </a:tr>
              <a:tr h="405863">
                <a:tc>
                  <a:txBody>
                    <a:bodyPr/>
                    <a:lstStyle/>
                    <a:p>
                      <a:pPr lvl="1" algn="l" fontAlgn="b"/>
                      <a:r>
                        <a:rPr lang="pt-BR" sz="1800" b="1" u="none" strike="noStrike" dirty="0">
                          <a:effectLst/>
                        </a:rPr>
                        <a:t>Preço Etanol Hidratado (R$/l)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r" fontAlgn="b"/>
                      <a:r>
                        <a:rPr lang="pt-BR" sz="1800" b="1" u="none" strike="noStrike" dirty="0">
                          <a:effectLst/>
                        </a:rPr>
                        <a:t>1,35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r" fontAlgn="b"/>
                      <a:r>
                        <a:rPr lang="pt-BR" sz="1800" b="1" u="none" strike="noStrike" dirty="0">
                          <a:effectLst/>
                        </a:rPr>
                        <a:t>1,35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81050464"/>
                  </a:ext>
                </a:extLst>
              </a:tr>
              <a:tr h="405863">
                <a:tc>
                  <a:txBody>
                    <a:bodyPr/>
                    <a:lstStyle/>
                    <a:p>
                      <a:pPr lvl="1" algn="l" fontAlgn="b"/>
                      <a:r>
                        <a:rPr lang="pt-BR" sz="1800" b="1" u="none" strike="noStrike" dirty="0">
                          <a:effectLst/>
                        </a:rPr>
                        <a:t>Mercado Etanol Anidro (US$ bilhões)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r" fontAlgn="b"/>
                      <a:r>
                        <a:rPr lang="pt-BR" sz="1800" b="1" u="none" strike="noStrike" dirty="0">
                          <a:effectLst/>
                        </a:rPr>
                        <a:t>5,30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r" fontAlgn="b"/>
                      <a:r>
                        <a:rPr lang="pt-BR" sz="1800" b="1" u="none" strike="noStrike" dirty="0">
                          <a:effectLst/>
                        </a:rPr>
                        <a:t>6,06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83641146"/>
                  </a:ext>
                </a:extLst>
              </a:tr>
              <a:tr h="405863">
                <a:tc>
                  <a:txBody>
                    <a:bodyPr/>
                    <a:lstStyle/>
                    <a:p>
                      <a:pPr lvl="1" algn="l" fontAlgn="b"/>
                      <a:r>
                        <a:rPr lang="pt-BR" sz="1800" b="1" u="none" strike="noStrike" dirty="0">
                          <a:effectLst/>
                        </a:rPr>
                        <a:t>Mercado etanol Hidratado (US$ bilhões)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r" fontAlgn="b"/>
                      <a:r>
                        <a:rPr lang="pt-BR" sz="1800" b="1" u="none" strike="noStrike" dirty="0">
                          <a:effectLst/>
                        </a:rPr>
                        <a:t>7,3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r" fontAlgn="b"/>
                      <a:r>
                        <a:rPr lang="pt-BR" sz="1800" b="1" u="none" strike="noStrike" dirty="0">
                          <a:effectLst/>
                        </a:rPr>
                        <a:t>15,34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40795450"/>
                  </a:ext>
                </a:extLst>
              </a:tr>
              <a:tr h="405863">
                <a:tc>
                  <a:txBody>
                    <a:bodyPr/>
                    <a:lstStyle/>
                    <a:p>
                      <a:pPr lvl="1" algn="l" fontAlgn="b"/>
                      <a:r>
                        <a:rPr lang="pt-BR" sz="1800" b="1" u="none" strike="noStrike" dirty="0">
                          <a:effectLst/>
                        </a:rPr>
                        <a:t>Mercado Total Etanol (US$ bilhões</a:t>
                      </a:r>
                      <a:r>
                        <a:rPr lang="bg-BG" sz="1800" b="1" u="none" strike="noStrike" dirty="0">
                          <a:effectLst/>
                        </a:rPr>
                        <a:t> nas Usinas</a:t>
                      </a:r>
                      <a:r>
                        <a:rPr lang="pt-BR" sz="1800" b="1" u="none" strike="noStrike" dirty="0">
                          <a:effectLst/>
                        </a:rPr>
                        <a:t>)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r" fontAlgn="b"/>
                      <a:r>
                        <a:rPr lang="pt-BR" sz="1800" b="1" u="none" strike="noStrike" dirty="0">
                          <a:effectLst/>
                        </a:rPr>
                        <a:t>12,6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r" fontAlgn="b"/>
                      <a:r>
                        <a:rPr lang="pt-BR" sz="1800" b="1" u="none" strike="noStrike" dirty="0">
                          <a:effectLst/>
                        </a:rPr>
                        <a:t>21,40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49894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7869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9"/>
          <p:cNvSpPr/>
          <p:nvPr/>
        </p:nvSpPr>
        <p:spPr>
          <a:xfrm>
            <a:off x="2239859" y="2446441"/>
            <a:ext cx="6879032" cy="3960440"/>
          </a:xfrm>
          <a:custGeom>
            <a:avLst/>
            <a:gdLst>
              <a:gd name="connsiteX0" fmla="*/ 0 w 3765837"/>
              <a:gd name="connsiteY0" fmla="*/ 0 h 5331668"/>
              <a:gd name="connsiteX1" fmla="*/ 308040 w 3765837"/>
              <a:gd name="connsiteY1" fmla="*/ 0 h 5331668"/>
              <a:gd name="connsiteX2" fmla="*/ 3765837 w 3765837"/>
              <a:gd name="connsiteY2" fmla="*/ 3457797 h 5331668"/>
              <a:gd name="connsiteX3" fmla="*/ 3765837 w 3765837"/>
              <a:gd name="connsiteY3" fmla="*/ 5331668 h 5331668"/>
              <a:gd name="connsiteX4" fmla="*/ 0 w 3765837"/>
              <a:gd name="connsiteY4" fmla="*/ 5331668 h 5331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65837" h="5331668">
                <a:moveTo>
                  <a:pt x="0" y="0"/>
                </a:moveTo>
                <a:lnTo>
                  <a:pt x="308040" y="0"/>
                </a:lnTo>
                <a:lnTo>
                  <a:pt x="3765837" y="3457797"/>
                </a:lnTo>
                <a:lnTo>
                  <a:pt x="3765837" y="5331668"/>
                </a:lnTo>
                <a:lnTo>
                  <a:pt x="0" y="5331668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Freeform 4"/>
          <p:cNvSpPr/>
          <p:nvPr/>
        </p:nvSpPr>
        <p:spPr>
          <a:xfrm>
            <a:off x="1355778" y="2370065"/>
            <a:ext cx="2247136" cy="4036817"/>
          </a:xfrm>
          <a:custGeom>
            <a:avLst/>
            <a:gdLst>
              <a:gd name="connsiteX0" fmla="*/ 323604 w 4522224"/>
              <a:gd name="connsiteY0" fmla="*/ 6062148 h 6062148"/>
              <a:gd name="connsiteX1" fmla="*/ 376944 w 4522224"/>
              <a:gd name="connsiteY1" fmla="*/ 5924988 h 6062148"/>
              <a:gd name="connsiteX2" fmla="*/ 437904 w 4522224"/>
              <a:gd name="connsiteY2" fmla="*/ 5780208 h 6062148"/>
              <a:gd name="connsiteX3" fmla="*/ 468384 w 4522224"/>
              <a:gd name="connsiteY3" fmla="*/ 5665908 h 6062148"/>
              <a:gd name="connsiteX4" fmla="*/ 506484 w 4522224"/>
              <a:gd name="connsiteY4" fmla="*/ 5612568 h 6062148"/>
              <a:gd name="connsiteX5" fmla="*/ 536964 w 4522224"/>
              <a:gd name="connsiteY5" fmla="*/ 5521128 h 6062148"/>
              <a:gd name="connsiteX6" fmla="*/ 559824 w 4522224"/>
              <a:gd name="connsiteY6" fmla="*/ 5353488 h 6062148"/>
              <a:gd name="connsiteX7" fmla="*/ 597924 w 4522224"/>
              <a:gd name="connsiteY7" fmla="*/ 5223948 h 6062148"/>
              <a:gd name="connsiteX8" fmla="*/ 620784 w 4522224"/>
              <a:gd name="connsiteY8" fmla="*/ 5178228 h 6062148"/>
              <a:gd name="connsiteX9" fmla="*/ 696984 w 4522224"/>
              <a:gd name="connsiteY9" fmla="*/ 5071548 h 6062148"/>
              <a:gd name="connsiteX10" fmla="*/ 712224 w 4522224"/>
              <a:gd name="connsiteY10" fmla="*/ 5063928 h 6062148"/>
              <a:gd name="connsiteX11" fmla="*/ 704604 w 4522224"/>
              <a:gd name="connsiteY11" fmla="*/ 5025828 h 6062148"/>
              <a:gd name="connsiteX12" fmla="*/ 696984 w 4522224"/>
              <a:gd name="connsiteY12" fmla="*/ 5002968 h 6062148"/>
              <a:gd name="connsiteX13" fmla="*/ 963684 w 4522224"/>
              <a:gd name="connsiteY13" fmla="*/ 4682928 h 6062148"/>
              <a:gd name="connsiteX14" fmla="*/ 956064 w 4522224"/>
              <a:gd name="connsiteY14" fmla="*/ 4644828 h 6062148"/>
              <a:gd name="connsiteX15" fmla="*/ 1337064 w 4522224"/>
              <a:gd name="connsiteY15" fmla="*/ 4172388 h 6062148"/>
              <a:gd name="connsiteX16" fmla="*/ 1253244 w 4522224"/>
              <a:gd name="connsiteY16" fmla="*/ 4012368 h 6062148"/>
              <a:gd name="connsiteX17" fmla="*/ 1199904 w 4522224"/>
              <a:gd name="connsiteY17" fmla="*/ 3928548 h 6062148"/>
              <a:gd name="connsiteX18" fmla="*/ 1169424 w 4522224"/>
              <a:gd name="connsiteY18" fmla="*/ 3768528 h 6062148"/>
              <a:gd name="connsiteX19" fmla="*/ 1146564 w 4522224"/>
              <a:gd name="connsiteY19" fmla="*/ 3699948 h 6062148"/>
              <a:gd name="connsiteX20" fmla="*/ 1138944 w 4522224"/>
              <a:gd name="connsiteY20" fmla="*/ 3669468 h 6062148"/>
              <a:gd name="connsiteX21" fmla="*/ 1062744 w 4522224"/>
              <a:gd name="connsiteY21" fmla="*/ 3661848 h 6062148"/>
              <a:gd name="connsiteX22" fmla="*/ 933204 w 4522224"/>
              <a:gd name="connsiteY22" fmla="*/ 3669468 h 6062148"/>
              <a:gd name="connsiteX23" fmla="*/ 826524 w 4522224"/>
              <a:gd name="connsiteY23" fmla="*/ 3692328 h 6062148"/>
              <a:gd name="connsiteX24" fmla="*/ 605544 w 4522224"/>
              <a:gd name="connsiteY24" fmla="*/ 3738048 h 6062148"/>
              <a:gd name="connsiteX25" fmla="*/ 384564 w 4522224"/>
              <a:gd name="connsiteY25" fmla="*/ 3638988 h 6062148"/>
              <a:gd name="connsiteX26" fmla="*/ 376944 w 4522224"/>
              <a:gd name="connsiteY26" fmla="*/ 3326568 h 6062148"/>
              <a:gd name="connsiteX27" fmla="*/ 415044 w 4522224"/>
              <a:gd name="connsiteY27" fmla="*/ 3250368 h 6062148"/>
              <a:gd name="connsiteX28" fmla="*/ 415044 w 4522224"/>
              <a:gd name="connsiteY28" fmla="*/ 3227508 h 6062148"/>
              <a:gd name="connsiteX29" fmla="*/ 384564 w 4522224"/>
              <a:gd name="connsiteY29" fmla="*/ 3166548 h 6062148"/>
              <a:gd name="connsiteX30" fmla="*/ 361704 w 4522224"/>
              <a:gd name="connsiteY30" fmla="*/ 3166548 h 6062148"/>
              <a:gd name="connsiteX31" fmla="*/ 346464 w 4522224"/>
              <a:gd name="connsiteY31" fmla="*/ 3105588 h 6062148"/>
              <a:gd name="connsiteX32" fmla="*/ 392184 w 4522224"/>
              <a:gd name="connsiteY32" fmla="*/ 3021768 h 6062148"/>
              <a:gd name="connsiteX33" fmla="*/ 483624 w 4522224"/>
              <a:gd name="connsiteY33" fmla="*/ 2998908 h 6062148"/>
              <a:gd name="connsiteX34" fmla="*/ 460764 w 4522224"/>
              <a:gd name="connsiteY34" fmla="*/ 2930328 h 6062148"/>
              <a:gd name="connsiteX35" fmla="*/ 430284 w 4522224"/>
              <a:gd name="connsiteY35" fmla="*/ 2930328 h 6062148"/>
              <a:gd name="connsiteX36" fmla="*/ 384564 w 4522224"/>
              <a:gd name="connsiteY36" fmla="*/ 2930328 h 6062148"/>
              <a:gd name="connsiteX37" fmla="*/ 300744 w 4522224"/>
              <a:gd name="connsiteY37" fmla="*/ 2876988 h 6062148"/>
              <a:gd name="connsiteX38" fmla="*/ 315984 w 4522224"/>
              <a:gd name="connsiteY38" fmla="*/ 2846508 h 6062148"/>
              <a:gd name="connsiteX39" fmla="*/ 323604 w 4522224"/>
              <a:gd name="connsiteY39" fmla="*/ 2793168 h 6062148"/>
              <a:gd name="connsiteX40" fmla="*/ 308364 w 4522224"/>
              <a:gd name="connsiteY40" fmla="*/ 2732208 h 6062148"/>
              <a:gd name="connsiteX41" fmla="*/ 262644 w 4522224"/>
              <a:gd name="connsiteY41" fmla="*/ 2671248 h 6062148"/>
              <a:gd name="connsiteX42" fmla="*/ 171204 w 4522224"/>
              <a:gd name="connsiteY42" fmla="*/ 2656008 h 6062148"/>
              <a:gd name="connsiteX43" fmla="*/ 49284 w 4522224"/>
              <a:gd name="connsiteY43" fmla="*/ 2610288 h 6062148"/>
              <a:gd name="connsiteX44" fmla="*/ 18804 w 4522224"/>
              <a:gd name="connsiteY44" fmla="*/ 2556948 h 6062148"/>
              <a:gd name="connsiteX45" fmla="*/ 3564 w 4522224"/>
              <a:gd name="connsiteY45" fmla="*/ 2488368 h 6062148"/>
              <a:gd name="connsiteX46" fmla="*/ 87384 w 4522224"/>
              <a:gd name="connsiteY46" fmla="*/ 2335968 h 6062148"/>
              <a:gd name="connsiteX47" fmla="*/ 216924 w 4522224"/>
              <a:gd name="connsiteY47" fmla="*/ 2175948 h 6062148"/>
              <a:gd name="connsiteX48" fmla="*/ 277884 w 4522224"/>
              <a:gd name="connsiteY48" fmla="*/ 2084508 h 6062148"/>
              <a:gd name="connsiteX49" fmla="*/ 323604 w 4522224"/>
              <a:gd name="connsiteY49" fmla="*/ 1977828 h 6062148"/>
              <a:gd name="connsiteX50" fmla="*/ 354084 w 4522224"/>
              <a:gd name="connsiteY50" fmla="*/ 1871148 h 6062148"/>
              <a:gd name="connsiteX51" fmla="*/ 369324 w 4522224"/>
              <a:gd name="connsiteY51" fmla="*/ 1810188 h 6062148"/>
              <a:gd name="connsiteX52" fmla="*/ 338844 w 4522224"/>
              <a:gd name="connsiteY52" fmla="*/ 1756848 h 6062148"/>
              <a:gd name="connsiteX53" fmla="*/ 323604 w 4522224"/>
              <a:gd name="connsiteY53" fmla="*/ 1680648 h 6062148"/>
              <a:gd name="connsiteX54" fmla="*/ 407424 w 4522224"/>
              <a:gd name="connsiteY54" fmla="*/ 1474908 h 6062148"/>
              <a:gd name="connsiteX55" fmla="*/ 437904 w 4522224"/>
              <a:gd name="connsiteY55" fmla="*/ 1307268 h 6062148"/>
              <a:gd name="connsiteX56" fmla="*/ 460764 w 4522224"/>
              <a:gd name="connsiteY56" fmla="*/ 1192968 h 6062148"/>
              <a:gd name="connsiteX57" fmla="*/ 498864 w 4522224"/>
              <a:gd name="connsiteY57" fmla="*/ 1055808 h 6062148"/>
              <a:gd name="connsiteX58" fmla="*/ 552204 w 4522224"/>
              <a:gd name="connsiteY58" fmla="*/ 888168 h 6062148"/>
              <a:gd name="connsiteX59" fmla="*/ 498864 w 4522224"/>
              <a:gd name="connsiteY59" fmla="*/ 888168 h 6062148"/>
              <a:gd name="connsiteX60" fmla="*/ 407424 w 4522224"/>
              <a:gd name="connsiteY60" fmla="*/ 834828 h 6062148"/>
              <a:gd name="connsiteX61" fmla="*/ 323604 w 4522224"/>
              <a:gd name="connsiteY61" fmla="*/ 789108 h 6062148"/>
              <a:gd name="connsiteX62" fmla="*/ 255024 w 4522224"/>
              <a:gd name="connsiteY62" fmla="*/ 773868 h 6062148"/>
              <a:gd name="connsiteX63" fmla="*/ 209304 w 4522224"/>
              <a:gd name="connsiteY63" fmla="*/ 751008 h 6062148"/>
              <a:gd name="connsiteX64" fmla="*/ 255024 w 4522224"/>
              <a:gd name="connsiteY64" fmla="*/ 674808 h 6062148"/>
              <a:gd name="connsiteX65" fmla="*/ 369324 w 4522224"/>
              <a:gd name="connsiteY65" fmla="*/ 606228 h 6062148"/>
              <a:gd name="connsiteX66" fmla="*/ 552204 w 4522224"/>
              <a:gd name="connsiteY66" fmla="*/ 507168 h 6062148"/>
              <a:gd name="connsiteX67" fmla="*/ 651264 w 4522224"/>
              <a:gd name="connsiteY67" fmla="*/ 423348 h 6062148"/>
              <a:gd name="connsiteX68" fmla="*/ 887484 w 4522224"/>
              <a:gd name="connsiteY68" fmla="*/ 232848 h 6062148"/>
              <a:gd name="connsiteX69" fmla="*/ 1169424 w 4522224"/>
              <a:gd name="connsiteY69" fmla="*/ 80448 h 6062148"/>
              <a:gd name="connsiteX70" fmla="*/ 1588524 w 4522224"/>
              <a:gd name="connsiteY70" fmla="*/ 11868 h 6062148"/>
              <a:gd name="connsiteX71" fmla="*/ 1939044 w 4522224"/>
              <a:gd name="connsiteY71" fmla="*/ 4248 h 6062148"/>
              <a:gd name="connsiteX72" fmla="*/ 2167644 w 4522224"/>
              <a:gd name="connsiteY72" fmla="*/ 4248 h 6062148"/>
              <a:gd name="connsiteX73" fmla="*/ 2388624 w 4522224"/>
              <a:gd name="connsiteY73" fmla="*/ 57588 h 6062148"/>
              <a:gd name="connsiteX74" fmla="*/ 2662944 w 4522224"/>
              <a:gd name="connsiteY74" fmla="*/ 133788 h 6062148"/>
              <a:gd name="connsiteX75" fmla="*/ 2815344 w 4522224"/>
              <a:gd name="connsiteY75" fmla="*/ 202368 h 6062148"/>
              <a:gd name="connsiteX76" fmla="*/ 3097284 w 4522224"/>
              <a:gd name="connsiteY76" fmla="*/ 400488 h 6062148"/>
              <a:gd name="connsiteX77" fmla="*/ 3280164 w 4522224"/>
              <a:gd name="connsiteY77" fmla="*/ 651948 h 6062148"/>
              <a:gd name="connsiteX78" fmla="*/ 3402084 w 4522224"/>
              <a:gd name="connsiteY78" fmla="*/ 918648 h 6062148"/>
              <a:gd name="connsiteX79" fmla="*/ 3470664 w 4522224"/>
              <a:gd name="connsiteY79" fmla="*/ 1238688 h 6062148"/>
              <a:gd name="connsiteX80" fmla="*/ 3501144 w 4522224"/>
              <a:gd name="connsiteY80" fmla="*/ 1543488 h 6062148"/>
              <a:gd name="connsiteX81" fmla="*/ 3501144 w 4522224"/>
              <a:gd name="connsiteY81" fmla="*/ 1962588 h 6062148"/>
              <a:gd name="connsiteX82" fmla="*/ 3333504 w 4522224"/>
              <a:gd name="connsiteY82" fmla="*/ 2305488 h 6062148"/>
              <a:gd name="connsiteX83" fmla="*/ 3249684 w 4522224"/>
              <a:gd name="connsiteY83" fmla="*/ 2473128 h 6062148"/>
              <a:gd name="connsiteX84" fmla="*/ 3127764 w 4522224"/>
              <a:gd name="connsiteY84" fmla="*/ 2663628 h 6062148"/>
              <a:gd name="connsiteX85" fmla="*/ 3066804 w 4522224"/>
              <a:gd name="connsiteY85" fmla="*/ 2838888 h 6062148"/>
              <a:gd name="connsiteX86" fmla="*/ 3059184 w 4522224"/>
              <a:gd name="connsiteY86" fmla="*/ 2915088 h 6062148"/>
              <a:gd name="connsiteX87" fmla="*/ 3013464 w 4522224"/>
              <a:gd name="connsiteY87" fmla="*/ 3014148 h 6062148"/>
              <a:gd name="connsiteX88" fmla="*/ 2975364 w 4522224"/>
              <a:gd name="connsiteY88" fmla="*/ 3082728 h 6062148"/>
              <a:gd name="connsiteX89" fmla="*/ 2952504 w 4522224"/>
              <a:gd name="connsiteY89" fmla="*/ 3120828 h 6062148"/>
              <a:gd name="connsiteX90" fmla="*/ 2952504 w 4522224"/>
              <a:gd name="connsiteY90" fmla="*/ 3555168 h 6062148"/>
              <a:gd name="connsiteX91" fmla="*/ 2952504 w 4522224"/>
              <a:gd name="connsiteY91" fmla="*/ 3562788 h 6062148"/>
              <a:gd name="connsiteX92" fmla="*/ 3005844 w 4522224"/>
              <a:gd name="connsiteY92" fmla="*/ 3539928 h 6062148"/>
              <a:gd name="connsiteX93" fmla="*/ 3059184 w 4522224"/>
              <a:gd name="connsiteY93" fmla="*/ 3562788 h 6062148"/>
              <a:gd name="connsiteX94" fmla="*/ 3104904 w 4522224"/>
              <a:gd name="connsiteY94" fmla="*/ 3570408 h 6062148"/>
              <a:gd name="connsiteX95" fmla="*/ 3135384 w 4522224"/>
              <a:gd name="connsiteY95" fmla="*/ 3631368 h 6062148"/>
              <a:gd name="connsiteX96" fmla="*/ 3112524 w 4522224"/>
              <a:gd name="connsiteY96" fmla="*/ 3738048 h 6062148"/>
              <a:gd name="connsiteX97" fmla="*/ 3120144 w 4522224"/>
              <a:gd name="connsiteY97" fmla="*/ 4103808 h 6062148"/>
              <a:gd name="connsiteX98" fmla="*/ 3112524 w 4522224"/>
              <a:gd name="connsiteY98" fmla="*/ 4119048 h 6062148"/>
              <a:gd name="connsiteX99" fmla="*/ 3158244 w 4522224"/>
              <a:gd name="connsiteY99" fmla="*/ 4157148 h 6062148"/>
              <a:gd name="connsiteX100" fmla="*/ 3196344 w 4522224"/>
              <a:gd name="connsiteY100" fmla="*/ 4164768 h 6062148"/>
              <a:gd name="connsiteX101" fmla="*/ 3226824 w 4522224"/>
              <a:gd name="connsiteY101" fmla="*/ 4172388 h 6062148"/>
              <a:gd name="connsiteX102" fmla="*/ 3280164 w 4522224"/>
              <a:gd name="connsiteY102" fmla="*/ 4294308 h 6062148"/>
              <a:gd name="connsiteX103" fmla="*/ 3295404 w 4522224"/>
              <a:gd name="connsiteY103" fmla="*/ 4347648 h 6062148"/>
              <a:gd name="connsiteX104" fmla="*/ 3325884 w 4522224"/>
              <a:gd name="connsiteY104" fmla="*/ 4408608 h 6062148"/>
              <a:gd name="connsiteX105" fmla="*/ 3546864 w 4522224"/>
              <a:gd name="connsiteY105" fmla="*/ 4644828 h 6062148"/>
              <a:gd name="connsiteX106" fmla="*/ 3882144 w 4522224"/>
              <a:gd name="connsiteY106" fmla="*/ 5025828 h 6062148"/>
              <a:gd name="connsiteX107" fmla="*/ 4095504 w 4522224"/>
              <a:gd name="connsiteY107" fmla="*/ 5300148 h 6062148"/>
              <a:gd name="connsiteX108" fmla="*/ 4362204 w 4522224"/>
              <a:gd name="connsiteY108" fmla="*/ 5726868 h 6062148"/>
              <a:gd name="connsiteX109" fmla="*/ 4522224 w 4522224"/>
              <a:gd name="connsiteY109" fmla="*/ 6046908 h 6062148"/>
              <a:gd name="connsiteX0" fmla="*/ 323604 w 4522224"/>
              <a:gd name="connsiteY0" fmla="*/ 6062148 h 6062148"/>
              <a:gd name="connsiteX1" fmla="*/ 376944 w 4522224"/>
              <a:gd name="connsiteY1" fmla="*/ 5924988 h 6062148"/>
              <a:gd name="connsiteX2" fmla="*/ 437904 w 4522224"/>
              <a:gd name="connsiteY2" fmla="*/ 5780208 h 6062148"/>
              <a:gd name="connsiteX3" fmla="*/ 468384 w 4522224"/>
              <a:gd name="connsiteY3" fmla="*/ 5665908 h 6062148"/>
              <a:gd name="connsiteX4" fmla="*/ 506484 w 4522224"/>
              <a:gd name="connsiteY4" fmla="*/ 5612568 h 6062148"/>
              <a:gd name="connsiteX5" fmla="*/ 536964 w 4522224"/>
              <a:gd name="connsiteY5" fmla="*/ 5521128 h 6062148"/>
              <a:gd name="connsiteX6" fmla="*/ 559824 w 4522224"/>
              <a:gd name="connsiteY6" fmla="*/ 5353488 h 6062148"/>
              <a:gd name="connsiteX7" fmla="*/ 597924 w 4522224"/>
              <a:gd name="connsiteY7" fmla="*/ 5223948 h 6062148"/>
              <a:gd name="connsiteX8" fmla="*/ 620784 w 4522224"/>
              <a:gd name="connsiteY8" fmla="*/ 5178228 h 6062148"/>
              <a:gd name="connsiteX9" fmla="*/ 696984 w 4522224"/>
              <a:gd name="connsiteY9" fmla="*/ 5071548 h 6062148"/>
              <a:gd name="connsiteX10" fmla="*/ 712224 w 4522224"/>
              <a:gd name="connsiteY10" fmla="*/ 5063928 h 6062148"/>
              <a:gd name="connsiteX11" fmla="*/ 704604 w 4522224"/>
              <a:gd name="connsiteY11" fmla="*/ 5025828 h 6062148"/>
              <a:gd name="connsiteX12" fmla="*/ 696984 w 4522224"/>
              <a:gd name="connsiteY12" fmla="*/ 5002968 h 6062148"/>
              <a:gd name="connsiteX13" fmla="*/ 963684 w 4522224"/>
              <a:gd name="connsiteY13" fmla="*/ 4682928 h 6062148"/>
              <a:gd name="connsiteX14" fmla="*/ 956064 w 4522224"/>
              <a:gd name="connsiteY14" fmla="*/ 4644828 h 6062148"/>
              <a:gd name="connsiteX15" fmla="*/ 1337064 w 4522224"/>
              <a:gd name="connsiteY15" fmla="*/ 4172388 h 6062148"/>
              <a:gd name="connsiteX16" fmla="*/ 1253244 w 4522224"/>
              <a:gd name="connsiteY16" fmla="*/ 4012368 h 6062148"/>
              <a:gd name="connsiteX17" fmla="*/ 1199904 w 4522224"/>
              <a:gd name="connsiteY17" fmla="*/ 3928548 h 6062148"/>
              <a:gd name="connsiteX18" fmla="*/ 1169424 w 4522224"/>
              <a:gd name="connsiteY18" fmla="*/ 3768528 h 6062148"/>
              <a:gd name="connsiteX19" fmla="*/ 1146564 w 4522224"/>
              <a:gd name="connsiteY19" fmla="*/ 3699948 h 6062148"/>
              <a:gd name="connsiteX20" fmla="*/ 1138944 w 4522224"/>
              <a:gd name="connsiteY20" fmla="*/ 3669468 h 6062148"/>
              <a:gd name="connsiteX21" fmla="*/ 1062744 w 4522224"/>
              <a:gd name="connsiteY21" fmla="*/ 3661848 h 6062148"/>
              <a:gd name="connsiteX22" fmla="*/ 933204 w 4522224"/>
              <a:gd name="connsiteY22" fmla="*/ 3669468 h 6062148"/>
              <a:gd name="connsiteX23" fmla="*/ 826524 w 4522224"/>
              <a:gd name="connsiteY23" fmla="*/ 3692328 h 6062148"/>
              <a:gd name="connsiteX24" fmla="*/ 605544 w 4522224"/>
              <a:gd name="connsiteY24" fmla="*/ 3738048 h 6062148"/>
              <a:gd name="connsiteX25" fmla="*/ 384564 w 4522224"/>
              <a:gd name="connsiteY25" fmla="*/ 3638988 h 6062148"/>
              <a:gd name="connsiteX26" fmla="*/ 376944 w 4522224"/>
              <a:gd name="connsiteY26" fmla="*/ 3326568 h 6062148"/>
              <a:gd name="connsiteX27" fmla="*/ 415044 w 4522224"/>
              <a:gd name="connsiteY27" fmla="*/ 3250368 h 6062148"/>
              <a:gd name="connsiteX28" fmla="*/ 415044 w 4522224"/>
              <a:gd name="connsiteY28" fmla="*/ 3227508 h 6062148"/>
              <a:gd name="connsiteX29" fmla="*/ 384564 w 4522224"/>
              <a:gd name="connsiteY29" fmla="*/ 3166548 h 6062148"/>
              <a:gd name="connsiteX30" fmla="*/ 361704 w 4522224"/>
              <a:gd name="connsiteY30" fmla="*/ 3166548 h 6062148"/>
              <a:gd name="connsiteX31" fmla="*/ 346464 w 4522224"/>
              <a:gd name="connsiteY31" fmla="*/ 3105588 h 6062148"/>
              <a:gd name="connsiteX32" fmla="*/ 392184 w 4522224"/>
              <a:gd name="connsiteY32" fmla="*/ 3021768 h 6062148"/>
              <a:gd name="connsiteX33" fmla="*/ 483624 w 4522224"/>
              <a:gd name="connsiteY33" fmla="*/ 2998908 h 6062148"/>
              <a:gd name="connsiteX34" fmla="*/ 460764 w 4522224"/>
              <a:gd name="connsiteY34" fmla="*/ 2930328 h 6062148"/>
              <a:gd name="connsiteX35" fmla="*/ 430284 w 4522224"/>
              <a:gd name="connsiteY35" fmla="*/ 2930328 h 6062148"/>
              <a:gd name="connsiteX36" fmla="*/ 384564 w 4522224"/>
              <a:gd name="connsiteY36" fmla="*/ 2930328 h 6062148"/>
              <a:gd name="connsiteX37" fmla="*/ 300744 w 4522224"/>
              <a:gd name="connsiteY37" fmla="*/ 2876988 h 6062148"/>
              <a:gd name="connsiteX38" fmla="*/ 315984 w 4522224"/>
              <a:gd name="connsiteY38" fmla="*/ 2846508 h 6062148"/>
              <a:gd name="connsiteX39" fmla="*/ 323604 w 4522224"/>
              <a:gd name="connsiteY39" fmla="*/ 2793168 h 6062148"/>
              <a:gd name="connsiteX40" fmla="*/ 308364 w 4522224"/>
              <a:gd name="connsiteY40" fmla="*/ 2732208 h 6062148"/>
              <a:gd name="connsiteX41" fmla="*/ 262644 w 4522224"/>
              <a:gd name="connsiteY41" fmla="*/ 2671248 h 6062148"/>
              <a:gd name="connsiteX42" fmla="*/ 171204 w 4522224"/>
              <a:gd name="connsiteY42" fmla="*/ 2656008 h 6062148"/>
              <a:gd name="connsiteX43" fmla="*/ 49284 w 4522224"/>
              <a:gd name="connsiteY43" fmla="*/ 2610288 h 6062148"/>
              <a:gd name="connsiteX44" fmla="*/ 18804 w 4522224"/>
              <a:gd name="connsiteY44" fmla="*/ 2556948 h 6062148"/>
              <a:gd name="connsiteX45" fmla="*/ 3564 w 4522224"/>
              <a:gd name="connsiteY45" fmla="*/ 2488368 h 6062148"/>
              <a:gd name="connsiteX46" fmla="*/ 87384 w 4522224"/>
              <a:gd name="connsiteY46" fmla="*/ 2335968 h 6062148"/>
              <a:gd name="connsiteX47" fmla="*/ 216924 w 4522224"/>
              <a:gd name="connsiteY47" fmla="*/ 2175948 h 6062148"/>
              <a:gd name="connsiteX48" fmla="*/ 277884 w 4522224"/>
              <a:gd name="connsiteY48" fmla="*/ 2084508 h 6062148"/>
              <a:gd name="connsiteX49" fmla="*/ 323604 w 4522224"/>
              <a:gd name="connsiteY49" fmla="*/ 1977828 h 6062148"/>
              <a:gd name="connsiteX50" fmla="*/ 354084 w 4522224"/>
              <a:gd name="connsiteY50" fmla="*/ 1871148 h 6062148"/>
              <a:gd name="connsiteX51" fmla="*/ 369324 w 4522224"/>
              <a:gd name="connsiteY51" fmla="*/ 1810188 h 6062148"/>
              <a:gd name="connsiteX52" fmla="*/ 338844 w 4522224"/>
              <a:gd name="connsiteY52" fmla="*/ 1756848 h 6062148"/>
              <a:gd name="connsiteX53" fmla="*/ 323604 w 4522224"/>
              <a:gd name="connsiteY53" fmla="*/ 1680648 h 6062148"/>
              <a:gd name="connsiteX54" fmla="*/ 407424 w 4522224"/>
              <a:gd name="connsiteY54" fmla="*/ 1474908 h 6062148"/>
              <a:gd name="connsiteX55" fmla="*/ 437904 w 4522224"/>
              <a:gd name="connsiteY55" fmla="*/ 1307268 h 6062148"/>
              <a:gd name="connsiteX56" fmla="*/ 460764 w 4522224"/>
              <a:gd name="connsiteY56" fmla="*/ 1192968 h 6062148"/>
              <a:gd name="connsiteX57" fmla="*/ 498864 w 4522224"/>
              <a:gd name="connsiteY57" fmla="*/ 1055808 h 6062148"/>
              <a:gd name="connsiteX58" fmla="*/ 552204 w 4522224"/>
              <a:gd name="connsiteY58" fmla="*/ 888168 h 6062148"/>
              <a:gd name="connsiteX59" fmla="*/ 498864 w 4522224"/>
              <a:gd name="connsiteY59" fmla="*/ 888168 h 6062148"/>
              <a:gd name="connsiteX60" fmla="*/ 407424 w 4522224"/>
              <a:gd name="connsiteY60" fmla="*/ 834828 h 6062148"/>
              <a:gd name="connsiteX61" fmla="*/ 323604 w 4522224"/>
              <a:gd name="connsiteY61" fmla="*/ 789108 h 6062148"/>
              <a:gd name="connsiteX62" fmla="*/ 255024 w 4522224"/>
              <a:gd name="connsiteY62" fmla="*/ 773868 h 6062148"/>
              <a:gd name="connsiteX63" fmla="*/ 209304 w 4522224"/>
              <a:gd name="connsiteY63" fmla="*/ 751008 h 6062148"/>
              <a:gd name="connsiteX64" fmla="*/ 255024 w 4522224"/>
              <a:gd name="connsiteY64" fmla="*/ 674808 h 6062148"/>
              <a:gd name="connsiteX65" fmla="*/ 369324 w 4522224"/>
              <a:gd name="connsiteY65" fmla="*/ 606228 h 6062148"/>
              <a:gd name="connsiteX66" fmla="*/ 552204 w 4522224"/>
              <a:gd name="connsiteY66" fmla="*/ 507168 h 6062148"/>
              <a:gd name="connsiteX67" fmla="*/ 651264 w 4522224"/>
              <a:gd name="connsiteY67" fmla="*/ 423348 h 6062148"/>
              <a:gd name="connsiteX68" fmla="*/ 887484 w 4522224"/>
              <a:gd name="connsiteY68" fmla="*/ 232848 h 6062148"/>
              <a:gd name="connsiteX69" fmla="*/ 1169424 w 4522224"/>
              <a:gd name="connsiteY69" fmla="*/ 80448 h 6062148"/>
              <a:gd name="connsiteX70" fmla="*/ 1588524 w 4522224"/>
              <a:gd name="connsiteY70" fmla="*/ 11868 h 6062148"/>
              <a:gd name="connsiteX71" fmla="*/ 1939044 w 4522224"/>
              <a:gd name="connsiteY71" fmla="*/ 4248 h 6062148"/>
              <a:gd name="connsiteX72" fmla="*/ 2167644 w 4522224"/>
              <a:gd name="connsiteY72" fmla="*/ 4248 h 6062148"/>
              <a:gd name="connsiteX73" fmla="*/ 2388624 w 4522224"/>
              <a:gd name="connsiteY73" fmla="*/ 57588 h 6062148"/>
              <a:gd name="connsiteX74" fmla="*/ 2662944 w 4522224"/>
              <a:gd name="connsiteY74" fmla="*/ 133788 h 6062148"/>
              <a:gd name="connsiteX75" fmla="*/ 2815344 w 4522224"/>
              <a:gd name="connsiteY75" fmla="*/ 202368 h 6062148"/>
              <a:gd name="connsiteX76" fmla="*/ 3097284 w 4522224"/>
              <a:gd name="connsiteY76" fmla="*/ 400488 h 6062148"/>
              <a:gd name="connsiteX77" fmla="*/ 3280164 w 4522224"/>
              <a:gd name="connsiteY77" fmla="*/ 651948 h 6062148"/>
              <a:gd name="connsiteX78" fmla="*/ 3402084 w 4522224"/>
              <a:gd name="connsiteY78" fmla="*/ 918648 h 6062148"/>
              <a:gd name="connsiteX79" fmla="*/ 3470664 w 4522224"/>
              <a:gd name="connsiteY79" fmla="*/ 1238688 h 6062148"/>
              <a:gd name="connsiteX80" fmla="*/ 3501144 w 4522224"/>
              <a:gd name="connsiteY80" fmla="*/ 1543488 h 6062148"/>
              <a:gd name="connsiteX81" fmla="*/ 3501144 w 4522224"/>
              <a:gd name="connsiteY81" fmla="*/ 1962588 h 6062148"/>
              <a:gd name="connsiteX82" fmla="*/ 3333504 w 4522224"/>
              <a:gd name="connsiteY82" fmla="*/ 2305488 h 6062148"/>
              <a:gd name="connsiteX83" fmla="*/ 3249684 w 4522224"/>
              <a:gd name="connsiteY83" fmla="*/ 2473128 h 6062148"/>
              <a:gd name="connsiteX84" fmla="*/ 3127764 w 4522224"/>
              <a:gd name="connsiteY84" fmla="*/ 2663628 h 6062148"/>
              <a:gd name="connsiteX85" fmla="*/ 3066804 w 4522224"/>
              <a:gd name="connsiteY85" fmla="*/ 2838888 h 6062148"/>
              <a:gd name="connsiteX86" fmla="*/ 3059184 w 4522224"/>
              <a:gd name="connsiteY86" fmla="*/ 2915088 h 6062148"/>
              <a:gd name="connsiteX87" fmla="*/ 3013464 w 4522224"/>
              <a:gd name="connsiteY87" fmla="*/ 3014148 h 6062148"/>
              <a:gd name="connsiteX88" fmla="*/ 2975364 w 4522224"/>
              <a:gd name="connsiteY88" fmla="*/ 3082728 h 6062148"/>
              <a:gd name="connsiteX89" fmla="*/ 2952504 w 4522224"/>
              <a:gd name="connsiteY89" fmla="*/ 3120828 h 6062148"/>
              <a:gd name="connsiteX90" fmla="*/ 2952504 w 4522224"/>
              <a:gd name="connsiteY90" fmla="*/ 3555168 h 6062148"/>
              <a:gd name="connsiteX91" fmla="*/ 2952504 w 4522224"/>
              <a:gd name="connsiteY91" fmla="*/ 3562788 h 6062148"/>
              <a:gd name="connsiteX92" fmla="*/ 3005844 w 4522224"/>
              <a:gd name="connsiteY92" fmla="*/ 3539928 h 6062148"/>
              <a:gd name="connsiteX93" fmla="*/ 3059184 w 4522224"/>
              <a:gd name="connsiteY93" fmla="*/ 3562788 h 6062148"/>
              <a:gd name="connsiteX94" fmla="*/ 3104904 w 4522224"/>
              <a:gd name="connsiteY94" fmla="*/ 3570408 h 6062148"/>
              <a:gd name="connsiteX95" fmla="*/ 3135384 w 4522224"/>
              <a:gd name="connsiteY95" fmla="*/ 3631368 h 6062148"/>
              <a:gd name="connsiteX96" fmla="*/ 3112524 w 4522224"/>
              <a:gd name="connsiteY96" fmla="*/ 3738048 h 6062148"/>
              <a:gd name="connsiteX97" fmla="*/ 3120144 w 4522224"/>
              <a:gd name="connsiteY97" fmla="*/ 4103808 h 6062148"/>
              <a:gd name="connsiteX98" fmla="*/ 3112524 w 4522224"/>
              <a:gd name="connsiteY98" fmla="*/ 4119048 h 6062148"/>
              <a:gd name="connsiteX99" fmla="*/ 3158244 w 4522224"/>
              <a:gd name="connsiteY99" fmla="*/ 4157148 h 6062148"/>
              <a:gd name="connsiteX100" fmla="*/ 3196344 w 4522224"/>
              <a:gd name="connsiteY100" fmla="*/ 4164768 h 6062148"/>
              <a:gd name="connsiteX101" fmla="*/ 3226824 w 4522224"/>
              <a:gd name="connsiteY101" fmla="*/ 4172388 h 6062148"/>
              <a:gd name="connsiteX102" fmla="*/ 3280164 w 4522224"/>
              <a:gd name="connsiteY102" fmla="*/ 4294308 h 6062148"/>
              <a:gd name="connsiteX103" fmla="*/ 3295404 w 4522224"/>
              <a:gd name="connsiteY103" fmla="*/ 4347648 h 6062148"/>
              <a:gd name="connsiteX104" fmla="*/ 3325884 w 4522224"/>
              <a:gd name="connsiteY104" fmla="*/ 4408608 h 6062148"/>
              <a:gd name="connsiteX105" fmla="*/ 3546864 w 4522224"/>
              <a:gd name="connsiteY105" fmla="*/ 4644828 h 6062148"/>
              <a:gd name="connsiteX106" fmla="*/ 3882144 w 4522224"/>
              <a:gd name="connsiteY106" fmla="*/ 5025828 h 6062148"/>
              <a:gd name="connsiteX107" fmla="*/ 4095504 w 4522224"/>
              <a:gd name="connsiteY107" fmla="*/ 5300148 h 6062148"/>
              <a:gd name="connsiteX108" fmla="*/ 4362204 w 4522224"/>
              <a:gd name="connsiteY108" fmla="*/ 5726868 h 6062148"/>
              <a:gd name="connsiteX109" fmla="*/ 4522224 w 4522224"/>
              <a:gd name="connsiteY109" fmla="*/ 6046908 h 6062148"/>
              <a:gd name="connsiteX0" fmla="*/ 323604 w 4522224"/>
              <a:gd name="connsiteY0" fmla="*/ 6062148 h 6062148"/>
              <a:gd name="connsiteX1" fmla="*/ 376944 w 4522224"/>
              <a:gd name="connsiteY1" fmla="*/ 5924988 h 6062148"/>
              <a:gd name="connsiteX2" fmla="*/ 437904 w 4522224"/>
              <a:gd name="connsiteY2" fmla="*/ 5780208 h 6062148"/>
              <a:gd name="connsiteX3" fmla="*/ 468384 w 4522224"/>
              <a:gd name="connsiteY3" fmla="*/ 5665908 h 6062148"/>
              <a:gd name="connsiteX4" fmla="*/ 506484 w 4522224"/>
              <a:gd name="connsiteY4" fmla="*/ 5612568 h 6062148"/>
              <a:gd name="connsiteX5" fmla="*/ 536964 w 4522224"/>
              <a:gd name="connsiteY5" fmla="*/ 5521128 h 6062148"/>
              <a:gd name="connsiteX6" fmla="*/ 559824 w 4522224"/>
              <a:gd name="connsiteY6" fmla="*/ 5353488 h 6062148"/>
              <a:gd name="connsiteX7" fmla="*/ 597924 w 4522224"/>
              <a:gd name="connsiteY7" fmla="*/ 5223948 h 6062148"/>
              <a:gd name="connsiteX8" fmla="*/ 620784 w 4522224"/>
              <a:gd name="connsiteY8" fmla="*/ 5178228 h 6062148"/>
              <a:gd name="connsiteX9" fmla="*/ 696984 w 4522224"/>
              <a:gd name="connsiteY9" fmla="*/ 5071548 h 6062148"/>
              <a:gd name="connsiteX10" fmla="*/ 712224 w 4522224"/>
              <a:gd name="connsiteY10" fmla="*/ 5063928 h 6062148"/>
              <a:gd name="connsiteX11" fmla="*/ 704604 w 4522224"/>
              <a:gd name="connsiteY11" fmla="*/ 5025828 h 6062148"/>
              <a:gd name="connsiteX12" fmla="*/ 696984 w 4522224"/>
              <a:gd name="connsiteY12" fmla="*/ 5002968 h 6062148"/>
              <a:gd name="connsiteX13" fmla="*/ 963684 w 4522224"/>
              <a:gd name="connsiteY13" fmla="*/ 4682928 h 6062148"/>
              <a:gd name="connsiteX14" fmla="*/ 956064 w 4522224"/>
              <a:gd name="connsiteY14" fmla="*/ 4644828 h 6062148"/>
              <a:gd name="connsiteX15" fmla="*/ 1337064 w 4522224"/>
              <a:gd name="connsiteY15" fmla="*/ 4172388 h 6062148"/>
              <a:gd name="connsiteX16" fmla="*/ 1253244 w 4522224"/>
              <a:gd name="connsiteY16" fmla="*/ 4012368 h 6062148"/>
              <a:gd name="connsiteX17" fmla="*/ 1199904 w 4522224"/>
              <a:gd name="connsiteY17" fmla="*/ 3928548 h 6062148"/>
              <a:gd name="connsiteX18" fmla="*/ 1169424 w 4522224"/>
              <a:gd name="connsiteY18" fmla="*/ 3768528 h 6062148"/>
              <a:gd name="connsiteX19" fmla="*/ 1146564 w 4522224"/>
              <a:gd name="connsiteY19" fmla="*/ 3699948 h 6062148"/>
              <a:gd name="connsiteX20" fmla="*/ 1138944 w 4522224"/>
              <a:gd name="connsiteY20" fmla="*/ 3669468 h 6062148"/>
              <a:gd name="connsiteX21" fmla="*/ 1062744 w 4522224"/>
              <a:gd name="connsiteY21" fmla="*/ 3661848 h 6062148"/>
              <a:gd name="connsiteX22" fmla="*/ 933204 w 4522224"/>
              <a:gd name="connsiteY22" fmla="*/ 3669468 h 6062148"/>
              <a:gd name="connsiteX23" fmla="*/ 826524 w 4522224"/>
              <a:gd name="connsiteY23" fmla="*/ 3692328 h 6062148"/>
              <a:gd name="connsiteX24" fmla="*/ 605544 w 4522224"/>
              <a:gd name="connsiteY24" fmla="*/ 3738048 h 6062148"/>
              <a:gd name="connsiteX25" fmla="*/ 384564 w 4522224"/>
              <a:gd name="connsiteY25" fmla="*/ 3638988 h 6062148"/>
              <a:gd name="connsiteX26" fmla="*/ 376944 w 4522224"/>
              <a:gd name="connsiteY26" fmla="*/ 3326568 h 6062148"/>
              <a:gd name="connsiteX27" fmla="*/ 415044 w 4522224"/>
              <a:gd name="connsiteY27" fmla="*/ 3227508 h 6062148"/>
              <a:gd name="connsiteX28" fmla="*/ 384564 w 4522224"/>
              <a:gd name="connsiteY28" fmla="*/ 3166548 h 6062148"/>
              <a:gd name="connsiteX29" fmla="*/ 361704 w 4522224"/>
              <a:gd name="connsiteY29" fmla="*/ 3166548 h 6062148"/>
              <a:gd name="connsiteX30" fmla="*/ 346464 w 4522224"/>
              <a:gd name="connsiteY30" fmla="*/ 3105588 h 6062148"/>
              <a:gd name="connsiteX31" fmla="*/ 392184 w 4522224"/>
              <a:gd name="connsiteY31" fmla="*/ 3021768 h 6062148"/>
              <a:gd name="connsiteX32" fmla="*/ 483624 w 4522224"/>
              <a:gd name="connsiteY32" fmla="*/ 2998908 h 6062148"/>
              <a:gd name="connsiteX33" fmla="*/ 460764 w 4522224"/>
              <a:gd name="connsiteY33" fmla="*/ 2930328 h 6062148"/>
              <a:gd name="connsiteX34" fmla="*/ 430284 w 4522224"/>
              <a:gd name="connsiteY34" fmla="*/ 2930328 h 6062148"/>
              <a:gd name="connsiteX35" fmla="*/ 384564 w 4522224"/>
              <a:gd name="connsiteY35" fmla="*/ 2930328 h 6062148"/>
              <a:gd name="connsiteX36" fmla="*/ 300744 w 4522224"/>
              <a:gd name="connsiteY36" fmla="*/ 2876988 h 6062148"/>
              <a:gd name="connsiteX37" fmla="*/ 315984 w 4522224"/>
              <a:gd name="connsiteY37" fmla="*/ 2846508 h 6062148"/>
              <a:gd name="connsiteX38" fmla="*/ 323604 w 4522224"/>
              <a:gd name="connsiteY38" fmla="*/ 2793168 h 6062148"/>
              <a:gd name="connsiteX39" fmla="*/ 308364 w 4522224"/>
              <a:gd name="connsiteY39" fmla="*/ 2732208 h 6062148"/>
              <a:gd name="connsiteX40" fmla="*/ 262644 w 4522224"/>
              <a:gd name="connsiteY40" fmla="*/ 2671248 h 6062148"/>
              <a:gd name="connsiteX41" fmla="*/ 171204 w 4522224"/>
              <a:gd name="connsiteY41" fmla="*/ 2656008 h 6062148"/>
              <a:gd name="connsiteX42" fmla="*/ 49284 w 4522224"/>
              <a:gd name="connsiteY42" fmla="*/ 2610288 h 6062148"/>
              <a:gd name="connsiteX43" fmla="*/ 18804 w 4522224"/>
              <a:gd name="connsiteY43" fmla="*/ 2556948 h 6062148"/>
              <a:gd name="connsiteX44" fmla="*/ 3564 w 4522224"/>
              <a:gd name="connsiteY44" fmla="*/ 2488368 h 6062148"/>
              <a:gd name="connsiteX45" fmla="*/ 87384 w 4522224"/>
              <a:gd name="connsiteY45" fmla="*/ 2335968 h 6062148"/>
              <a:gd name="connsiteX46" fmla="*/ 216924 w 4522224"/>
              <a:gd name="connsiteY46" fmla="*/ 2175948 h 6062148"/>
              <a:gd name="connsiteX47" fmla="*/ 277884 w 4522224"/>
              <a:gd name="connsiteY47" fmla="*/ 2084508 h 6062148"/>
              <a:gd name="connsiteX48" fmla="*/ 323604 w 4522224"/>
              <a:gd name="connsiteY48" fmla="*/ 1977828 h 6062148"/>
              <a:gd name="connsiteX49" fmla="*/ 354084 w 4522224"/>
              <a:gd name="connsiteY49" fmla="*/ 1871148 h 6062148"/>
              <a:gd name="connsiteX50" fmla="*/ 369324 w 4522224"/>
              <a:gd name="connsiteY50" fmla="*/ 1810188 h 6062148"/>
              <a:gd name="connsiteX51" fmla="*/ 338844 w 4522224"/>
              <a:gd name="connsiteY51" fmla="*/ 1756848 h 6062148"/>
              <a:gd name="connsiteX52" fmla="*/ 323604 w 4522224"/>
              <a:gd name="connsiteY52" fmla="*/ 1680648 h 6062148"/>
              <a:gd name="connsiteX53" fmla="*/ 407424 w 4522224"/>
              <a:gd name="connsiteY53" fmla="*/ 1474908 h 6062148"/>
              <a:gd name="connsiteX54" fmla="*/ 437904 w 4522224"/>
              <a:gd name="connsiteY54" fmla="*/ 1307268 h 6062148"/>
              <a:gd name="connsiteX55" fmla="*/ 460764 w 4522224"/>
              <a:gd name="connsiteY55" fmla="*/ 1192968 h 6062148"/>
              <a:gd name="connsiteX56" fmla="*/ 498864 w 4522224"/>
              <a:gd name="connsiteY56" fmla="*/ 1055808 h 6062148"/>
              <a:gd name="connsiteX57" fmla="*/ 552204 w 4522224"/>
              <a:gd name="connsiteY57" fmla="*/ 888168 h 6062148"/>
              <a:gd name="connsiteX58" fmla="*/ 498864 w 4522224"/>
              <a:gd name="connsiteY58" fmla="*/ 888168 h 6062148"/>
              <a:gd name="connsiteX59" fmla="*/ 407424 w 4522224"/>
              <a:gd name="connsiteY59" fmla="*/ 834828 h 6062148"/>
              <a:gd name="connsiteX60" fmla="*/ 323604 w 4522224"/>
              <a:gd name="connsiteY60" fmla="*/ 789108 h 6062148"/>
              <a:gd name="connsiteX61" fmla="*/ 255024 w 4522224"/>
              <a:gd name="connsiteY61" fmla="*/ 773868 h 6062148"/>
              <a:gd name="connsiteX62" fmla="*/ 209304 w 4522224"/>
              <a:gd name="connsiteY62" fmla="*/ 751008 h 6062148"/>
              <a:gd name="connsiteX63" fmla="*/ 255024 w 4522224"/>
              <a:gd name="connsiteY63" fmla="*/ 674808 h 6062148"/>
              <a:gd name="connsiteX64" fmla="*/ 369324 w 4522224"/>
              <a:gd name="connsiteY64" fmla="*/ 606228 h 6062148"/>
              <a:gd name="connsiteX65" fmla="*/ 552204 w 4522224"/>
              <a:gd name="connsiteY65" fmla="*/ 507168 h 6062148"/>
              <a:gd name="connsiteX66" fmla="*/ 651264 w 4522224"/>
              <a:gd name="connsiteY66" fmla="*/ 423348 h 6062148"/>
              <a:gd name="connsiteX67" fmla="*/ 887484 w 4522224"/>
              <a:gd name="connsiteY67" fmla="*/ 232848 h 6062148"/>
              <a:gd name="connsiteX68" fmla="*/ 1169424 w 4522224"/>
              <a:gd name="connsiteY68" fmla="*/ 80448 h 6062148"/>
              <a:gd name="connsiteX69" fmla="*/ 1588524 w 4522224"/>
              <a:gd name="connsiteY69" fmla="*/ 11868 h 6062148"/>
              <a:gd name="connsiteX70" fmla="*/ 1939044 w 4522224"/>
              <a:gd name="connsiteY70" fmla="*/ 4248 h 6062148"/>
              <a:gd name="connsiteX71" fmla="*/ 2167644 w 4522224"/>
              <a:gd name="connsiteY71" fmla="*/ 4248 h 6062148"/>
              <a:gd name="connsiteX72" fmla="*/ 2388624 w 4522224"/>
              <a:gd name="connsiteY72" fmla="*/ 57588 h 6062148"/>
              <a:gd name="connsiteX73" fmla="*/ 2662944 w 4522224"/>
              <a:gd name="connsiteY73" fmla="*/ 133788 h 6062148"/>
              <a:gd name="connsiteX74" fmla="*/ 2815344 w 4522224"/>
              <a:gd name="connsiteY74" fmla="*/ 202368 h 6062148"/>
              <a:gd name="connsiteX75" fmla="*/ 3097284 w 4522224"/>
              <a:gd name="connsiteY75" fmla="*/ 400488 h 6062148"/>
              <a:gd name="connsiteX76" fmla="*/ 3280164 w 4522224"/>
              <a:gd name="connsiteY76" fmla="*/ 651948 h 6062148"/>
              <a:gd name="connsiteX77" fmla="*/ 3402084 w 4522224"/>
              <a:gd name="connsiteY77" fmla="*/ 918648 h 6062148"/>
              <a:gd name="connsiteX78" fmla="*/ 3470664 w 4522224"/>
              <a:gd name="connsiteY78" fmla="*/ 1238688 h 6062148"/>
              <a:gd name="connsiteX79" fmla="*/ 3501144 w 4522224"/>
              <a:gd name="connsiteY79" fmla="*/ 1543488 h 6062148"/>
              <a:gd name="connsiteX80" fmla="*/ 3501144 w 4522224"/>
              <a:gd name="connsiteY80" fmla="*/ 1962588 h 6062148"/>
              <a:gd name="connsiteX81" fmla="*/ 3333504 w 4522224"/>
              <a:gd name="connsiteY81" fmla="*/ 2305488 h 6062148"/>
              <a:gd name="connsiteX82" fmla="*/ 3249684 w 4522224"/>
              <a:gd name="connsiteY82" fmla="*/ 2473128 h 6062148"/>
              <a:gd name="connsiteX83" fmla="*/ 3127764 w 4522224"/>
              <a:gd name="connsiteY83" fmla="*/ 2663628 h 6062148"/>
              <a:gd name="connsiteX84" fmla="*/ 3066804 w 4522224"/>
              <a:gd name="connsiteY84" fmla="*/ 2838888 h 6062148"/>
              <a:gd name="connsiteX85" fmla="*/ 3059184 w 4522224"/>
              <a:gd name="connsiteY85" fmla="*/ 2915088 h 6062148"/>
              <a:gd name="connsiteX86" fmla="*/ 3013464 w 4522224"/>
              <a:gd name="connsiteY86" fmla="*/ 3014148 h 6062148"/>
              <a:gd name="connsiteX87" fmla="*/ 2975364 w 4522224"/>
              <a:gd name="connsiteY87" fmla="*/ 3082728 h 6062148"/>
              <a:gd name="connsiteX88" fmla="*/ 2952504 w 4522224"/>
              <a:gd name="connsiteY88" fmla="*/ 3120828 h 6062148"/>
              <a:gd name="connsiteX89" fmla="*/ 2952504 w 4522224"/>
              <a:gd name="connsiteY89" fmla="*/ 3555168 h 6062148"/>
              <a:gd name="connsiteX90" fmla="*/ 2952504 w 4522224"/>
              <a:gd name="connsiteY90" fmla="*/ 3562788 h 6062148"/>
              <a:gd name="connsiteX91" fmla="*/ 3005844 w 4522224"/>
              <a:gd name="connsiteY91" fmla="*/ 3539928 h 6062148"/>
              <a:gd name="connsiteX92" fmla="*/ 3059184 w 4522224"/>
              <a:gd name="connsiteY92" fmla="*/ 3562788 h 6062148"/>
              <a:gd name="connsiteX93" fmla="*/ 3104904 w 4522224"/>
              <a:gd name="connsiteY93" fmla="*/ 3570408 h 6062148"/>
              <a:gd name="connsiteX94" fmla="*/ 3135384 w 4522224"/>
              <a:gd name="connsiteY94" fmla="*/ 3631368 h 6062148"/>
              <a:gd name="connsiteX95" fmla="*/ 3112524 w 4522224"/>
              <a:gd name="connsiteY95" fmla="*/ 3738048 h 6062148"/>
              <a:gd name="connsiteX96" fmla="*/ 3120144 w 4522224"/>
              <a:gd name="connsiteY96" fmla="*/ 4103808 h 6062148"/>
              <a:gd name="connsiteX97" fmla="*/ 3112524 w 4522224"/>
              <a:gd name="connsiteY97" fmla="*/ 4119048 h 6062148"/>
              <a:gd name="connsiteX98" fmla="*/ 3158244 w 4522224"/>
              <a:gd name="connsiteY98" fmla="*/ 4157148 h 6062148"/>
              <a:gd name="connsiteX99" fmla="*/ 3196344 w 4522224"/>
              <a:gd name="connsiteY99" fmla="*/ 4164768 h 6062148"/>
              <a:gd name="connsiteX100" fmla="*/ 3226824 w 4522224"/>
              <a:gd name="connsiteY100" fmla="*/ 4172388 h 6062148"/>
              <a:gd name="connsiteX101" fmla="*/ 3280164 w 4522224"/>
              <a:gd name="connsiteY101" fmla="*/ 4294308 h 6062148"/>
              <a:gd name="connsiteX102" fmla="*/ 3295404 w 4522224"/>
              <a:gd name="connsiteY102" fmla="*/ 4347648 h 6062148"/>
              <a:gd name="connsiteX103" fmla="*/ 3325884 w 4522224"/>
              <a:gd name="connsiteY103" fmla="*/ 4408608 h 6062148"/>
              <a:gd name="connsiteX104" fmla="*/ 3546864 w 4522224"/>
              <a:gd name="connsiteY104" fmla="*/ 4644828 h 6062148"/>
              <a:gd name="connsiteX105" fmla="*/ 3882144 w 4522224"/>
              <a:gd name="connsiteY105" fmla="*/ 5025828 h 6062148"/>
              <a:gd name="connsiteX106" fmla="*/ 4095504 w 4522224"/>
              <a:gd name="connsiteY106" fmla="*/ 5300148 h 6062148"/>
              <a:gd name="connsiteX107" fmla="*/ 4362204 w 4522224"/>
              <a:gd name="connsiteY107" fmla="*/ 5726868 h 6062148"/>
              <a:gd name="connsiteX108" fmla="*/ 4522224 w 4522224"/>
              <a:gd name="connsiteY108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66706 w 4527226"/>
              <a:gd name="connsiteY29" fmla="*/ 3166548 h 6062148"/>
              <a:gd name="connsiteX30" fmla="*/ 351466 w 4527226"/>
              <a:gd name="connsiteY30" fmla="*/ 3105588 h 6062148"/>
              <a:gd name="connsiteX31" fmla="*/ 397186 w 4527226"/>
              <a:gd name="connsiteY31" fmla="*/ 3021768 h 6062148"/>
              <a:gd name="connsiteX32" fmla="*/ 488626 w 4527226"/>
              <a:gd name="connsiteY32" fmla="*/ 2998908 h 6062148"/>
              <a:gd name="connsiteX33" fmla="*/ 465766 w 4527226"/>
              <a:gd name="connsiteY33" fmla="*/ 2930328 h 6062148"/>
              <a:gd name="connsiteX34" fmla="*/ 435286 w 4527226"/>
              <a:gd name="connsiteY34" fmla="*/ 2930328 h 6062148"/>
              <a:gd name="connsiteX35" fmla="*/ 389566 w 4527226"/>
              <a:gd name="connsiteY35" fmla="*/ 2930328 h 6062148"/>
              <a:gd name="connsiteX36" fmla="*/ 305746 w 4527226"/>
              <a:gd name="connsiteY36" fmla="*/ 2876988 h 6062148"/>
              <a:gd name="connsiteX37" fmla="*/ 320986 w 4527226"/>
              <a:gd name="connsiteY37" fmla="*/ 2846508 h 6062148"/>
              <a:gd name="connsiteX38" fmla="*/ 328606 w 4527226"/>
              <a:gd name="connsiteY38" fmla="*/ 2793168 h 6062148"/>
              <a:gd name="connsiteX39" fmla="*/ 313366 w 4527226"/>
              <a:gd name="connsiteY39" fmla="*/ 2732208 h 6062148"/>
              <a:gd name="connsiteX40" fmla="*/ 267646 w 4527226"/>
              <a:gd name="connsiteY40" fmla="*/ 2671248 h 6062148"/>
              <a:gd name="connsiteX41" fmla="*/ 176206 w 4527226"/>
              <a:gd name="connsiteY41" fmla="*/ 2656008 h 6062148"/>
              <a:gd name="connsiteX42" fmla="*/ 54286 w 4527226"/>
              <a:gd name="connsiteY42" fmla="*/ 2610288 h 6062148"/>
              <a:gd name="connsiteX43" fmla="*/ 7931 w 4527226"/>
              <a:gd name="connsiteY43" fmla="*/ 2563298 h 6062148"/>
              <a:gd name="connsiteX44" fmla="*/ 8566 w 4527226"/>
              <a:gd name="connsiteY44" fmla="*/ 2488368 h 6062148"/>
              <a:gd name="connsiteX45" fmla="*/ 92386 w 4527226"/>
              <a:gd name="connsiteY45" fmla="*/ 2335968 h 6062148"/>
              <a:gd name="connsiteX46" fmla="*/ 221926 w 4527226"/>
              <a:gd name="connsiteY46" fmla="*/ 2175948 h 6062148"/>
              <a:gd name="connsiteX47" fmla="*/ 282886 w 4527226"/>
              <a:gd name="connsiteY47" fmla="*/ 2084508 h 6062148"/>
              <a:gd name="connsiteX48" fmla="*/ 328606 w 4527226"/>
              <a:gd name="connsiteY48" fmla="*/ 1977828 h 6062148"/>
              <a:gd name="connsiteX49" fmla="*/ 359086 w 4527226"/>
              <a:gd name="connsiteY49" fmla="*/ 1871148 h 6062148"/>
              <a:gd name="connsiteX50" fmla="*/ 374326 w 4527226"/>
              <a:gd name="connsiteY50" fmla="*/ 1810188 h 6062148"/>
              <a:gd name="connsiteX51" fmla="*/ 343846 w 4527226"/>
              <a:gd name="connsiteY51" fmla="*/ 1756848 h 6062148"/>
              <a:gd name="connsiteX52" fmla="*/ 328606 w 4527226"/>
              <a:gd name="connsiteY52" fmla="*/ 1680648 h 6062148"/>
              <a:gd name="connsiteX53" fmla="*/ 412426 w 4527226"/>
              <a:gd name="connsiteY53" fmla="*/ 1474908 h 6062148"/>
              <a:gd name="connsiteX54" fmla="*/ 442906 w 4527226"/>
              <a:gd name="connsiteY54" fmla="*/ 1307268 h 6062148"/>
              <a:gd name="connsiteX55" fmla="*/ 465766 w 4527226"/>
              <a:gd name="connsiteY55" fmla="*/ 1192968 h 6062148"/>
              <a:gd name="connsiteX56" fmla="*/ 503866 w 4527226"/>
              <a:gd name="connsiteY56" fmla="*/ 1055808 h 6062148"/>
              <a:gd name="connsiteX57" fmla="*/ 557206 w 4527226"/>
              <a:gd name="connsiteY57" fmla="*/ 888168 h 6062148"/>
              <a:gd name="connsiteX58" fmla="*/ 503866 w 4527226"/>
              <a:gd name="connsiteY58" fmla="*/ 888168 h 6062148"/>
              <a:gd name="connsiteX59" fmla="*/ 412426 w 4527226"/>
              <a:gd name="connsiteY59" fmla="*/ 834828 h 6062148"/>
              <a:gd name="connsiteX60" fmla="*/ 328606 w 4527226"/>
              <a:gd name="connsiteY60" fmla="*/ 789108 h 6062148"/>
              <a:gd name="connsiteX61" fmla="*/ 260026 w 4527226"/>
              <a:gd name="connsiteY61" fmla="*/ 773868 h 6062148"/>
              <a:gd name="connsiteX62" fmla="*/ 214306 w 4527226"/>
              <a:gd name="connsiteY62" fmla="*/ 751008 h 6062148"/>
              <a:gd name="connsiteX63" fmla="*/ 260026 w 4527226"/>
              <a:gd name="connsiteY63" fmla="*/ 674808 h 6062148"/>
              <a:gd name="connsiteX64" fmla="*/ 374326 w 4527226"/>
              <a:gd name="connsiteY64" fmla="*/ 606228 h 6062148"/>
              <a:gd name="connsiteX65" fmla="*/ 557206 w 4527226"/>
              <a:gd name="connsiteY65" fmla="*/ 507168 h 6062148"/>
              <a:gd name="connsiteX66" fmla="*/ 656266 w 4527226"/>
              <a:gd name="connsiteY66" fmla="*/ 423348 h 6062148"/>
              <a:gd name="connsiteX67" fmla="*/ 892486 w 4527226"/>
              <a:gd name="connsiteY67" fmla="*/ 232848 h 6062148"/>
              <a:gd name="connsiteX68" fmla="*/ 1174426 w 4527226"/>
              <a:gd name="connsiteY68" fmla="*/ 80448 h 6062148"/>
              <a:gd name="connsiteX69" fmla="*/ 1593526 w 4527226"/>
              <a:gd name="connsiteY69" fmla="*/ 11868 h 6062148"/>
              <a:gd name="connsiteX70" fmla="*/ 1944046 w 4527226"/>
              <a:gd name="connsiteY70" fmla="*/ 4248 h 6062148"/>
              <a:gd name="connsiteX71" fmla="*/ 2172646 w 4527226"/>
              <a:gd name="connsiteY71" fmla="*/ 4248 h 6062148"/>
              <a:gd name="connsiteX72" fmla="*/ 2393626 w 4527226"/>
              <a:gd name="connsiteY72" fmla="*/ 57588 h 6062148"/>
              <a:gd name="connsiteX73" fmla="*/ 2667946 w 4527226"/>
              <a:gd name="connsiteY73" fmla="*/ 133788 h 6062148"/>
              <a:gd name="connsiteX74" fmla="*/ 2820346 w 4527226"/>
              <a:gd name="connsiteY74" fmla="*/ 202368 h 6062148"/>
              <a:gd name="connsiteX75" fmla="*/ 3102286 w 4527226"/>
              <a:gd name="connsiteY75" fmla="*/ 400488 h 6062148"/>
              <a:gd name="connsiteX76" fmla="*/ 3285166 w 4527226"/>
              <a:gd name="connsiteY76" fmla="*/ 651948 h 6062148"/>
              <a:gd name="connsiteX77" fmla="*/ 3407086 w 4527226"/>
              <a:gd name="connsiteY77" fmla="*/ 918648 h 6062148"/>
              <a:gd name="connsiteX78" fmla="*/ 3475666 w 4527226"/>
              <a:gd name="connsiteY78" fmla="*/ 1238688 h 6062148"/>
              <a:gd name="connsiteX79" fmla="*/ 3506146 w 4527226"/>
              <a:gd name="connsiteY79" fmla="*/ 1543488 h 6062148"/>
              <a:gd name="connsiteX80" fmla="*/ 3506146 w 4527226"/>
              <a:gd name="connsiteY80" fmla="*/ 1962588 h 6062148"/>
              <a:gd name="connsiteX81" fmla="*/ 3338506 w 4527226"/>
              <a:gd name="connsiteY81" fmla="*/ 2305488 h 6062148"/>
              <a:gd name="connsiteX82" fmla="*/ 3254686 w 4527226"/>
              <a:gd name="connsiteY82" fmla="*/ 2473128 h 6062148"/>
              <a:gd name="connsiteX83" fmla="*/ 3132766 w 4527226"/>
              <a:gd name="connsiteY83" fmla="*/ 2663628 h 6062148"/>
              <a:gd name="connsiteX84" fmla="*/ 3071806 w 4527226"/>
              <a:gd name="connsiteY84" fmla="*/ 2838888 h 6062148"/>
              <a:gd name="connsiteX85" fmla="*/ 3064186 w 4527226"/>
              <a:gd name="connsiteY85" fmla="*/ 2915088 h 6062148"/>
              <a:gd name="connsiteX86" fmla="*/ 3018466 w 4527226"/>
              <a:gd name="connsiteY86" fmla="*/ 3014148 h 6062148"/>
              <a:gd name="connsiteX87" fmla="*/ 2980366 w 4527226"/>
              <a:gd name="connsiteY87" fmla="*/ 3082728 h 6062148"/>
              <a:gd name="connsiteX88" fmla="*/ 2957506 w 4527226"/>
              <a:gd name="connsiteY88" fmla="*/ 3120828 h 6062148"/>
              <a:gd name="connsiteX89" fmla="*/ 2957506 w 4527226"/>
              <a:gd name="connsiteY89" fmla="*/ 3555168 h 6062148"/>
              <a:gd name="connsiteX90" fmla="*/ 2957506 w 4527226"/>
              <a:gd name="connsiteY90" fmla="*/ 3562788 h 6062148"/>
              <a:gd name="connsiteX91" fmla="*/ 3010846 w 4527226"/>
              <a:gd name="connsiteY91" fmla="*/ 3539928 h 6062148"/>
              <a:gd name="connsiteX92" fmla="*/ 3064186 w 4527226"/>
              <a:gd name="connsiteY92" fmla="*/ 3562788 h 6062148"/>
              <a:gd name="connsiteX93" fmla="*/ 3109906 w 4527226"/>
              <a:gd name="connsiteY93" fmla="*/ 3570408 h 6062148"/>
              <a:gd name="connsiteX94" fmla="*/ 3140386 w 4527226"/>
              <a:gd name="connsiteY94" fmla="*/ 3631368 h 6062148"/>
              <a:gd name="connsiteX95" fmla="*/ 3117526 w 4527226"/>
              <a:gd name="connsiteY95" fmla="*/ 3738048 h 6062148"/>
              <a:gd name="connsiteX96" fmla="*/ 3125146 w 4527226"/>
              <a:gd name="connsiteY96" fmla="*/ 4103808 h 6062148"/>
              <a:gd name="connsiteX97" fmla="*/ 3117526 w 4527226"/>
              <a:gd name="connsiteY97" fmla="*/ 4119048 h 6062148"/>
              <a:gd name="connsiteX98" fmla="*/ 3163246 w 4527226"/>
              <a:gd name="connsiteY98" fmla="*/ 4157148 h 6062148"/>
              <a:gd name="connsiteX99" fmla="*/ 3201346 w 4527226"/>
              <a:gd name="connsiteY99" fmla="*/ 4164768 h 6062148"/>
              <a:gd name="connsiteX100" fmla="*/ 3231826 w 4527226"/>
              <a:gd name="connsiteY100" fmla="*/ 4172388 h 6062148"/>
              <a:gd name="connsiteX101" fmla="*/ 3285166 w 4527226"/>
              <a:gd name="connsiteY101" fmla="*/ 4294308 h 6062148"/>
              <a:gd name="connsiteX102" fmla="*/ 3300406 w 4527226"/>
              <a:gd name="connsiteY102" fmla="*/ 4347648 h 6062148"/>
              <a:gd name="connsiteX103" fmla="*/ 3330886 w 4527226"/>
              <a:gd name="connsiteY103" fmla="*/ 4408608 h 6062148"/>
              <a:gd name="connsiteX104" fmla="*/ 3551866 w 4527226"/>
              <a:gd name="connsiteY104" fmla="*/ 4644828 h 6062148"/>
              <a:gd name="connsiteX105" fmla="*/ 3887146 w 4527226"/>
              <a:gd name="connsiteY105" fmla="*/ 5025828 h 6062148"/>
              <a:gd name="connsiteX106" fmla="*/ 4100506 w 4527226"/>
              <a:gd name="connsiteY106" fmla="*/ 5300148 h 6062148"/>
              <a:gd name="connsiteX107" fmla="*/ 4367206 w 4527226"/>
              <a:gd name="connsiteY107" fmla="*/ 5726868 h 6062148"/>
              <a:gd name="connsiteX108" fmla="*/ 4527226 w 4527226"/>
              <a:gd name="connsiteY108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65766 w 4527226"/>
              <a:gd name="connsiteY32" fmla="*/ 2930328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05746 w 4527226"/>
              <a:gd name="connsiteY35" fmla="*/ 2876988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2957506 w 4527226"/>
              <a:gd name="connsiteY89" fmla="*/ 3562788 h 6062148"/>
              <a:gd name="connsiteX90" fmla="*/ 3010846 w 4527226"/>
              <a:gd name="connsiteY90" fmla="*/ 3539928 h 6062148"/>
              <a:gd name="connsiteX91" fmla="*/ 3064186 w 4527226"/>
              <a:gd name="connsiteY91" fmla="*/ 3562788 h 6062148"/>
              <a:gd name="connsiteX92" fmla="*/ 3109906 w 4527226"/>
              <a:gd name="connsiteY92" fmla="*/ 3570408 h 6062148"/>
              <a:gd name="connsiteX93" fmla="*/ 3140386 w 4527226"/>
              <a:gd name="connsiteY93" fmla="*/ 3631368 h 6062148"/>
              <a:gd name="connsiteX94" fmla="*/ 3117526 w 4527226"/>
              <a:gd name="connsiteY94" fmla="*/ 3738048 h 6062148"/>
              <a:gd name="connsiteX95" fmla="*/ 3125146 w 4527226"/>
              <a:gd name="connsiteY95" fmla="*/ 4103808 h 6062148"/>
              <a:gd name="connsiteX96" fmla="*/ 3117526 w 4527226"/>
              <a:gd name="connsiteY96" fmla="*/ 4119048 h 6062148"/>
              <a:gd name="connsiteX97" fmla="*/ 3163246 w 4527226"/>
              <a:gd name="connsiteY97" fmla="*/ 4157148 h 6062148"/>
              <a:gd name="connsiteX98" fmla="*/ 3201346 w 4527226"/>
              <a:gd name="connsiteY98" fmla="*/ 4164768 h 6062148"/>
              <a:gd name="connsiteX99" fmla="*/ 3231826 w 4527226"/>
              <a:gd name="connsiteY99" fmla="*/ 4172388 h 6062148"/>
              <a:gd name="connsiteX100" fmla="*/ 3285166 w 4527226"/>
              <a:gd name="connsiteY100" fmla="*/ 4294308 h 6062148"/>
              <a:gd name="connsiteX101" fmla="*/ 3300406 w 4527226"/>
              <a:gd name="connsiteY101" fmla="*/ 4347648 h 6062148"/>
              <a:gd name="connsiteX102" fmla="*/ 3330886 w 4527226"/>
              <a:gd name="connsiteY102" fmla="*/ 4408608 h 6062148"/>
              <a:gd name="connsiteX103" fmla="*/ 3551866 w 4527226"/>
              <a:gd name="connsiteY103" fmla="*/ 4644828 h 6062148"/>
              <a:gd name="connsiteX104" fmla="*/ 3887146 w 4527226"/>
              <a:gd name="connsiteY104" fmla="*/ 5025828 h 6062148"/>
              <a:gd name="connsiteX105" fmla="*/ 4100506 w 4527226"/>
              <a:gd name="connsiteY105" fmla="*/ 5300148 h 6062148"/>
              <a:gd name="connsiteX106" fmla="*/ 4367206 w 4527226"/>
              <a:gd name="connsiteY106" fmla="*/ 5726868 h 6062148"/>
              <a:gd name="connsiteX107" fmla="*/ 4527226 w 4527226"/>
              <a:gd name="connsiteY107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65766 w 4527226"/>
              <a:gd name="connsiteY32" fmla="*/ 2930328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2957506 w 4527226"/>
              <a:gd name="connsiteY89" fmla="*/ 3562788 h 6062148"/>
              <a:gd name="connsiteX90" fmla="*/ 3010846 w 4527226"/>
              <a:gd name="connsiteY90" fmla="*/ 3539928 h 6062148"/>
              <a:gd name="connsiteX91" fmla="*/ 3064186 w 4527226"/>
              <a:gd name="connsiteY91" fmla="*/ 3562788 h 6062148"/>
              <a:gd name="connsiteX92" fmla="*/ 3109906 w 4527226"/>
              <a:gd name="connsiteY92" fmla="*/ 3570408 h 6062148"/>
              <a:gd name="connsiteX93" fmla="*/ 3140386 w 4527226"/>
              <a:gd name="connsiteY93" fmla="*/ 3631368 h 6062148"/>
              <a:gd name="connsiteX94" fmla="*/ 3117526 w 4527226"/>
              <a:gd name="connsiteY94" fmla="*/ 3738048 h 6062148"/>
              <a:gd name="connsiteX95" fmla="*/ 3125146 w 4527226"/>
              <a:gd name="connsiteY95" fmla="*/ 4103808 h 6062148"/>
              <a:gd name="connsiteX96" fmla="*/ 3117526 w 4527226"/>
              <a:gd name="connsiteY96" fmla="*/ 4119048 h 6062148"/>
              <a:gd name="connsiteX97" fmla="*/ 3163246 w 4527226"/>
              <a:gd name="connsiteY97" fmla="*/ 4157148 h 6062148"/>
              <a:gd name="connsiteX98" fmla="*/ 3201346 w 4527226"/>
              <a:gd name="connsiteY98" fmla="*/ 4164768 h 6062148"/>
              <a:gd name="connsiteX99" fmla="*/ 3231826 w 4527226"/>
              <a:gd name="connsiteY99" fmla="*/ 4172388 h 6062148"/>
              <a:gd name="connsiteX100" fmla="*/ 3285166 w 4527226"/>
              <a:gd name="connsiteY100" fmla="*/ 4294308 h 6062148"/>
              <a:gd name="connsiteX101" fmla="*/ 3300406 w 4527226"/>
              <a:gd name="connsiteY101" fmla="*/ 4347648 h 6062148"/>
              <a:gd name="connsiteX102" fmla="*/ 3330886 w 4527226"/>
              <a:gd name="connsiteY102" fmla="*/ 4408608 h 6062148"/>
              <a:gd name="connsiteX103" fmla="*/ 3551866 w 4527226"/>
              <a:gd name="connsiteY103" fmla="*/ 4644828 h 6062148"/>
              <a:gd name="connsiteX104" fmla="*/ 3887146 w 4527226"/>
              <a:gd name="connsiteY104" fmla="*/ 5025828 h 6062148"/>
              <a:gd name="connsiteX105" fmla="*/ 4100506 w 4527226"/>
              <a:gd name="connsiteY105" fmla="*/ 5300148 h 6062148"/>
              <a:gd name="connsiteX106" fmla="*/ 4367206 w 4527226"/>
              <a:gd name="connsiteY106" fmla="*/ 5726868 h 6062148"/>
              <a:gd name="connsiteX107" fmla="*/ 4527226 w 4527226"/>
              <a:gd name="connsiteY107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2957506 w 4527226"/>
              <a:gd name="connsiteY89" fmla="*/ 3562788 h 6062148"/>
              <a:gd name="connsiteX90" fmla="*/ 3010846 w 4527226"/>
              <a:gd name="connsiteY90" fmla="*/ 3539928 h 6062148"/>
              <a:gd name="connsiteX91" fmla="*/ 3064186 w 4527226"/>
              <a:gd name="connsiteY91" fmla="*/ 3562788 h 6062148"/>
              <a:gd name="connsiteX92" fmla="*/ 3109906 w 4527226"/>
              <a:gd name="connsiteY92" fmla="*/ 3570408 h 6062148"/>
              <a:gd name="connsiteX93" fmla="*/ 3140386 w 4527226"/>
              <a:gd name="connsiteY93" fmla="*/ 3631368 h 6062148"/>
              <a:gd name="connsiteX94" fmla="*/ 3117526 w 4527226"/>
              <a:gd name="connsiteY94" fmla="*/ 3738048 h 6062148"/>
              <a:gd name="connsiteX95" fmla="*/ 3125146 w 4527226"/>
              <a:gd name="connsiteY95" fmla="*/ 4103808 h 6062148"/>
              <a:gd name="connsiteX96" fmla="*/ 3117526 w 4527226"/>
              <a:gd name="connsiteY96" fmla="*/ 4119048 h 6062148"/>
              <a:gd name="connsiteX97" fmla="*/ 3163246 w 4527226"/>
              <a:gd name="connsiteY97" fmla="*/ 4157148 h 6062148"/>
              <a:gd name="connsiteX98" fmla="*/ 3201346 w 4527226"/>
              <a:gd name="connsiteY98" fmla="*/ 4164768 h 6062148"/>
              <a:gd name="connsiteX99" fmla="*/ 3231826 w 4527226"/>
              <a:gd name="connsiteY99" fmla="*/ 4172388 h 6062148"/>
              <a:gd name="connsiteX100" fmla="*/ 3285166 w 4527226"/>
              <a:gd name="connsiteY100" fmla="*/ 4294308 h 6062148"/>
              <a:gd name="connsiteX101" fmla="*/ 3300406 w 4527226"/>
              <a:gd name="connsiteY101" fmla="*/ 4347648 h 6062148"/>
              <a:gd name="connsiteX102" fmla="*/ 3330886 w 4527226"/>
              <a:gd name="connsiteY102" fmla="*/ 4408608 h 6062148"/>
              <a:gd name="connsiteX103" fmla="*/ 3551866 w 4527226"/>
              <a:gd name="connsiteY103" fmla="*/ 4644828 h 6062148"/>
              <a:gd name="connsiteX104" fmla="*/ 3887146 w 4527226"/>
              <a:gd name="connsiteY104" fmla="*/ 5025828 h 6062148"/>
              <a:gd name="connsiteX105" fmla="*/ 4100506 w 4527226"/>
              <a:gd name="connsiteY105" fmla="*/ 5300148 h 6062148"/>
              <a:gd name="connsiteX106" fmla="*/ 4367206 w 4527226"/>
              <a:gd name="connsiteY106" fmla="*/ 5726868 h 6062148"/>
              <a:gd name="connsiteX107" fmla="*/ 4527226 w 4527226"/>
              <a:gd name="connsiteY107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3010846 w 4527226"/>
              <a:gd name="connsiteY89" fmla="*/ 3539928 h 6062148"/>
              <a:gd name="connsiteX90" fmla="*/ 3064186 w 4527226"/>
              <a:gd name="connsiteY90" fmla="*/ 3562788 h 6062148"/>
              <a:gd name="connsiteX91" fmla="*/ 3109906 w 4527226"/>
              <a:gd name="connsiteY91" fmla="*/ 3570408 h 6062148"/>
              <a:gd name="connsiteX92" fmla="*/ 3140386 w 4527226"/>
              <a:gd name="connsiteY92" fmla="*/ 3631368 h 6062148"/>
              <a:gd name="connsiteX93" fmla="*/ 3117526 w 4527226"/>
              <a:gd name="connsiteY93" fmla="*/ 3738048 h 6062148"/>
              <a:gd name="connsiteX94" fmla="*/ 3125146 w 4527226"/>
              <a:gd name="connsiteY94" fmla="*/ 4103808 h 6062148"/>
              <a:gd name="connsiteX95" fmla="*/ 3117526 w 4527226"/>
              <a:gd name="connsiteY95" fmla="*/ 4119048 h 6062148"/>
              <a:gd name="connsiteX96" fmla="*/ 3163246 w 4527226"/>
              <a:gd name="connsiteY96" fmla="*/ 4157148 h 6062148"/>
              <a:gd name="connsiteX97" fmla="*/ 3201346 w 4527226"/>
              <a:gd name="connsiteY97" fmla="*/ 4164768 h 6062148"/>
              <a:gd name="connsiteX98" fmla="*/ 3231826 w 4527226"/>
              <a:gd name="connsiteY98" fmla="*/ 4172388 h 6062148"/>
              <a:gd name="connsiteX99" fmla="*/ 3285166 w 4527226"/>
              <a:gd name="connsiteY99" fmla="*/ 4294308 h 6062148"/>
              <a:gd name="connsiteX100" fmla="*/ 3300406 w 4527226"/>
              <a:gd name="connsiteY100" fmla="*/ 4347648 h 6062148"/>
              <a:gd name="connsiteX101" fmla="*/ 3330886 w 4527226"/>
              <a:gd name="connsiteY101" fmla="*/ 4408608 h 6062148"/>
              <a:gd name="connsiteX102" fmla="*/ 3551866 w 4527226"/>
              <a:gd name="connsiteY102" fmla="*/ 4644828 h 6062148"/>
              <a:gd name="connsiteX103" fmla="*/ 3887146 w 4527226"/>
              <a:gd name="connsiteY103" fmla="*/ 5025828 h 6062148"/>
              <a:gd name="connsiteX104" fmla="*/ 4100506 w 4527226"/>
              <a:gd name="connsiteY104" fmla="*/ 5300148 h 6062148"/>
              <a:gd name="connsiteX105" fmla="*/ 4367206 w 4527226"/>
              <a:gd name="connsiteY105" fmla="*/ 5726868 h 6062148"/>
              <a:gd name="connsiteX106" fmla="*/ 4527226 w 4527226"/>
              <a:gd name="connsiteY106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3010846 w 4527226"/>
              <a:gd name="connsiteY89" fmla="*/ 3539928 h 6062148"/>
              <a:gd name="connsiteX90" fmla="*/ 3109906 w 4527226"/>
              <a:gd name="connsiteY90" fmla="*/ 3570408 h 6062148"/>
              <a:gd name="connsiteX91" fmla="*/ 3140386 w 4527226"/>
              <a:gd name="connsiteY91" fmla="*/ 3631368 h 6062148"/>
              <a:gd name="connsiteX92" fmla="*/ 3117526 w 4527226"/>
              <a:gd name="connsiteY92" fmla="*/ 3738048 h 6062148"/>
              <a:gd name="connsiteX93" fmla="*/ 3125146 w 4527226"/>
              <a:gd name="connsiteY93" fmla="*/ 4103808 h 6062148"/>
              <a:gd name="connsiteX94" fmla="*/ 3117526 w 4527226"/>
              <a:gd name="connsiteY94" fmla="*/ 4119048 h 6062148"/>
              <a:gd name="connsiteX95" fmla="*/ 3163246 w 4527226"/>
              <a:gd name="connsiteY95" fmla="*/ 4157148 h 6062148"/>
              <a:gd name="connsiteX96" fmla="*/ 3201346 w 4527226"/>
              <a:gd name="connsiteY96" fmla="*/ 4164768 h 6062148"/>
              <a:gd name="connsiteX97" fmla="*/ 3231826 w 4527226"/>
              <a:gd name="connsiteY97" fmla="*/ 4172388 h 6062148"/>
              <a:gd name="connsiteX98" fmla="*/ 3285166 w 4527226"/>
              <a:gd name="connsiteY98" fmla="*/ 4294308 h 6062148"/>
              <a:gd name="connsiteX99" fmla="*/ 3300406 w 4527226"/>
              <a:gd name="connsiteY99" fmla="*/ 4347648 h 6062148"/>
              <a:gd name="connsiteX100" fmla="*/ 3330886 w 4527226"/>
              <a:gd name="connsiteY100" fmla="*/ 4408608 h 6062148"/>
              <a:gd name="connsiteX101" fmla="*/ 3551866 w 4527226"/>
              <a:gd name="connsiteY101" fmla="*/ 4644828 h 6062148"/>
              <a:gd name="connsiteX102" fmla="*/ 3887146 w 4527226"/>
              <a:gd name="connsiteY102" fmla="*/ 5025828 h 6062148"/>
              <a:gd name="connsiteX103" fmla="*/ 4100506 w 4527226"/>
              <a:gd name="connsiteY103" fmla="*/ 5300148 h 6062148"/>
              <a:gd name="connsiteX104" fmla="*/ 4367206 w 4527226"/>
              <a:gd name="connsiteY104" fmla="*/ 5726868 h 6062148"/>
              <a:gd name="connsiteX105" fmla="*/ 4527226 w 4527226"/>
              <a:gd name="connsiteY105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3010846 w 4527226"/>
              <a:gd name="connsiteY89" fmla="*/ 3539928 h 6062148"/>
              <a:gd name="connsiteX90" fmla="*/ 3109906 w 4527226"/>
              <a:gd name="connsiteY90" fmla="*/ 3570408 h 6062148"/>
              <a:gd name="connsiteX91" fmla="*/ 3140386 w 4527226"/>
              <a:gd name="connsiteY91" fmla="*/ 3631368 h 6062148"/>
              <a:gd name="connsiteX92" fmla="*/ 3117526 w 4527226"/>
              <a:gd name="connsiteY92" fmla="*/ 3738048 h 6062148"/>
              <a:gd name="connsiteX93" fmla="*/ 3125146 w 4527226"/>
              <a:gd name="connsiteY93" fmla="*/ 4103808 h 6062148"/>
              <a:gd name="connsiteX94" fmla="*/ 3163246 w 4527226"/>
              <a:gd name="connsiteY94" fmla="*/ 4157148 h 6062148"/>
              <a:gd name="connsiteX95" fmla="*/ 3201346 w 4527226"/>
              <a:gd name="connsiteY95" fmla="*/ 4164768 h 6062148"/>
              <a:gd name="connsiteX96" fmla="*/ 3231826 w 4527226"/>
              <a:gd name="connsiteY96" fmla="*/ 4172388 h 6062148"/>
              <a:gd name="connsiteX97" fmla="*/ 3285166 w 4527226"/>
              <a:gd name="connsiteY97" fmla="*/ 4294308 h 6062148"/>
              <a:gd name="connsiteX98" fmla="*/ 3300406 w 4527226"/>
              <a:gd name="connsiteY98" fmla="*/ 4347648 h 6062148"/>
              <a:gd name="connsiteX99" fmla="*/ 3330886 w 4527226"/>
              <a:gd name="connsiteY99" fmla="*/ 4408608 h 6062148"/>
              <a:gd name="connsiteX100" fmla="*/ 3551866 w 4527226"/>
              <a:gd name="connsiteY100" fmla="*/ 4644828 h 6062148"/>
              <a:gd name="connsiteX101" fmla="*/ 3887146 w 4527226"/>
              <a:gd name="connsiteY101" fmla="*/ 5025828 h 6062148"/>
              <a:gd name="connsiteX102" fmla="*/ 4100506 w 4527226"/>
              <a:gd name="connsiteY102" fmla="*/ 5300148 h 6062148"/>
              <a:gd name="connsiteX103" fmla="*/ 4367206 w 4527226"/>
              <a:gd name="connsiteY103" fmla="*/ 5726868 h 6062148"/>
              <a:gd name="connsiteX104" fmla="*/ 4527226 w 4527226"/>
              <a:gd name="connsiteY104" fmla="*/ 6046908 h 6062148"/>
              <a:gd name="connsiteX0" fmla="*/ 381946 w 4527226"/>
              <a:gd name="connsiteY0" fmla="*/ 5924988 h 6046908"/>
              <a:gd name="connsiteX1" fmla="*/ 442906 w 4527226"/>
              <a:gd name="connsiteY1" fmla="*/ 5780208 h 6046908"/>
              <a:gd name="connsiteX2" fmla="*/ 473386 w 4527226"/>
              <a:gd name="connsiteY2" fmla="*/ 5665908 h 6046908"/>
              <a:gd name="connsiteX3" fmla="*/ 511486 w 4527226"/>
              <a:gd name="connsiteY3" fmla="*/ 5612568 h 6046908"/>
              <a:gd name="connsiteX4" fmla="*/ 541966 w 4527226"/>
              <a:gd name="connsiteY4" fmla="*/ 5521128 h 6046908"/>
              <a:gd name="connsiteX5" fmla="*/ 564826 w 4527226"/>
              <a:gd name="connsiteY5" fmla="*/ 5353488 h 6046908"/>
              <a:gd name="connsiteX6" fmla="*/ 602926 w 4527226"/>
              <a:gd name="connsiteY6" fmla="*/ 5223948 h 6046908"/>
              <a:gd name="connsiteX7" fmla="*/ 625786 w 4527226"/>
              <a:gd name="connsiteY7" fmla="*/ 5178228 h 6046908"/>
              <a:gd name="connsiteX8" fmla="*/ 701986 w 4527226"/>
              <a:gd name="connsiteY8" fmla="*/ 5071548 h 6046908"/>
              <a:gd name="connsiteX9" fmla="*/ 717226 w 4527226"/>
              <a:gd name="connsiteY9" fmla="*/ 5063928 h 6046908"/>
              <a:gd name="connsiteX10" fmla="*/ 709606 w 4527226"/>
              <a:gd name="connsiteY10" fmla="*/ 5025828 h 6046908"/>
              <a:gd name="connsiteX11" fmla="*/ 701986 w 4527226"/>
              <a:gd name="connsiteY11" fmla="*/ 5002968 h 6046908"/>
              <a:gd name="connsiteX12" fmla="*/ 968686 w 4527226"/>
              <a:gd name="connsiteY12" fmla="*/ 4682928 h 6046908"/>
              <a:gd name="connsiteX13" fmla="*/ 961066 w 4527226"/>
              <a:gd name="connsiteY13" fmla="*/ 4644828 h 6046908"/>
              <a:gd name="connsiteX14" fmla="*/ 1342066 w 4527226"/>
              <a:gd name="connsiteY14" fmla="*/ 4172388 h 6046908"/>
              <a:gd name="connsiteX15" fmla="*/ 1258246 w 4527226"/>
              <a:gd name="connsiteY15" fmla="*/ 4012368 h 6046908"/>
              <a:gd name="connsiteX16" fmla="*/ 1204906 w 4527226"/>
              <a:gd name="connsiteY16" fmla="*/ 3928548 h 6046908"/>
              <a:gd name="connsiteX17" fmla="*/ 1174426 w 4527226"/>
              <a:gd name="connsiteY17" fmla="*/ 3768528 h 6046908"/>
              <a:gd name="connsiteX18" fmla="*/ 1151566 w 4527226"/>
              <a:gd name="connsiteY18" fmla="*/ 3699948 h 6046908"/>
              <a:gd name="connsiteX19" fmla="*/ 1143946 w 4527226"/>
              <a:gd name="connsiteY19" fmla="*/ 3669468 h 6046908"/>
              <a:gd name="connsiteX20" fmla="*/ 1067746 w 4527226"/>
              <a:gd name="connsiteY20" fmla="*/ 3661848 h 6046908"/>
              <a:gd name="connsiteX21" fmla="*/ 938206 w 4527226"/>
              <a:gd name="connsiteY21" fmla="*/ 3669468 h 6046908"/>
              <a:gd name="connsiteX22" fmla="*/ 831526 w 4527226"/>
              <a:gd name="connsiteY22" fmla="*/ 3692328 h 6046908"/>
              <a:gd name="connsiteX23" fmla="*/ 610546 w 4527226"/>
              <a:gd name="connsiteY23" fmla="*/ 3738048 h 6046908"/>
              <a:gd name="connsiteX24" fmla="*/ 389566 w 4527226"/>
              <a:gd name="connsiteY24" fmla="*/ 3638988 h 6046908"/>
              <a:gd name="connsiteX25" fmla="*/ 381946 w 4527226"/>
              <a:gd name="connsiteY25" fmla="*/ 3326568 h 6046908"/>
              <a:gd name="connsiteX26" fmla="*/ 420046 w 4527226"/>
              <a:gd name="connsiteY26" fmla="*/ 3227508 h 6046908"/>
              <a:gd name="connsiteX27" fmla="*/ 389566 w 4527226"/>
              <a:gd name="connsiteY27" fmla="*/ 3166548 h 6046908"/>
              <a:gd name="connsiteX28" fmla="*/ 351466 w 4527226"/>
              <a:gd name="connsiteY28" fmla="*/ 3105588 h 6046908"/>
              <a:gd name="connsiteX29" fmla="*/ 397186 w 4527226"/>
              <a:gd name="connsiteY29" fmla="*/ 3021768 h 6046908"/>
              <a:gd name="connsiteX30" fmla="*/ 488626 w 4527226"/>
              <a:gd name="connsiteY30" fmla="*/ 2998908 h 6046908"/>
              <a:gd name="connsiteX31" fmla="*/ 471956 w 4527226"/>
              <a:gd name="connsiteY31" fmla="*/ 2942709 h 6046908"/>
              <a:gd name="connsiteX32" fmla="*/ 435286 w 4527226"/>
              <a:gd name="connsiteY32" fmla="*/ 2930328 h 6046908"/>
              <a:gd name="connsiteX33" fmla="*/ 389566 w 4527226"/>
              <a:gd name="connsiteY33" fmla="*/ 2930328 h 6046908"/>
              <a:gd name="connsiteX34" fmla="*/ 314000 w 4527226"/>
              <a:gd name="connsiteY34" fmla="*/ 2893495 h 6046908"/>
              <a:gd name="connsiteX35" fmla="*/ 320986 w 4527226"/>
              <a:gd name="connsiteY35" fmla="*/ 2846508 h 6046908"/>
              <a:gd name="connsiteX36" fmla="*/ 328606 w 4527226"/>
              <a:gd name="connsiteY36" fmla="*/ 2793168 h 6046908"/>
              <a:gd name="connsiteX37" fmla="*/ 313366 w 4527226"/>
              <a:gd name="connsiteY37" fmla="*/ 2732208 h 6046908"/>
              <a:gd name="connsiteX38" fmla="*/ 267646 w 4527226"/>
              <a:gd name="connsiteY38" fmla="*/ 2671248 h 6046908"/>
              <a:gd name="connsiteX39" fmla="*/ 176206 w 4527226"/>
              <a:gd name="connsiteY39" fmla="*/ 2656008 h 6046908"/>
              <a:gd name="connsiteX40" fmla="*/ 54286 w 4527226"/>
              <a:gd name="connsiteY40" fmla="*/ 2610288 h 6046908"/>
              <a:gd name="connsiteX41" fmla="*/ 7931 w 4527226"/>
              <a:gd name="connsiteY41" fmla="*/ 2563298 h 6046908"/>
              <a:gd name="connsiteX42" fmla="*/ 8566 w 4527226"/>
              <a:gd name="connsiteY42" fmla="*/ 2488368 h 6046908"/>
              <a:gd name="connsiteX43" fmla="*/ 92386 w 4527226"/>
              <a:gd name="connsiteY43" fmla="*/ 2335968 h 6046908"/>
              <a:gd name="connsiteX44" fmla="*/ 221926 w 4527226"/>
              <a:gd name="connsiteY44" fmla="*/ 2175948 h 6046908"/>
              <a:gd name="connsiteX45" fmla="*/ 282886 w 4527226"/>
              <a:gd name="connsiteY45" fmla="*/ 2084508 h 6046908"/>
              <a:gd name="connsiteX46" fmla="*/ 328606 w 4527226"/>
              <a:gd name="connsiteY46" fmla="*/ 1977828 h 6046908"/>
              <a:gd name="connsiteX47" fmla="*/ 359086 w 4527226"/>
              <a:gd name="connsiteY47" fmla="*/ 1871148 h 6046908"/>
              <a:gd name="connsiteX48" fmla="*/ 374326 w 4527226"/>
              <a:gd name="connsiteY48" fmla="*/ 1810188 h 6046908"/>
              <a:gd name="connsiteX49" fmla="*/ 343846 w 4527226"/>
              <a:gd name="connsiteY49" fmla="*/ 1756848 h 6046908"/>
              <a:gd name="connsiteX50" fmla="*/ 328606 w 4527226"/>
              <a:gd name="connsiteY50" fmla="*/ 1680648 h 6046908"/>
              <a:gd name="connsiteX51" fmla="*/ 412426 w 4527226"/>
              <a:gd name="connsiteY51" fmla="*/ 1474908 h 6046908"/>
              <a:gd name="connsiteX52" fmla="*/ 442906 w 4527226"/>
              <a:gd name="connsiteY52" fmla="*/ 1307268 h 6046908"/>
              <a:gd name="connsiteX53" fmla="*/ 465766 w 4527226"/>
              <a:gd name="connsiteY53" fmla="*/ 1192968 h 6046908"/>
              <a:gd name="connsiteX54" fmla="*/ 503866 w 4527226"/>
              <a:gd name="connsiteY54" fmla="*/ 1055808 h 6046908"/>
              <a:gd name="connsiteX55" fmla="*/ 557206 w 4527226"/>
              <a:gd name="connsiteY55" fmla="*/ 888168 h 6046908"/>
              <a:gd name="connsiteX56" fmla="*/ 503866 w 4527226"/>
              <a:gd name="connsiteY56" fmla="*/ 888168 h 6046908"/>
              <a:gd name="connsiteX57" fmla="*/ 412426 w 4527226"/>
              <a:gd name="connsiteY57" fmla="*/ 834828 h 6046908"/>
              <a:gd name="connsiteX58" fmla="*/ 328606 w 4527226"/>
              <a:gd name="connsiteY58" fmla="*/ 789108 h 6046908"/>
              <a:gd name="connsiteX59" fmla="*/ 260026 w 4527226"/>
              <a:gd name="connsiteY59" fmla="*/ 773868 h 6046908"/>
              <a:gd name="connsiteX60" fmla="*/ 214306 w 4527226"/>
              <a:gd name="connsiteY60" fmla="*/ 751008 h 6046908"/>
              <a:gd name="connsiteX61" fmla="*/ 260026 w 4527226"/>
              <a:gd name="connsiteY61" fmla="*/ 674808 h 6046908"/>
              <a:gd name="connsiteX62" fmla="*/ 374326 w 4527226"/>
              <a:gd name="connsiteY62" fmla="*/ 606228 h 6046908"/>
              <a:gd name="connsiteX63" fmla="*/ 557206 w 4527226"/>
              <a:gd name="connsiteY63" fmla="*/ 507168 h 6046908"/>
              <a:gd name="connsiteX64" fmla="*/ 656266 w 4527226"/>
              <a:gd name="connsiteY64" fmla="*/ 423348 h 6046908"/>
              <a:gd name="connsiteX65" fmla="*/ 892486 w 4527226"/>
              <a:gd name="connsiteY65" fmla="*/ 232848 h 6046908"/>
              <a:gd name="connsiteX66" fmla="*/ 1174426 w 4527226"/>
              <a:gd name="connsiteY66" fmla="*/ 80448 h 6046908"/>
              <a:gd name="connsiteX67" fmla="*/ 1593526 w 4527226"/>
              <a:gd name="connsiteY67" fmla="*/ 11868 h 6046908"/>
              <a:gd name="connsiteX68" fmla="*/ 1944046 w 4527226"/>
              <a:gd name="connsiteY68" fmla="*/ 4248 h 6046908"/>
              <a:gd name="connsiteX69" fmla="*/ 2172646 w 4527226"/>
              <a:gd name="connsiteY69" fmla="*/ 4248 h 6046908"/>
              <a:gd name="connsiteX70" fmla="*/ 2393626 w 4527226"/>
              <a:gd name="connsiteY70" fmla="*/ 57588 h 6046908"/>
              <a:gd name="connsiteX71" fmla="*/ 2667946 w 4527226"/>
              <a:gd name="connsiteY71" fmla="*/ 133788 h 6046908"/>
              <a:gd name="connsiteX72" fmla="*/ 2820346 w 4527226"/>
              <a:gd name="connsiteY72" fmla="*/ 202368 h 6046908"/>
              <a:gd name="connsiteX73" fmla="*/ 3102286 w 4527226"/>
              <a:gd name="connsiteY73" fmla="*/ 400488 h 6046908"/>
              <a:gd name="connsiteX74" fmla="*/ 3285166 w 4527226"/>
              <a:gd name="connsiteY74" fmla="*/ 651948 h 6046908"/>
              <a:gd name="connsiteX75" fmla="*/ 3407086 w 4527226"/>
              <a:gd name="connsiteY75" fmla="*/ 918648 h 6046908"/>
              <a:gd name="connsiteX76" fmla="*/ 3475666 w 4527226"/>
              <a:gd name="connsiteY76" fmla="*/ 1238688 h 6046908"/>
              <a:gd name="connsiteX77" fmla="*/ 3506146 w 4527226"/>
              <a:gd name="connsiteY77" fmla="*/ 1543488 h 6046908"/>
              <a:gd name="connsiteX78" fmla="*/ 3506146 w 4527226"/>
              <a:gd name="connsiteY78" fmla="*/ 1962588 h 6046908"/>
              <a:gd name="connsiteX79" fmla="*/ 3338506 w 4527226"/>
              <a:gd name="connsiteY79" fmla="*/ 2305488 h 6046908"/>
              <a:gd name="connsiteX80" fmla="*/ 3254686 w 4527226"/>
              <a:gd name="connsiteY80" fmla="*/ 2473128 h 6046908"/>
              <a:gd name="connsiteX81" fmla="*/ 3132766 w 4527226"/>
              <a:gd name="connsiteY81" fmla="*/ 2663628 h 6046908"/>
              <a:gd name="connsiteX82" fmla="*/ 3071806 w 4527226"/>
              <a:gd name="connsiteY82" fmla="*/ 2838888 h 6046908"/>
              <a:gd name="connsiteX83" fmla="*/ 3064186 w 4527226"/>
              <a:gd name="connsiteY83" fmla="*/ 2915088 h 6046908"/>
              <a:gd name="connsiteX84" fmla="*/ 3018466 w 4527226"/>
              <a:gd name="connsiteY84" fmla="*/ 3014148 h 6046908"/>
              <a:gd name="connsiteX85" fmla="*/ 2980366 w 4527226"/>
              <a:gd name="connsiteY85" fmla="*/ 3082728 h 6046908"/>
              <a:gd name="connsiteX86" fmla="*/ 2957506 w 4527226"/>
              <a:gd name="connsiteY86" fmla="*/ 3120828 h 6046908"/>
              <a:gd name="connsiteX87" fmla="*/ 2957506 w 4527226"/>
              <a:gd name="connsiteY87" fmla="*/ 3555168 h 6046908"/>
              <a:gd name="connsiteX88" fmla="*/ 3010846 w 4527226"/>
              <a:gd name="connsiteY88" fmla="*/ 3539928 h 6046908"/>
              <a:gd name="connsiteX89" fmla="*/ 3109906 w 4527226"/>
              <a:gd name="connsiteY89" fmla="*/ 3570408 h 6046908"/>
              <a:gd name="connsiteX90" fmla="*/ 3140386 w 4527226"/>
              <a:gd name="connsiteY90" fmla="*/ 3631368 h 6046908"/>
              <a:gd name="connsiteX91" fmla="*/ 3117526 w 4527226"/>
              <a:gd name="connsiteY91" fmla="*/ 3738048 h 6046908"/>
              <a:gd name="connsiteX92" fmla="*/ 3125146 w 4527226"/>
              <a:gd name="connsiteY92" fmla="*/ 4103808 h 6046908"/>
              <a:gd name="connsiteX93" fmla="*/ 3163246 w 4527226"/>
              <a:gd name="connsiteY93" fmla="*/ 4157148 h 6046908"/>
              <a:gd name="connsiteX94" fmla="*/ 3201346 w 4527226"/>
              <a:gd name="connsiteY94" fmla="*/ 4164768 h 6046908"/>
              <a:gd name="connsiteX95" fmla="*/ 3231826 w 4527226"/>
              <a:gd name="connsiteY95" fmla="*/ 4172388 h 6046908"/>
              <a:gd name="connsiteX96" fmla="*/ 3285166 w 4527226"/>
              <a:gd name="connsiteY96" fmla="*/ 4294308 h 6046908"/>
              <a:gd name="connsiteX97" fmla="*/ 3300406 w 4527226"/>
              <a:gd name="connsiteY97" fmla="*/ 4347648 h 6046908"/>
              <a:gd name="connsiteX98" fmla="*/ 3330886 w 4527226"/>
              <a:gd name="connsiteY98" fmla="*/ 4408608 h 6046908"/>
              <a:gd name="connsiteX99" fmla="*/ 3551866 w 4527226"/>
              <a:gd name="connsiteY99" fmla="*/ 4644828 h 6046908"/>
              <a:gd name="connsiteX100" fmla="*/ 3887146 w 4527226"/>
              <a:gd name="connsiteY100" fmla="*/ 5025828 h 6046908"/>
              <a:gd name="connsiteX101" fmla="*/ 4100506 w 4527226"/>
              <a:gd name="connsiteY101" fmla="*/ 5300148 h 6046908"/>
              <a:gd name="connsiteX102" fmla="*/ 4367206 w 4527226"/>
              <a:gd name="connsiteY102" fmla="*/ 5726868 h 6046908"/>
              <a:gd name="connsiteX103" fmla="*/ 4527226 w 4527226"/>
              <a:gd name="connsiteY103" fmla="*/ 6046908 h 6046908"/>
              <a:gd name="connsiteX0" fmla="*/ 442906 w 4527226"/>
              <a:gd name="connsiteY0" fmla="*/ 5780208 h 6046908"/>
              <a:gd name="connsiteX1" fmla="*/ 473386 w 4527226"/>
              <a:gd name="connsiteY1" fmla="*/ 5665908 h 6046908"/>
              <a:gd name="connsiteX2" fmla="*/ 511486 w 4527226"/>
              <a:gd name="connsiteY2" fmla="*/ 5612568 h 6046908"/>
              <a:gd name="connsiteX3" fmla="*/ 541966 w 4527226"/>
              <a:gd name="connsiteY3" fmla="*/ 5521128 h 6046908"/>
              <a:gd name="connsiteX4" fmla="*/ 564826 w 4527226"/>
              <a:gd name="connsiteY4" fmla="*/ 5353488 h 6046908"/>
              <a:gd name="connsiteX5" fmla="*/ 602926 w 4527226"/>
              <a:gd name="connsiteY5" fmla="*/ 5223948 h 6046908"/>
              <a:gd name="connsiteX6" fmla="*/ 625786 w 4527226"/>
              <a:gd name="connsiteY6" fmla="*/ 5178228 h 6046908"/>
              <a:gd name="connsiteX7" fmla="*/ 701986 w 4527226"/>
              <a:gd name="connsiteY7" fmla="*/ 5071548 h 6046908"/>
              <a:gd name="connsiteX8" fmla="*/ 717226 w 4527226"/>
              <a:gd name="connsiteY8" fmla="*/ 5063928 h 6046908"/>
              <a:gd name="connsiteX9" fmla="*/ 709606 w 4527226"/>
              <a:gd name="connsiteY9" fmla="*/ 5025828 h 6046908"/>
              <a:gd name="connsiteX10" fmla="*/ 701986 w 4527226"/>
              <a:gd name="connsiteY10" fmla="*/ 5002968 h 6046908"/>
              <a:gd name="connsiteX11" fmla="*/ 968686 w 4527226"/>
              <a:gd name="connsiteY11" fmla="*/ 4682928 h 6046908"/>
              <a:gd name="connsiteX12" fmla="*/ 961066 w 4527226"/>
              <a:gd name="connsiteY12" fmla="*/ 4644828 h 6046908"/>
              <a:gd name="connsiteX13" fmla="*/ 1342066 w 4527226"/>
              <a:gd name="connsiteY13" fmla="*/ 4172388 h 6046908"/>
              <a:gd name="connsiteX14" fmla="*/ 1258246 w 4527226"/>
              <a:gd name="connsiteY14" fmla="*/ 4012368 h 6046908"/>
              <a:gd name="connsiteX15" fmla="*/ 1204906 w 4527226"/>
              <a:gd name="connsiteY15" fmla="*/ 3928548 h 6046908"/>
              <a:gd name="connsiteX16" fmla="*/ 1174426 w 4527226"/>
              <a:gd name="connsiteY16" fmla="*/ 3768528 h 6046908"/>
              <a:gd name="connsiteX17" fmla="*/ 1151566 w 4527226"/>
              <a:gd name="connsiteY17" fmla="*/ 3699948 h 6046908"/>
              <a:gd name="connsiteX18" fmla="*/ 1143946 w 4527226"/>
              <a:gd name="connsiteY18" fmla="*/ 3669468 h 6046908"/>
              <a:gd name="connsiteX19" fmla="*/ 1067746 w 4527226"/>
              <a:gd name="connsiteY19" fmla="*/ 3661848 h 6046908"/>
              <a:gd name="connsiteX20" fmla="*/ 938206 w 4527226"/>
              <a:gd name="connsiteY20" fmla="*/ 3669468 h 6046908"/>
              <a:gd name="connsiteX21" fmla="*/ 831526 w 4527226"/>
              <a:gd name="connsiteY21" fmla="*/ 3692328 h 6046908"/>
              <a:gd name="connsiteX22" fmla="*/ 610546 w 4527226"/>
              <a:gd name="connsiteY22" fmla="*/ 3738048 h 6046908"/>
              <a:gd name="connsiteX23" fmla="*/ 389566 w 4527226"/>
              <a:gd name="connsiteY23" fmla="*/ 3638988 h 6046908"/>
              <a:gd name="connsiteX24" fmla="*/ 381946 w 4527226"/>
              <a:gd name="connsiteY24" fmla="*/ 3326568 h 6046908"/>
              <a:gd name="connsiteX25" fmla="*/ 420046 w 4527226"/>
              <a:gd name="connsiteY25" fmla="*/ 3227508 h 6046908"/>
              <a:gd name="connsiteX26" fmla="*/ 389566 w 4527226"/>
              <a:gd name="connsiteY26" fmla="*/ 3166548 h 6046908"/>
              <a:gd name="connsiteX27" fmla="*/ 351466 w 4527226"/>
              <a:gd name="connsiteY27" fmla="*/ 3105588 h 6046908"/>
              <a:gd name="connsiteX28" fmla="*/ 397186 w 4527226"/>
              <a:gd name="connsiteY28" fmla="*/ 3021768 h 6046908"/>
              <a:gd name="connsiteX29" fmla="*/ 488626 w 4527226"/>
              <a:gd name="connsiteY29" fmla="*/ 2998908 h 6046908"/>
              <a:gd name="connsiteX30" fmla="*/ 471956 w 4527226"/>
              <a:gd name="connsiteY30" fmla="*/ 2942709 h 6046908"/>
              <a:gd name="connsiteX31" fmla="*/ 435286 w 4527226"/>
              <a:gd name="connsiteY31" fmla="*/ 2930328 h 6046908"/>
              <a:gd name="connsiteX32" fmla="*/ 389566 w 4527226"/>
              <a:gd name="connsiteY32" fmla="*/ 2930328 h 6046908"/>
              <a:gd name="connsiteX33" fmla="*/ 314000 w 4527226"/>
              <a:gd name="connsiteY33" fmla="*/ 2893495 h 6046908"/>
              <a:gd name="connsiteX34" fmla="*/ 320986 w 4527226"/>
              <a:gd name="connsiteY34" fmla="*/ 2846508 h 6046908"/>
              <a:gd name="connsiteX35" fmla="*/ 328606 w 4527226"/>
              <a:gd name="connsiteY35" fmla="*/ 2793168 h 6046908"/>
              <a:gd name="connsiteX36" fmla="*/ 313366 w 4527226"/>
              <a:gd name="connsiteY36" fmla="*/ 2732208 h 6046908"/>
              <a:gd name="connsiteX37" fmla="*/ 267646 w 4527226"/>
              <a:gd name="connsiteY37" fmla="*/ 2671248 h 6046908"/>
              <a:gd name="connsiteX38" fmla="*/ 176206 w 4527226"/>
              <a:gd name="connsiteY38" fmla="*/ 2656008 h 6046908"/>
              <a:gd name="connsiteX39" fmla="*/ 54286 w 4527226"/>
              <a:gd name="connsiteY39" fmla="*/ 2610288 h 6046908"/>
              <a:gd name="connsiteX40" fmla="*/ 7931 w 4527226"/>
              <a:gd name="connsiteY40" fmla="*/ 2563298 h 6046908"/>
              <a:gd name="connsiteX41" fmla="*/ 8566 w 4527226"/>
              <a:gd name="connsiteY41" fmla="*/ 2488368 h 6046908"/>
              <a:gd name="connsiteX42" fmla="*/ 92386 w 4527226"/>
              <a:gd name="connsiteY42" fmla="*/ 2335968 h 6046908"/>
              <a:gd name="connsiteX43" fmla="*/ 221926 w 4527226"/>
              <a:gd name="connsiteY43" fmla="*/ 2175948 h 6046908"/>
              <a:gd name="connsiteX44" fmla="*/ 282886 w 4527226"/>
              <a:gd name="connsiteY44" fmla="*/ 2084508 h 6046908"/>
              <a:gd name="connsiteX45" fmla="*/ 328606 w 4527226"/>
              <a:gd name="connsiteY45" fmla="*/ 1977828 h 6046908"/>
              <a:gd name="connsiteX46" fmla="*/ 359086 w 4527226"/>
              <a:gd name="connsiteY46" fmla="*/ 1871148 h 6046908"/>
              <a:gd name="connsiteX47" fmla="*/ 374326 w 4527226"/>
              <a:gd name="connsiteY47" fmla="*/ 1810188 h 6046908"/>
              <a:gd name="connsiteX48" fmla="*/ 343846 w 4527226"/>
              <a:gd name="connsiteY48" fmla="*/ 1756848 h 6046908"/>
              <a:gd name="connsiteX49" fmla="*/ 328606 w 4527226"/>
              <a:gd name="connsiteY49" fmla="*/ 1680648 h 6046908"/>
              <a:gd name="connsiteX50" fmla="*/ 412426 w 4527226"/>
              <a:gd name="connsiteY50" fmla="*/ 1474908 h 6046908"/>
              <a:gd name="connsiteX51" fmla="*/ 442906 w 4527226"/>
              <a:gd name="connsiteY51" fmla="*/ 1307268 h 6046908"/>
              <a:gd name="connsiteX52" fmla="*/ 465766 w 4527226"/>
              <a:gd name="connsiteY52" fmla="*/ 1192968 h 6046908"/>
              <a:gd name="connsiteX53" fmla="*/ 503866 w 4527226"/>
              <a:gd name="connsiteY53" fmla="*/ 1055808 h 6046908"/>
              <a:gd name="connsiteX54" fmla="*/ 557206 w 4527226"/>
              <a:gd name="connsiteY54" fmla="*/ 888168 h 6046908"/>
              <a:gd name="connsiteX55" fmla="*/ 503866 w 4527226"/>
              <a:gd name="connsiteY55" fmla="*/ 888168 h 6046908"/>
              <a:gd name="connsiteX56" fmla="*/ 412426 w 4527226"/>
              <a:gd name="connsiteY56" fmla="*/ 834828 h 6046908"/>
              <a:gd name="connsiteX57" fmla="*/ 328606 w 4527226"/>
              <a:gd name="connsiteY57" fmla="*/ 789108 h 6046908"/>
              <a:gd name="connsiteX58" fmla="*/ 260026 w 4527226"/>
              <a:gd name="connsiteY58" fmla="*/ 773868 h 6046908"/>
              <a:gd name="connsiteX59" fmla="*/ 214306 w 4527226"/>
              <a:gd name="connsiteY59" fmla="*/ 751008 h 6046908"/>
              <a:gd name="connsiteX60" fmla="*/ 260026 w 4527226"/>
              <a:gd name="connsiteY60" fmla="*/ 674808 h 6046908"/>
              <a:gd name="connsiteX61" fmla="*/ 374326 w 4527226"/>
              <a:gd name="connsiteY61" fmla="*/ 606228 h 6046908"/>
              <a:gd name="connsiteX62" fmla="*/ 557206 w 4527226"/>
              <a:gd name="connsiteY62" fmla="*/ 507168 h 6046908"/>
              <a:gd name="connsiteX63" fmla="*/ 656266 w 4527226"/>
              <a:gd name="connsiteY63" fmla="*/ 423348 h 6046908"/>
              <a:gd name="connsiteX64" fmla="*/ 892486 w 4527226"/>
              <a:gd name="connsiteY64" fmla="*/ 232848 h 6046908"/>
              <a:gd name="connsiteX65" fmla="*/ 1174426 w 4527226"/>
              <a:gd name="connsiteY65" fmla="*/ 80448 h 6046908"/>
              <a:gd name="connsiteX66" fmla="*/ 1593526 w 4527226"/>
              <a:gd name="connsiteY66" fmla="*/ 11868 h 6046908"/>
              <a:gd name="connsiteX67" fmla="*/ 1944046 w 4527226"/>
              <a:gd name="connsiteY67" fmla="*/ 4248 h 6046908"/>
              <a:gd name="connsiteX68" fmla="*/ 2172646 w 4527226"/>
              <a:gd name="connsiteY68" fmla="*/ 4248 h 6046908"/>
              <a:gd name="connsiteX69" fmla="*/ 2393626 w 4527226"/>
              <a:gd name="connsiteY69" fmla="*/ 57588 h 6046908"/>
              <a:gd name="connsiteX70" fmla="*/ 2667946 w 4527226"/>
              <a:gd name="connsiteY70" fmla="*/ 133788 h 6046908"/>
              <a:gd name="connsiteX71" fmla="*/ 2820346 w 4527226"/>
              <a:gd name="connsiteY71" fmla="*/ 202368 h 6046908"/>
              <a:gd name="connsiteX72" fmla="*/ 3102286 w 4527226"/>
              <a:gd name="connsiteY72" fmla="*/ 400488 h 6046908"/>
              <a:gd name="connsiteX73" fmla="*/ 3285166 w 4527226"/>
              <a:gd name="connsiteY73" fmla="*/ 651948 h 6046908"/>
              <a:gd name="connsiteX74" fmla="*/ 3407086 w 4527226"/>
              <a:gd name="connsiteY74" fmla="*/ 918648 h 6046908"/>
              <a:gd name="connsiteX75" fmla="*/ 3475666 w 4527226"/>
              <a:gd name="connsiteY75" fmla="*/ 1238688 h 6046908"/>
              <a:gd name="connsiteX76" fmla="*/ 3506146 w 4527226"/>
              <a:gd name="connsiteY76" fmla="*/ 1543488 h 6046908"/>
              <a:gd name="connsiteX77" fmla="*/ 3506146 w 4527226"/>
              <a:gd name="connsiteY77" fmla="*/ 1962588 h 6046908"/>
              <a:gd name="connsiteX78" fmla="*/ 3338506 w 4527226"/>
              <a:gd name="connsiteY78" fmla="*/ 2305488 h 6046908"/>
              <a:gd name="connsiteX79" fmla="*/ 3254686 w 4527226"/>
              <a:gd name="connsiteY79" fmla="*/ 2473128 h 6046908"/>
              <a:gd name="connsiteX80" fmla="*/ 3132766 w 4527226"/>
              <a:gd name="connsiteY80" fmla="*/ 2663628 h 6046908"/>
              <a:gd name="connsiteX81" fmla="*/ 3071806 w 4527226"/>
              <a:gd name="connsiteY81" fmla="*/ 2838888 h 6046908"/>
              <a:gd name="connsiteX82" fmla="*/ 3064186 w 4527226"/>
              <a:gd name="connsiteY82" fmla="*/ 2915088 h 6046908"/>
              <a:gd name="connsiteX83" fmla="*/ 3018466 w 4527226"/>
              <a:gd name="connsiteY83" fmla="*/ 3014148 h 6046908"/>
              <a:gd name="connsiteX84" fmla="*/ 2980366 w 4527226"/>
              <a:gd name="connsiteY84" fmla="*/ 3082728 h 6046908"/>
              <a:gd name="connsiteX85" fmla="*/ 2957506 w 4527226"/>
              <a:gd name="connsiteY85" fmla="*/ 3120828 h 6046908"/>
              <a:gd name="connsiteX86" fmla="*/ 2957506 w 4527226"/>
              <a:gd name="connsiteY86" fmla="*/ 3555168 h 6046908"/>
              <a:gd name="connsiteX87" fmla="*/ 3010846 w 4527226"/>
              <a:gd name="connsiteY87" fmla="*/ 3539928 h 6046908"/>
              <a:gd name="connsiteX88" fmla="*/ 3109906 w 4527226"/>
              <a:gd name="connsiteY88" fmla="*/ 3570408 h 6046908"/>
              <a:gd name="connsiteX89" fmla="*/ 3140386 w 4527226"/>
              <a:gd name="connsiteY89" fmla="*/ 3631368 h 6046908"/>
              <a:gd name="connsiteX90" fmla="*/ 3117526 w 4527226"/>
              <a:gd name="connsiteY90" fmla="*/ 3738048 h 6046908"/>
              <a:gd name="connsiteX91" fmla="*/ 3125146 w 4527226"/>
              <a:gd name="connsiteY91" fmla="*/ 4103808 h 6046908"/>
              <a:gd name="connsiteX92" fmla="*/ 3163246 w 4527226"/>
              <a:gd name="connsiteY92" fmla="*/ 4157148 h 6046908"/>
              <a:gd name="connsiteX93" fmla="*/ 3201346 w 4527226"/>
              <a:gd name="connsiteY93" fmla="*/ 4164768 h 6046908"/>
              <a:gd name="connsiteX94" fmla="*/ 3231826 w 4527226"/>
              <a:gd name="connsiteY94" fmla="*/ 4172388 h 6046908"/>
              <a:gd name="connsiteX95" fmla="*/ 3285166 w 4527226"/>
              <a:gd name="connsiteY95" fmla="*/ 4294308 h 6046908"/>
              <a:gd name="connsiteX96" fmla="*/ 3300406 w 4527226"/>
              <a:gd name="connsiteY96" fmla="*/ 4347648 h 6046908"/>
              <a:gd name="connsiteX97" fmla="*/ 3330886 w 4527226"/>
              <a:gd name="connsiteY97" fmla="*/ 4408608 h 6046908"/>
              <a:gd name="connsiteX98" fmla="*/ 3551866 w 4527226"/>
              <a:gd name="connsiteY98" fmla="*/ 4644828 h 6046908"/>
              <a:gd name="connsiteX99" fmla="*/ 3887146 w 4527226"/>
              <a:gd name="connsiteY99" fmla="*/ 5025828 h 6046908"/>
              <a:gd name="connsiteX100" fmla="*/ 4100506 w 4527226"/>
              <a:gd name="connsiteY100" fmla="*/ 5300148 h 6046908"/>
              <a:gd name="connsiteX101" fmla="*/ 4367206 w 4527226"/>
              <a:gd name="connsiteY101" fmla="*/ 5726868 h 6046908"/>
              <a:gd name="connsiteX102" fmla="*/ 4527226 w 4527226"/>
              <a:gd name="connsiteY102" fmla="*/ 6046908 h 6046908"/>
              <a:gd name="connsiteX0" fmla="*/ 473386 w 4527226"/>
              <a:gd name="connsiteY0" fmla="*/ 5665908 h 6046908"/>
              <a:gd name="connsiteX1" fmla="*/ 511486 w 4527226"/>
              <a:gd name="connsiteY1" fmla="*/ 5612568 h 6046908"/>
              <a:gd name="connsiteX2" fmla="*/ 541966 w 4527226"/>
              <a:gd name="connsiteY2" fmla="*/ 5521128 h 6046908"/>
              <a:gd name="connsiteX3" fmla="*/ 564826 w 4527226"/>
              <a:gd name="connsiteY3" fmla="*/ 5353488 h 6046908"/>
              <a:gd name="connsiteX4" fmla="*/ 602926 w 4527226"/>
              <a:gd name="connsiteY4" fmla="*/ 5223948 h 6046908"/>
              <a:gd name="connsiteX5" fmla="*/ 625786 w 4527226"/>
              <a:gd name="connsiteY5" fmla="*/ 5178228 h 6046908"/>
              <a:gd name="connsiteX6" fmla="*/ 701986 w 4527226"/>
              <a:gd name="connsiteY6" fmla="*/ 5071548 h 6046908"/>
              <a:gd name="connsiteX7" fmla="*/ 717226 w 4527226"/>
              <a:gd name="connsiteY7" fmla="*/ 5063928 h 6046908"/>
              <a:gd name="connsiteX8" fmla="*/ 709606 w 4527226"/>
              <a:gd name="connsiteY8" fmla="*/ 5025828 h 6046908"/>
              <a:gd name="connsiteX9" fmla="*/ 701986 w 4527226"/>
              <a:gd name="connsiteY9" fmla="*/ 5002968 h 6046908"/>
              <a:gd name="connsiteX10" fmla="*/ 968686 w 4527226"/>
              <a:gd name="connsiteY10" fmla="*/ 4682928 h 6046908"/>
              <a:gd name="connsiteX11" fmla="*/ 961066 w 4527226"/>
              <a:gd name="connsiteY11" fmla="*/ 4644828 h 6046908"/>
              <a:gd name="connsiteX12" fmla="*/ 1342066 w 4527226"/>
              <a:gd name="connsiteY12" fmla="*/ 4172388 h 6046908"/>
              <a:gd name="connsiteX13" fmla="*/ 1258246 w 4527226"/>
              <a:gd name="connsiteY13" fmla="*/ 4012368 h 6046908"/>
              <a:gd name="connsiteX14" fmla="*/ 1204906 w 4527226"/>
              <a:gd name="connsiteY14" fmla="*/ 3928548 h 6046908"/>
              <a:gd name="connsiteX15" fmla="*/ 1174426 w 4527226"/>
              <a:gd name="connsiteY15" fmla="*/ 3768528 h 6046908"/>
              <a:gd name="connsiteX16" fmla="*/ 1151566 w 4527226"/>
              <a:gd name="connsiteY16" fmla="*/ 3699948 h 6046908"/>
              <a:gd name="connsiteX17" fmla="*/ 1143946 w 4527226"/>
              <a:gd name="connsiteY17" fmla="*/ 3669468 h 6046908"/>
              <a:gd name="connsiteX18" fmla="*/ 1067746 w 4527226"/>
              <a:gd name="connsiteY18" fmla="*/ 3661848 h 6046908"/>
              <a:gd name="connsiteX19" fmla="*/ 938206 w 4527226"/>
              <a:gd name="connsiteY19" fmla="*/ 3669468 h 6046908"/>
              <a:gd name="connsiteX20" fmla="*/ 831526 w 4527226"/>
              <a:gd name="connsiteY20" fmla="*/ 3692328 h 6046908"/>
              <a:gd name="connsiteX21" fmla="*/ 610546 w 4527226"/>
              <a:gd name="connsiteY21" fmla="*/ 3738048 h 6046908"/>
              <a:gd name="connsiteX22" fmla="*/ 389566 w 4527226"/>
              <a:gd name="connsiteY22" fmla="*/ 3638988 h 6046908"/>
              <a:gd name="connsiteX23" fmla="*/ 381946 w 4527226"/>
              <a:gd name="connsiteY23" fmla="*/ 3326568 h 6046908"/>
              <a:gd name="connsiteX24" fmla="*/ 420046 w 4527226"/>
              <a:gd name="connsiteY24" fmla="*/ 3227508 h 6046908"/>
              <a:gd name="connsiteX25" fmla="*/ 389566 w 4527226"/>
              <a:gd name="connsiteY25" fmla="*/ 3166548 h 6046908"/>
              <a:gd name="connsiteX26" fmla="*/ 351466 w 4527226"/>
              <a:gd name="connsiteY26" fmla="*/ 3105588 h 6046908"/>
              <a:gd name="connsiteX27" fmla="*/ 397186 w 4527226"/>
              <a:gd name="connsiteY27" fmla="*/ 3021768 h 6046908"/>
              <a:gd name="connsiteX28" fmla="*/ 488626 w 4527226"/>
              <a:gd name="connsiteY28" fmla="*/ 2998908 h 6046908"/>
              <a:gd name="connsiteX29" fmla="*/ 471956 w 4527226"/>
              <a:gd name="connsiteY29" fmla="*/ 2942709 h 6046908"/>
              <a:gd name="connsiteX30" fmla="*/ 435286 w 4527226"/>
              <a:gd name="connsiteY30" fmla="*/ 2930328 h 6046908"/>
              <a:gd name="connsiteX31" fmla="*/ 389566 w 4527226"/>
              <a:gd name="connsiteY31" fmla="*/ 2930328 h 6046908"/>
              <a:gd name="connsiteX32" fmla="*/ 314000 w 4527226"/>
              <a:gd name="connsiteY32" fmla="*/ 2893495 h 6046908"/>
              <a:gd name="connsiteX33" fmla="*/ 320986 w 4527226"/>
              <a:gd name="connsiteY33" fmla="*/ 2846508 h 6046908"/>
              <a:gd name="connsiteX34" fmla="*/ 328606 w 4527226"/>
              <a:gd name="connsiteY34" fmla="*/ 2793168 h 6046908"/>
              <a:gd name="connsiteX35" fmla="*/ 313366 w 4527226"/>
              <a:gd name="connsiteY35" fmla="*/ 2732208 h 6046908"/>
              <a:gd name="connsiteX36" fmla="*/ 267646 w 4527226"/>
              <a:gd name="connsiteY36" fmla="*/ 2671248 h 6046908"/>
              <a:gd name="connsiteX37" fmla="*/ 176206 w 4527226"/>
              <a:gd name="connsiteY37" fmla="*/ 2656008 h 6046908"/>
              <a:gd name="connsiteX38" fmla="*/ 54286 w 4527226"/>
              <a:gd name="connsiteY38" fmla="*/ 2610288 h 6046908"/>
              <a:gd name="connsiteX39" fmla="*/ 7931 w 4527226"/>
              <a:gd name="connsiteY39" fmla="*/ 2563298 h 6046908"/>
              <a:gd name="connsiteX40" fmla="*/ 8566 w 4527226"/>
              <a:gd name="connsiteY40" fmla="*/ 2488368 h 6046908"/>
              <a:gd name="connsiteX41" fmla="*/ 92386 w 4527226"/>
              <a:gd name="connsiteY41" fmla="*/ 2335968 h 6046908"/>
              <a:gd name="connsiteX42" fmla="*/ 221926 w 4527226"/>
              <a:gd name="connsiteY42" fmla="*/ 2175948 h 6046908"/>
              <a:gd name="connsiteX43" fmla="*/ 282886 w 4527226"/>
              <a:gd name="connsiteY43" fmla="*/ 2084508 h 6046908"/>
              <a:gd name="connsiteX44" fmla="*/ 328606 w 4527226"/>
              <a:gd name="connsiteY44" fmla="*/ 1977828 h 6046908"/>
              <a:gd name="connsiteX45" fmla="*/ 359086 w 4527226"/>
              <a:gd name="connsiteY45" fmla="*/ 1871148 h 6046908"/>
              <a:gd name="connsiteX46" fmla="*/ 374326 w 4527226"/>
              <a:gd name="connsiteY46" fmla="*/ 1810188 h 6046908"/>
              <a:gd name="connsiteX47" fmla="*/ 343846 w 4527226"/>
              <a:gd name="connsiteY47" fmla="*/ 1756848 h 6046908"/>
              <a:gd name="connsiteX48" fmla="*/ 328606 w 4527226"/>
              <a:gd name="connsiteY48" fmla="*/ 1680648 h 6046908"/>
              <a:gd name="connsiteX49" fmla="*/ 412426 w 4527226"/>
              <a:gd name="connsiteY49" fmla="*/ 1474908 h 6046908"/>
              <a:gd name="connsiteX50" fmla="*/ 442906 w 4527226"/>
              <a:gd name="connsiteY50" fmla="*/ 1307268 h 6046908"/>
              <a:gd name="connsiteX51" fmla="*/ 465766 w 4527226"/>
              <a:gd name="connsiteY51" fmla="*/ 1192968 h 6046908"/>
              <a:gd name="connsiteX52" fmla="*/ 503866 w 4527226"/>
              <a:gd name="connsiteY52" fmla="*/ 1055808 h 6046908"/>
              <a:gd name="connsiteX53" fmla="*/ 557206 w 4527226"/>
              <a:gd name="connsiteY53" fmla="*/ 888168 h 6046908"/>
              <a:gd name="connsiteX54" fmla="*/ 503866 w 4527226"/>
              <a:gd name="connsiteY54" fmla="*/ 888168 h 6046908"/>
              <a:gd name="connsiteX55" fmla="*/ 412426 w 4527226"/>
              <a:gd name="connsiteY55" fmla="*/ 834828 h 6046908"/>
              <a:gd name="connsiteX56" fmla="*/ 328606 w 4527226"/>
              <a:gd name="connsiteY56" fmla="*/ 789108 h 6046908"/>
              <a:gd name="connsiteX57" fmla="*/ 260026 w 4527226"/>
              <a:gd name="connsiteY57" fmla="*/ 773868 h 6046908"/>
              <a:gd name="connsiteX58" fmla="*/ 214306 w 4527226"/>
              <a:gd name="connsiteY58" fmla="*/ 751008 h 6046908"/>
              <a:gd name="connsiteX59" fmla="*/ 260026 w 4527226"/>
              <a:gd name="connsiteY59" fmla="*/ 674808 h 6046908"/>
              <a:gd name="connsiteX60" fmla="*/ 374326 w 4527226"/>
              <a:gd name="connsiteY60" fmla="*/ 606228 h 6046908"/>
              <a:gd name="connsiteX61" fmla="*/ 557206 w 4527226"/>
              <a:gd name="connsiteY61" fmla="*/ 507168 h 6046908"/>
              <a:gd name="connsiteX62" fmla="*/ 656266 w 4527226"/>
              <a:gd name="connsiteY62" fmla="*/ 423348 h 6046908"/>
              <a:gd name="connsiteX63" fmla="*/ 892486 w 4527226"/>
              <a:gd name="connsiteY63" fmla="*/ 232848 h 6046908"/>
              <a:gd name="connsiteX64" fmla="*/ 1174426 w 4527226"/>
              <a:gd name="connsiteY64" fmla="*/ 80448 h 6046908"/>
              <a:gd name="connsiteX65" fmla="*/ 1593526 w 4527226"/>
              <a:gd name="connsiteY65" fmla="*/ 11868 h 6046908"/>
              <a:gd name="connsiteX66" fmla="*/ 1944046 w 4527226"/>
              <a:gd name="connsiteY66" fmla="*/ 4248 h 6046908"/>
              <a:gd name="connsiteX67" fmla="*/ 2172646 w 4527226"/>
              <a:gd name="connsiteY67" fmla="*/ 4248 h 6046908"/>
              <a:gd name="connsiteX68" fmla="*/ 2393626 w 4527226"/>
              <a:gd name="connsiteY68" fmla="*/ 57588 h 6046908"/>
              <a:gd name="connsiteX69" fmla="*/ 2667946 w 4527226"/>
              <a:gd name="connsiteY69" fmla="*/ 133788 h 6046908"/>
              <a:gd name="connsiteX70" fmla="*/ 2820346 w 4527226"/>
              <a:gd name="connsiteY70" fmla="*/ 202368 h 6046908"/>
              <a:gd name="connsiteX71" fmla="*/ 3102286 w 4527226"/>
              <a:gd name="connsiteY71" fmla="*/ 400488 h 6046908"/>
              <a:gd name="connsiteX72" fmla="*/ 3285166 w 4527226"/>
              <a:gd name="connsiteY72" fmla="*/ 651948 h 6046908"/>
              <a:gd name="connsiteX73" fmla="*/ 3407086 w 4527226"/>
              <a:gd name="connsiteY73" fmla="*/ 918648 h 6046908"/>
              <a:gd name="connsiteX74" fmla="*/ 3475666 w 4527226"/>
              <a:gd name="connsiteY74" fmla="*/ 1238688 h 6046908"/>
              <a:gd name="connsiteX75" fmla="*/ 3506146 w 4527226"/>
              <a:gd name="connsiteY75" fmla="*/ 1543488 h 6046908"/>
              <a:gd name="connsiteX76" fmla="*/ 3506146 w 4527226"/>
              <a:gd name="connsiteY76" fmla="*/ 1962588 h 6046908"/>
              <a:gd name="connsiteX77" fmla="*/ 3338506 w 4527226"/>
              <a:gd name="connsiteY77" fmla="*/ 2305488 h 6046908"/>
              <a:gd name="connsiteX78" fmla="*/ 3254686 w 4527226"/>
              <a:gd name="connsiteY78" fmla="*/ 2473128 h 6046908"/>
              <a:gd name="connsiteX79" fmla="*/ 3132766 w 4527226"/>
              <a:gd name="connsiteY79" fmla="*/ 2663628 h 6046908"/>
              <a:gd name="connsiteX80" fmla="*/ 3071806 w 4527226"/>
              <a:gd name="connsiteY80" fmla="*/ 2838888 h 6046908"/>
              <a:gd name="connsiteX81" fmla="*/ 3064186 w 4527226"/>
              <a:gd name="connsiteY81" fmla="*/ 2915088 h 6046908"/>
              <a:gd name="connsiteX82" fmla="*/ 3018466 w 4527226"/>
              <a:gd name="connsiteY82" fmla="*/ 3014148 h 6046908"/>
              <a:gd name="connsiteX83" fmla="*/ 2980366 w 4527226"/>
              <a:gd name="connsiteY83" fmla="*/ 3082728 h 6046908"/>
              <a:gd name="connsiteX84" fmla="*/ 2957506 w 4527226"/>
              <a:gd name="connsiteY84" fmla="*/ 3120828 h 6046908"/>
              <a:gd name="connsiteX85" fmla="*/ 2957506 w 4527226"/>
              <a:gd name="connsiteY85" fmla="*/ 3555168 h 6046908"/>
              <a:gd name="connsiteX86" fmla="*/ 3010846 w 4527226"/>
              <a:gd name="connsiteY86" fmla="*/ 3539928 h 6046908"/>
              <a:gd name="connsiteX87" fmla="*/ 3109906 w 4527226"/>
              <a:gd name="connsiteY87" fmla="*/ 3570408 h 6046908"/>
              <a:gd name="connsiteX88" fmla="*/ 3140386 w 4527226"/>
              <a:gd name="connsiteY88" fmla="*/ 3631368 h 6046908"/>
              <a:gd name="connsiteX89" fmla="*/ 3117526 w 4527226"/>
              <a:gd name="connsiteY89" fmla="*/ 3738048 h 6046908"/>
              <a:gd name="connsiteX90" fmla="*/ 3125146 w 4527226"/>
              <a:gd name="connsiteY90" fmla="*/ 4103808 h 6046908"/>
              <a:gd name="connsiteX91" fmla="*/ 3163246 w 4527226"/>
              <a:gd name="connsiteY91" fmla="*/ 4157148 h 6046908"/>
              <a:gd name="connsiteX92" fmla="*/ 3201346 w 4527226"/>
              <a:gd name="connsiteY92" fmla="*/ 4164768 h 6046908"/>
              <a:gd name="connsiteX93" fmla="*/ 3231826 w 4527226"/>
              <a:gd name="connsiteY93" fmla="*/ 4172388 h 6046908"/>
              <a:gd name="connsiteX94" fmla="*/ 3285166 w 4527226"/>
              <a:gd name="connsiteY94" fmla="*/ 4294308 h 6046908"/>
              <a:gd name="connsiteX95" fmla="*/ 3300406 w 4527226"/>
              <a:gd name="connsiteY95" fmla="*/ 4347648 h 6046908"/>
              <a:gd name="connsiteX96" fmla="*/ 3330886 w 4527226"/>
              <a:gd name="connsiteY96" fmla="*/ 4408608 h 6046908"/>
              <a:gd name="connsiteX97" fmla="*/ 3551866 w 4527226"/>
              <a:gd name="connsiteY97" fmla="*/ 4644828 h 6046908"/>
              <a:gd name="connsiteX98" fmla="*/ 3887146 w 4527226"/>
              <a:gd name="connsiteY98" fmla="*/ 5025828 h 6046908"/>
              <a:gd name="connsiteX99" fmla="*/ 4100506 w 4527226"/>
              <a:gd name="connsiteY99" fmla="*/ 5300148 h 6046908"/>
              <a:gd name="connsiteX100" fmla="*/ 4367206 w 4527226"/>
              <a:gd name="connsiteY100" fmla="*/ 5726868 h 6046908"/>
              <a:gd name="connsiteX101" fmla="*/ 4527226 w 4527226"/>
              <a:gd name="connsiteY101" fmla="*/ 6046908 h 6046908"/>
              <a:gd name="connsiteX0" fmla="*/ 511486 w 4527226"/>
              <a:gd name="connsiteY0" fmla="*/ 5612568 h 6046908"/>
              <a:gd name="connsiteX1" fmla="*/ 541966 w 4527226"/>
              <a:gd name="connsiteY1" fmla="*/ 5521128 h 6046908"/>
              <a:gd name="connsiteX2" fmla="*/ 564826 w 4527226"/>
              <a:gd name="connsiteY2" fmla="*/ 5353488 h 6046908"/>
              <a:gd name="connsiteX3" fmla="*/ 602926 w 4527226"/>
              <a:gd name="connsiteY3" fmla="*/ 5223948 h 6046908"/>
              <a:gd name="connsiteX4" fmla="*/ 625786 w 4527226"/>
              <a:gd name="connsiteY4" fmla="*/ 5178228 h 6046908"/>
              <a:gd name="connsiteX5" fmla="*/ 701986 w 4527226"/>
              <a:gd name="connsiteY5" fmla="*/ 5071548 h 6046908"/>
              <a:gd name="connsiteX6" fmla="*/ 717226 w 4527226"/>
              <a:gd name="connsiteY6" fmla="*/ 5063928 h 6046908"/>
              <a:gd name="connsiteX7" fmla="*/ 709606 w 4527226"/>
              <a:gd name="connsiteY7" fmla="*/ 5025828 h 6046908"/>
              <a:gd name="connsiteX8" fmla="*/ 701986 w 4527226"/>
              <a:gd name="connsiteY8" fmla="*/ 5002968 h 6046908"/>
              <a:gd name="connsiteX9" fmla="*/ 968686 w 4527226"/>
              <a:gd name="connsiteY9" fmla="*/ 4682928 h 6046908"/>
              <a:gd name="connsiteX10" fmla="*/ 961066 w 4527226"/>
              <a:gd name="connsiteY10" fmla="*/ 4644828 h 6046908"/>
              <a:gd name="connsiteX11" fmla="*/ 1342066 w 4527226"/>
              <a:gd name="connsiteY11" fmla="*/ 4172388 h 6046908"/>
              <a:gd name="connsiteX12" fmla="*/ 1258246 w 4527226"/>
              <a:gd name="connsiteY12" fmla="*/ 4012368 h 6046908"/>
              <a:gd name="connsiteX13" fmla="*/ 1204906 w 4527226"/>
              <a:gd name="connsiteY13" fmla="*/ 3928548 h 6046908"/>
              <a:gd name="connsiteX14" fmla="*/ 1174426 w 4527226"/>
              <a:gd name="connsiteY14" fmla="*/ 3768528 h 6046908"/>
              <a:gd name="connsiteX15" fmla="*/ 1151566 w 4527226"/>
              <a:gd name="connsiteY15" fmla="*/ 3699948 h 6046908"/>
              <a:gd name="connsiteX16" fmla="*/ 1143946 w 4527226"/>
              <a:gd name="connsiteY16" fmla="*/ 3669468 h 6046908"/>
              <a:gd name="connsiteX17" fmla="*/ 1067746 w 4527226"/>
              <a:gd name="connsiteY17" fmla="*/ 3661848 h 6046908"/>
              <a:gd name="connsiteX18" fmla="*/ 938206 w 4527226"/>
              <a:gd name="connsiteY18" fmla="*/ 3669468 h 6046908"/>
              <a:gd name="connsiteX19" fmla="*/ 831526 w 4527226"/>
              <a:gd name="connsiteY19" fmla="*/ 3692328 h 6046908"/>
              <a:gd name="connsiteX20" fmla="*/ 610546 w 4527226"/>
              <a:gd name="connsiteY20" fmla="*/ 3738048 h 6046908"/>
              <a:gd name="connsiteX21" fmla="*/ 389566 w 4527226"/>
              <a:gd name="connsiteY21" fmla="*/ 3638988 h 6046908"/>
              <a:gd name="connsiteX22" fmla="*/ 381946 w 4527226"/>
              <a:gd name="connsiteY22" fmla="*/ 3326568 h 6046908"/>
              <a:gd name="connsiteX23" fmla="*/ 420046 w 4527226"/>
              <a:gd name="connsiteY23" fmla="*/ 3227508 h 6046908"/>
              <a:gd name="connsiteX24" fmla="*/ 389566 w 4527226"/>
              <a:gd name="connsiteY24" fmla="*/ 3166548 h 6046908"/>
              <a:gd name="connsiteX25" fmla="*/ 351466 w 4527226"/>
              <a:gd name="connsiteY25" fmla="*/ 3105588 h 6046908"/>
              <a:gd name="connsiteX26" fmla="*/ 397186 w 4527226"/>
              <a:gd name="connsiteY26" fmla="*/ 3021768 h 6046908"/>
              <a:gd name="connsiteX27" fmla="*/ 488626 w 4527226"/>
              <a:gd name="connsiteY27" fmla="*/ 2998908 h 6046908"/>
              <a:gd name="connsiteX28" fmla="*/ 471956 w 4527226"/>
              <a:gd name="connsiteY28" fmla="*/ 2942709 h 6046908"/>
              <a:gd name="connsiteX29" fmla="*/ 435286 w 4527226"/>
              <a:gd name="connsiteY29" fmla="*/ 2930328 h 6046908"/>
              <a:gd name="connsiteX30" fmla="*/ 389566 w 4527226"/>
              <a:gd name="connsiteY30" fmla="*/ 2930328 h 6046908"/>
              <a:gd name="connsiteX31" fmla="*/ 314000 w 4527226"/>
              <a:gd name="connsiteY31" fmla="*/ 2893495 h 6046908"/>
              <a:gd name="connsiteX32" fmla="*/ 320986 w 4527226"/>
              <a:gd name="connsiteY32" fmla="*/ 2846508 h 6046908"/>
              <a:gd name="connsiteX33" fmla="*/ 328606 w 4527226"/>
              <a:gd name="connsiteY33" fmla="*/ 2793168 h 6046908"/>
              <a:gd name="connsiteX34" fmla="*/ 313366 w 4527226"/>
              <a:gd name="connsiteY34" fmla="*/ 2732208 h 6046908"/>
              <a:gd name="connsiteX35" fmla="*/ 267646 w 4527226"/>
              <a:gd name="connsiteY35" fmla="*/ 2671248 h 6046908"/>
              <a:gd name="connsiteX36" fmla="*/ 176206 w 4527226"/>
              <a:gd name="connsiteY36" fmla="*/ 2656008 h 6046908"/>
              <a:gd name="connsiteX37" fmla="*/ 54286 w 4527226"/>
              <a:gd name="connsiteY37" fmla="*/ 2610288 h 6046908"/>
              <a:gd name="connsiteX38" fmla="*/ 7931 w 4527226"/>
              <a:gd name="connsiteY38" fmla="*/ 2563298 h 6046908"/>
              <a:gd name="connsiteX39" fmla="*/ 8566 w 4527226"/>
              <a:gd name="connsiteY39" fmla="*/ 2488368 h 6046908"/>
              <a:gd name="connsiteX40" fmla="*/ 92386 w 4527226"/>
              <a:gd name="connsiteY40" fmla="*/ 2335968 h 6046908"/>
              <a:gd name="connsiteX41" fmla="*/ 221926 w 4527226"/>
              <a:gd name="connsiteY41" fmla="*/ 2175948 h 6046908"/>
              <a:gd name="connsiteX42" fmla="*/ 282886 w 4527226"/>
              <a:gd name="connsiteY42" fmla="*/ 2084508 h 6046908"/>
              <a:gd name="connsiteX43" fmla="*/ 328606 w 4527226"/>
              <a:gd name="connsiteY43" fmla="*/ 1977828 h 6046908"/>
              <a:gd name="connsiteX44" fmla="*/ 359086 w 4527226"/>
              <a:gd name="connsiteY44" fmla="*/ 1871148 h 6046908"/>
              <a:gd name="connsiteX45" fmla="*/ 374326 w 4527226"/>
              <a:gd name="connsiteY45" fmla="*/ 1810188 h 6046908"/>
              <a:gd name="connsiteX46" fmla="*/ 343846 w 4527226"/>
              <a:gd name="connsiteY46" fmla="*/ 1756848 h 6046908"/>
              <a:gd name="connsiteX47" fmla="*/ 328606 w 4527226"/>
              <a:gd name="connsiteY47" fmla="*/ 1680648 h 6046908"/>
              <a:gd name="connsiteX48" fmla="*/ 412426 w 4527226"/>
              <a:gd name="connsiteY48" fmla="*/ 1474908 h 6046908"/>
              <a:gd name="connsiteX49" fmla="*/ 442906 w 4527226"/>
              <a:gd name="connsiteY49" fmla="*/ 1307268 h 6046908"/>
              <a:gd name="connsiteX50" fmla="*/ 465766 w 4527226"/>
              <a:gd name="connsiteY50" fmla="*/ 1192968 h 6046908"/>
              <a:gd name="connsiteX51" fmla="*/ 503866 w 4527226"/>
              <a:gd name="connsiteY51" fmla="*/ 1055808 h 6046908"/>
              <a:gd name="connsiteX52" fmla="*/ 557206 w 4527226"/>
              <a:gd name="connsiteY52" fmla="*/ 888168 h 6046908"/>
              <a:gd name="connsiteX53" fmla="*/ 503866 w 4527226"/>
              <a:gd name="connsiteY53" fmla="*/ 888168 h 6046908"/>
              <a:gd name="connsiteX54" fmla="*/ 412426 w 4527226"/>
              <a:gd name="connsiteY54" fmla="*/ 834828 h 6046908"/>
              <a:gd name="connsiteX55" fmla="*/ 328606 w 4527226"/>
              <a:gd name="connsiteY55" fmla="*/ 789108 h 6046908"/>
              <a:gd name="connsiteX56" fmla="*/ 260026 w 4527226"/>
              <a:gd name="connsiteY56" fmla="*/ 773868 h 6046908"/>
              <a:gd name="connsiteX57" fmla="*/ 214306 w 4527226"/>
              <a:gd name="connsiteY57" fmla="*/ 751008 h 6046908"/>
              <a:gd name="connsiteX58" fmla="*/ 260026 w 4527226"/>
              <a:gd name="connsiteY58" fmla="*/ 674808 h 6046908"/>
              <a:gd name="connsiteX59" fmla="*/ 374326 w 4527226"/>
              <a:gd name="connsiteY59" fmla="*/ 606228 h 6046908"/>
              <a:gd name="connsiteX60" fmla="*/ 557206 w 4527226"/>
              <a:gd name="connsiteY60" fmla="*/ 507168 h 6046908"/>
              <a:gd name="connsiteX61" fmla="*/ 656266 w 4527226"/>
              <a:gd name="connsiteY61" fmla="*/ 423348 h 6046908"/>
              <a:gd name="connsiteX62" fmla="*/ 892486 w 4527226"/>
              <a:gd name="connsiteY62" fmla="*/ 232848 h 6046908"/>
              <a:gd name="connsiteX63" fmla="*/ 1174426 w 4527226"/>
              <a:gd name="connsiteY63" fmla="*/ 80448 h 6046908"/>
              <a:gd name="connsiteX64" fmla="*/ 1593526 w 4527226"/>
              <a:gd name="connsiteY64" fmla="*/ 11868 h 6046908"/>
              <a:gd name="connsiteX65" fmla="*/ 1944046 w 4527226"/>
              <a:gd name="connsiteY65" fmla="*/ 4248 h 6046908"/>
              <a:gd name="connsiteX66" fmla="*/ 2172646 w 4527226"/>
              <a:gd name="connsiteY66" fmla="*/ 4248 h 6046908"/>
              <a:gd name="connsiteX67" fmla="*/ 2393626 w 4527226"/>
              <a:gd name="connsiteY67" fmla="*/ 57588 h 6046908"/>
              <a:gd name="connsiteX68" fmla="*/ 2667946 w 4527226"/>
              <a:gd name="connsiteY68" fmla="*/ 133788 h 6046908"/>
              <a:gd name="connsiteX69" fmla="*/ 2820346 w 4527226"/>
              <a:gd name="connsiteY69" fmla="*/ 202368 h 6046908"/>
              <a:gd name="connsiteX70" fmla="*/ 3102286 w 4527226"/>
              <a:gd name="connsiteY70" fmla="*/ 400488 h 6046908"/>
              <a:gd name="connsiteX71" fmla="*/ 3285166 w 4527226"/>
              <a:gd name="connsiteY71" fmla="*/ 651948 h 6046908"/>
              <a:gd name="connsiteX72" fmla="*/ 3407086 w 4527226"/>
              <a:gd name="connsiteY72" fmla="*/ 918648 h 6046908"/>
              <a:gd name="connsiteX73" fmla="*/ 3475666 w 4527226"/>
              <a:gd name="connsiteY73" fmla="*/ 1238688 h 6046908"/>
              <a:gd name="connsiteX74" fmla="*/ 3506146 w 4527226"/>
              <a:gd name="connsiteY74" fmla="*/ 1543488 h 6046908"/>
              <a:gd name="connsiteX75" fmla="*/ 3506146 w 4527226"/>
              <a:gd name="connsiteY75" fmla="*/ 1962588 h 6046908"/>
              <a:gd name="connsiteX76" fmla="*/ 3338506 w 4527226"/>
              <a:gd name="connsiteY76" fmla="*/ 2305488 h 6046908"/>
              <a:gd name="connsiteX77" fmla="*/ 3254686 w 4527226"/>
              <a:gd name="connsiteY77" fmla="*/ 2473128 h 6046908"/>
              <a:gd name="connsiteX78" fmla="*/ 3132766 w 4527226"/>
              <a:gd name="connsiteY78" fmla="*/ 2663628 h 6046908"/>
              <a:gd name="connsiteX79" fmla="*/ 3071806 w 4527226"/>
              <a:gd name="connsiteY79" fmla="*/ 2838888 h 6046908"/>
              <a:gd name="connsiteX80" fmla="*/ 3064186 w 4527226"/>
              <a:gd name="connsiteY80" fmla="*/ 2915088 h 6046908"/>
              <a:gd name="connsiteX81" fmla="*/ 3018466 w 4527226"/>
              <a:gd name="connsiteY81" fmla="*/ 3014148 h 6046908"/>
              <a:gd name="connsiteX82" fmla="*/ 2980366 w 4527226"/>
              <a:gd name="connsiteY82" fmla="*/ 3082728 h 6046908"/>
              <a:gd name="connsiteX83" fmla="*/ 2957506 w 4527226"/>
              <a:gd name="connsiteY83" fmla="*/ 3120828 h 6046908"/>
              <a:gd name="connsiteX84" fmla="*/ 2957506 w 4527226"/>
              <a:gd name="connsiteY84" fmla="*/ 3555168 h 6046908"/>
              <a:gd name="connsiteX85" fmla="*/ 3010846 w 4527226"/>
              <a:gd name="connsiteY85" fmla="*/ 3539928 h 6046908"/>
              <a:gd name="connsiteX86" fmla="*/ 3109906 w 4527226"/>
              <a:gd name="connsiteY86" fmla="*/ 3570408 h 6046908"/>
              <a:gd name="connsiteX87" fmla="*/ 3140386 w 4527226"/>
              <a:gd name="connsiteY87" fmla="*/ 3631368 h 6046908"/>
              <a:gd name="connsiteX88" fmla="*/ 3117526 w 4527226"/>
              <a:gd name="connsiteY88" fmla="*/ 3738048 h 6046908"/>
              <a:gd name="connsiteX89" fmla="*/ 3125146 w 4527226"/>
              <a:gd name="connsiteY89" fmla="*/ 4103808 h 6046908"/>
              <a:gd name="connsiteX90" fmla="*/ 3163246 w 4527226"/>
              <a:gd name="connsiteY90" fmla="*/ 4157148 h 6046908"/>
              <a:gd name="connsiteX91" fmla="*/ 3201346 w 4527226"/>
              <a:gd name="connsiteY91" fmla="*/ 4164768 h 6046908"/>
              <a:gd name="connsiteX92" fmla="*/ 3231826 w 4527226"/>
              <a:gd name="connsiteY92" fmla="*/ 4172388 h 6046908"/>
              <a:gd name="connsiteX93" fmla="*/ 3285166 w 4527226"/>
              <a:gd name="connsiteY93" fmla="*/ 4294308 h 6046908"/>
              <a:gd name="connsiteX94" fmla="*/ 3300406 w 4527226"/>
              <a:gd name="connsiteY94" fmla="*/ 4347648 h 6046908"/>
              <a:gd name="connsiteX95" fmla="*/ 3330886 w 4527226"/>
              <a:gd name="connsiteY95" fmla="*/ 4408608 h 6046908"/>
              <a:gd name="connsiteX96" fmla="*/ 3551866 w 4527226"/>
              <a:gd name="connsiteY96" fmla="*/ 4644828 h 6046908"/>
              <a:gd name="connsiteX97" fmla="*/ 3887146 w 4527226"/>
              <a:gd name="connsiteY97" fmla="*/ 5025828 h 6046908"/>
              <a:gd name="connsiteX98" fmla="*/ 4100506 w 4527226"/>
              <a:gd name="connsiteY98" fmla="*/ 5300148 h 6046908"/>
              <a:gd name="connsiteX99" fmla="*/ 4367206 w 4527226"/>
              <a:gd name="connsiteY99" fmla="*/ 5726868 h 6046908"/>
              <a:gd name="connsiteX100" fmla="*/ 4527226 w 4527226"/>
              <a:gd name="connsiteY100" fmla="*/ 6046908 h 6046908"/>
              <a:gd name="connsiteX0" fmla="*/ 541966 w 4527226"/>
              <a:gd name="connsiteY0" fmla="*/ 5521128 h 6046908"/>
              <a:gd name="connsiteX1" fmla="*/ 564826 w 4527226"/>
              <a:gd name="connsiteY1" fmla="*/ 5353488 h 6046908"/>
              <a:gd name="connsiteX2" fmla="*/ 602926 w 4527226"/>
              <a:gd name="connsiteY2" fmla="*/ 5223948 h 6046908"/>
              <a:gd name="connsiteX3" fmla="*/ 625786 w 4527226"/>
              <a:gd name="connsiteY3" fmla="*/ 5178228 h 6046908"/>
              <a:gd name="connsiteX4" fmla="*/ 701986 w 4527226"/>
              <a:gd name="connsiteY4" fmla="*/ 5071548 h 6046908"/>
              <a:gd name="connsiteX5" fmla="*/ 717226 w 4527226"/>
              <a:gd name="connsiteY5" fmla="*/ 5063928 h 6046908"/>
              <a:gd name="connsiteX6" fmla="*/ 709606 w 4527226"/>
              <a:gd name="connsiteY6" fmla="*/ 5025828 h 6046908"/>
              <a:gd name="connsiteX7" fmla="*/ 701986 w 4527226"/>
              <a:gd name="connsiteY7" fmla="*/ 5002968 h 6046908"/>
              <a:gd name="connsiteX8" fmla="*/ 968686 w 4527226"/>
              <a:gd name="connsiteY8" fmla="*/ 4682928 h 6046908"/>
              <a:gd name="connsiteX9" fmla="*/ 961066 w 4527226"/>
              <a:gd name="connsiteY9" fmla="*/ 4644828 h 6046908"/>
              <a:gd name="connsiteX10" fmla="*/ 1342066 w 4527226"/>
              <a:gd name="connsiteY10" fmla="*/ 4172388 h 6046908"/>
              <a:gd name="connsiteX11" fmla="*/ 1258246 w 4527226"/>
              <a:gd name="connsiteY11" fmla="*/ 4012368 h 6046908"/>
              <a:gd name="connsiteX12" fmla="*/ 1204906 w 4527226"/>
              <a:gd name="connsiteY12" fmla="*/ 3928548 h 6046908"/>
              <a:gd name="connsiteX13" fmla="*/ 1174426 w 4527226"/>
              <a:gd name="connsiteY13" fmla="*/ 3768528 h 6046908"/>
              <a:gd name="connsiteX14" fmla="*/ 1151566 w 4527226"/>
              <a:gd name="connsiteY14" fmla="*/ 3699948 h 6046908"/>
              <a:gd name="connsiteX15" fmla="*/ 1143946 w 4527226"/>
              <a:gd name="connsiteY15" fmla="*/ 3669468 h 6046908"/>
              <a:gd name="connsiteX16" fmla="*/ 1067746 w 4527226"/>
              <a:gd name="connsiteY16" fmla="*/ 3661848 h 6046908"/>
              <a:gd name="connsiteX17" fmla="*/ 938206 w 4527226"/>
              <a:gd name="connsiteY17" fmla="*/ 3669468 h 6046908"/>
              <a:gd name="connsiteX18" fmla="*/ 831526 w 4527226"/>
              <a:gd name="connsiteY18" fmla="*/ 3692328 h 6046908"/>
              <a:gd name="connsiteX19" fmla="*/ 610546 w 4527226"/>
              <a:gd name="connsiteY19" fmla="*/ 3738048 h 6046908"/>
              <a:gd name="connsiteX20" fmla="*/ 389566 w 4527226"/>
              <a:gd name="connsiteY20" fmla="*/ 3638988 h 6046908"/>
              <a:gd name="connsiteX21" fmla="*/ 381946 w 4527226"/>
              <a:gd name="connsiteY21" fmla="*/ 3326568 h 6046908"/>
              <a:gd name="connsiteX22" fmla="*/ 420046 w 4527226"/>
              <a:gd name="connsiteY22" fmla="*/ 3227508 h 6046908"/>
              <a:gd name="connsiteX23" fmla="*/ 389566 w 4527226"/>
              <a:gd name="connsiteY23" fmla="*/ 3166548 h 6046908"/>
              <a:gd name="connsiteX24" fmla="*/ 351466 w 4527226"/>
              <a:gd name="connsiteY24" fmla="*/ 3105588 h 6046908"/>
              <a:gd name="connsiteX25" fmla="*/ 397186 w 4527226"/>
              <a:gd name="connsiteY25" fmla="*/ 3021768 h 6046908"/>
              <a:gd name="connsiteX26" fmla="*/ 488626 w 4527226"/>
              <a:gd name="connsiteY26" fmla="*/ 2998908 h 6046908"/>
              <a:gd name="connsiteX27" fmla="*/ 471956 w 4527226"/>
              <a:gd name="connsiteY27" fmla="*/ 2942709 h 6046908"/>
              <a:gd name="connsiteX28" fmla="*/ 435286 w 4527226"/>
              <a:gd name="connsiteY28" fmla="*/ 2930328 h 6046908"/>
              <a:gd name="connsiteX29" fmla="*/ 389566 w 4527226"/>
              <a:gd name="connsiteY29" fmla="*/ 2930328 h 6046908"/>
              <a:gd name="connsiteX30" fmla="*/ 314000 w 4527226"/>
              <a:gd name="connsiteY30" fmla="*/ 2893495 h 6046908"/>
              <a:gd name="connsiteX31" fmla="*/ 320986 w 4527226"/>
              <a:gd name="connsiteY31" fmla="*/ 2846508 h 6046908"/>
              <a:gd name="connsiteX32" fmla="*/ 328606 w 4527226"/>
              <a:gd name="connsiteY32" fmla="*/ 2793168 h 6046908"/>
              <a:gd name="connsiteX33" fmla="*/ 313366 w 4527226"/>
              <a:gd name="connsiteY33" fmla="*/ 2732208 h 6046908"/>
              <a:gd name="connsiteX34" fmla="*/ 267646 w 4527226"/>
              <a:gd name="connsiteY34" fmla="*/ 2671248 h 6046908"/>
              <a:gd name="connsiteX35" fmla="*/ 176206 w 4527226"/>
              <a:gd name="connsiteY35" fmla="*/ 2656008 h 6046908"/>
              <a:gd name="connsiteX36" fmla="*/ 54286 w 4527226"/>
              <a:gd name="connsiteY36" fmla="*/ 2610288 h 6046908"/>
              <a:gd name="connsiteX37" fmla="*/ 7931 w 4527226"/>
              <a:gd name="connsiteY37" fmla="*/ 2563298 h 6046908"/>
              <a:gd name="connsiteX38" fmla="*/ 8566 w 4527226"/>
              <a:gd name="connsiteY38" fmla="*/ 2488368 h 6046908"/>
              <a:gd name="connsiteX39" fmla="*/ 92386 w 4527226"/>
              <a:gd name="connsiteY39" fmla="*/ 2335968 h 6046908"/>
              <a:gd name="connsiteX40" fmla="*/ 221926 w 4527226"/>
              <a:gd name="connsiteY40" fmla="*/ 2175948 h 6046908"/>
              <a:gd name="connsiteX41" fmla="*/ 282886 w 4527226"/>
              <a:gd name="connsiteY41" fmla="*/ 2084508 h 6046908"/>
              <a:gd name="connsiteX42" fmla="*/ 328606 w 4527226"/>
              <a:gd name="connsiteY42" fmla="*/ 1977828 h 6046908"/>
              <a:gd name="connsiteX43" fmla="*/ 359086 w 4527226"/>
              <a:gd name="connsiteY43" fmla="*/ 1871148 h 6046908"/>
              <a:gd name="connsiteX44" fmla="*/ 374326 w 4527226"/>
              <a:gd name="connsiteY44" fmla="*/ 1810188 h 6046908"/>
              <a:gd name="connsiteX45" fmla="*/ 343846 w 4527226"/>
              <a:gd name="connsiteY45" fmla="*/ 1756848 h 6046908"/>
              <a:gd name="connsiteX46" fmla="*/ 328606 w 4527226"/>
              <a:gd name="connsiteY46" fmla="*/ 1680648 h 6046908"/>
              <a:gd name="connsiteX47" fmla="*/ 412426 w 4527226"/>
              <a:gd name="connsiteY47" fmla="*/ 1474908 h 6046908"/>
              <a:gd name="connsiteX48" fmla="*/ 442906 w 4527226"/>
              <a:gd name="connsiteY48" fmla="*/ 1307268 h 6046908"/>
              <a:gd name="connsiteX49" fmla="*/ 465766 w 4527226"/>
              <a:gd name="connsiteY49" fmla="*/ 1192968 h 6046908"/>
              <a:gd name="connsiteX50" fmla="*/ 503866 w 4527226"/>
              <a:gd name="connsiteY50" fmla="*/ 1055808 h 6046908"/>
              <a:gd name="connsiteX51" fmla="*/ 557206 w 4527226"/>
              <a:gd name="connsiteY51" fmla="*/ 888168 h 6046908"/>
              <a:gd name="connsiteX52" fmla="*/ 503866 w 4527226"/>
              <a:gd name="connsiteY52" fmla="*/ 888168 h 6046908"/>
              <a:gd name="connsiteX53" fmla="*/ 412426 w 4527226"/>
              <a:gd name="connsiteY53" fmla="*/ 834828 h 6046908"/>
              <a:gd name="connsiteX54" fmla="*/ 328606 w 4527226"/>
              <a:gd name="connsiteY54" fmla="*/ 789108 h 6046908"/>
              <a:gd name="connsiteX55" fmla="*/ 260026 w 4527226"/>
              <a:gd name="connsiteY55" fmla="*/ 773868 h 6046908"/>
              <a:gd name="connsiteX56" fmla="*/ 214306 w 4527226"/>
              <a:gd name="connsiteY56" fmla="*/ 751008 h 6046908"/>
              <a:gd name="connsiteX57" fmla="*/ 260026 w 4527226"/>
              <a:gd name="connsiteY57" fmla="*/ 674808 h 6046908"/>
              <a:gd name="connsiteX58" fmla="*/ 374326 w 4527226"/>
              <a:gd name="connsiteY58" fmla="*/ 606228 h 6046908"/>
              <a:gd name="connsiteX59" fmla="*/ 557206 w 4527226"/>
              <a:gd name="connsiteY59" fmla="*/ 507168 h 6046908"/>
              <a:gd name="connsiteX60" fmla="*/ 656266 w 4527226"/>
              <a:gd name="connsiteY60" fmla="*/ 423348 h 6046908"/>
              <a:gd name="connsiteX61" fmla="*/ 892486 w 4527226"/>
              <a:gd name="connsiteY61" fmla="*/ 232848 h 6046908"/>
              <a:gd name="connsiteX62" fmla="*/ 1174426 w 4527226"/>
              <a:gd name="connsiteY62" fmla="*/ 80448 h 6046908"/>
              <a:gd name="connsiteX63" fmla="*/ 1593526 w 4527226"/>
              <a:gd name="connsiteY63" fmla="*/ 11868 h 6046908"/>
              <a:gd name="connsiteX64" fmla="*/ 1944046 w 4527226"/>
              <a:gd name="connsiteY64" fmla="*/ 4248 h 6046908"/>
              <a:gd name="connsiteX65" fmla="*/ 2172646 w 4527226"/>
              <a:gd name="connsiteY65" fmla="*/ 4248 h 6046908"/>
              <a:gd name="connsiteX66" fmla="*/ 2393626 w 4527226"/>
              <a:gd name="connsiteY66" fmla="*/ 57588 h 6046908"/>
              <a:gd name="connsiteX67" fmla="*/ 2667946 w 4527226"/>
              <a:gd name="connsiteY67" fmla="*/ 133788 h 6046908"/>
              <a:gd name="connsiteX68" fmla="*/ 2820346 w 4527226"/>
              <a:gd name="connsiteY68" fmla="*/ 202368 h 6046908"/>
              <a:gd name="connsiteX69" fmla="*/ 3102286 w 4527226"/>
              <a:gd name="connsiteY69" fmla="*/ 400488 h 6046908"/>
              <a:gd name="connsiteX70" fmla="*/ 3285166 w 4527226"/>
              <a:gd name="connsiteY70" fmla="*/ 651948 h 6046908"/>
              <a:gd name="connsiteX71" fmla="*/ 3407086 w 4527226"/>
              <a:gd name="connsiteY71" fmla="*/ 918648 h 6046908"/>
              <a:gd name="connsiteX72" fmla="*/ 3475666 w 4527226"/>
              <a:gd name="connsiteY72" fmla="*/ 1238688 h 6046908"/>
              <a:gd name="connsiteX73" fmla="*/ 3506146 w 4527226"/>
              <a:gd name="connsiteY73" fmla="*/ 1543488 h 6046908"/>
              <a:gd name="connsiteX74" fmla="*/ 3506146 w 4527226"/>
              <a:gd name="connsiteY74" fmla="*/ 1962588 h 6046908"/>
              <a:gd name="connsiteX75" fmla="*/ 3338506 w 4527226"/>
              <a:gd name="connsiteY75" fmla="*/ 2305488 h 6046908"/>
              <a:gd name="connsiteX76" fmla="*/ 3254686 w 4527226"/>
              <a:gd name="connsiteY76" fmla="*/ 2473128 h 6046908"/>
              <a:gd name="connsiteX77" fmla="*/ 3132766 w 4527226"/>
              <a:gd name="connsiteY77" fmla="*/ 2663628 h 6046908"/>
              <a:gd name="connsiteX78" fmla="*/ 3071806 w 4527226"/>
              <a:gd name="connsiteY78" fmla="*/ 2838888 h 6046908"/>
              <a:gd name="connsiteX79" fmla="*/ 3064186 w 4527226"/>
              <a:gd name="connsiteY79" fmla="*/ 2915088 h 6046908"/>
              <a:gd name="connsiteX80" fmla="*/ 3018466 w 4527226"/>
              <a:gd name="connsiteY80" fmla="*/ 3014148 h 6046908"/>
              <a:gd name="connsiteX81" fmla="*/ 2980366 w 4527226"/>
              <a:gd name="connsiteY81" fmla="*/ 3082728 h 6046908"/>
              <a:gd name="connsiteX82" fmla="*/ 2957506 w 4527226"/>
              <a:gd name="connsiteY82" fmla="*/ 3120828 h 6046908"/>
              <a:gd name="connsiteX83" fmla="*/ 2957506 w 4527226"/>
              <a:gd name="connsiteY83" fmla="*/ 3555168 h 6046908"/>
              <a:gd name="connsiteX84" fmla="*/ 3010846 w 4527226"/>
              <a:gd name="connsiteY84" fmla="*/ 3539928 h 6046908"/>
              <a:gd name="connsiteX85" fmla="*/ 3109906 w 4527226"/>
              <a:gd name="connsiteY85" fmla="*/ 3570408 h 6046908"/>
              <a:gd name="connsiteX86" fmla="*/ 3140386 w 4527226"/>
              <a:gd name="connsiteY86" fmla="*/ 3631368 h 6046908"/>
              <a:gd name="connsiteX87" fmla="*/ 3117526 w 4527226"/>
              <a:gd name="connsiteY87" fmla="*/ 3738048 h 6046908"/>
              <a:gd name="connsiteX88" fmla="*/ 3125146 w 4527226"/>
              <a:gd name="connsiteY88" fmla="*/ 4103808 h 6046908"/>
              <a:gd name="connsiteX89" fmla="*/ 3163246 w 4527226"/>
              <a:gd name="connsiteY89" fmla="*/ 4157148 h 6046908"/>
              <a:gd name="connsiteX90" fmla="*/ 3201346 w 4527226"/>
              <a:gd name="connsiteY90" fmla="*/ 4164768 h 6046908"/>
              <a:gd name="connsiteX91" fmla="*/ 3231826 w 4527226"/>
              <a:gd name="connsiteY91" fmla="*/ 4172388 h 6046908"/>
              <a:gd name="connsiteX92" fmla="*/ 3285166 w 4527226"/>
              <a:gd name="connsiteY92" fmla="*/ 4294308 h 6046908"/>
              <a:gd name="connsiteX93" fmla="*/ 3300406 w 4527226"/>
              <a:gd name="connsiteY93" fmla="*/ 4347648 h 6046908"/>
              <a:gd name="connsiteX94" fmla="*/ 3330886 w 4527226"/>
              <a:gd name="connsiteY94" fmla="*/ 4408608 h 6046908"/>
              <a:gd name="connsiteX95" fmla="*/ 3551866 w 4527226"/>
              <a:gd name="connsiteY95" fmla="*/ 4644828 h 6046908"/>
              <a:gd name="connsiteX96" fmla="*/ 3887146 w 4527226"/>
              <a:gd name="connsiteY96" fmla="*/ 5025828 h 6046908"/>
              <a:gd name="connsiteX97" fmla="*/ 4100506 w 4527226"/>
              <a:gd name="connsiteY97" fmla="*/ 5300148 h 6046908"/>
              <a:gd name="connsiteX98" fmla="*/ 4367206 w 4527226"/>
              <a:gd name="connsiteY98" fmla="*/ 5726868 h 6046908"/>
              <a:gd name="connsiteX99" fmla="*/ 4527226 w 4527226"/>
              <a:gd name="connsiteY99" fmla="*/ 6046908 h 6046908"/>
              <a:gd name="connsiteX0" fmla="*/ 564826 w 4527226"/>
              <a:gd name="connsiteY0" fmla="*/ 5353488 h 6046908"/>
              <a:gd name="connsiteX1" fmla="*/ 602926 w 4527226"/>
              <a:gd name="connsiteY1" fmla="*/ 5223948 h 6046908"/>
              <a:gd name="connsiteX2" fmla="*/ 625786 w 4527226"/>
              <a:gd name="connsiteY2" fmla="*/ 5178228 h 6046908"/>
              <a:gd name="connsiteX3" fmla="*/ 701986 w 4527226"/>
              <a:gd name="connsiteY3" fmla="*/ 5071548 h 6046908"/>
              <a:gd name="connsiteX4" fmla="*/ 717226 w 4527226"/>
              <a:gd name="connsiteY4" fmla="*/ 5063928 h 6046908"/>
              <a:gd name="connsiteX5" fmla="*/ 709606 w 4527226"/>
              <a:gd name="connsiteY5" fmla="*/ 5025828 h 6046908"/>
              <a:gd name="connsiteX6" fmla="*/ 701986 w 4527226"/>
              <a:gd name="connsiteY6" fmla="*/ 5002968 h 6046908"/>
              <a:gd name="connsiteX7" fmla="*/ 968686 w 4527226"/>
              <a:gd name="connsiteY7" fmla="*/ 4682928 h 6046908"/>
              <a:gd name="connsiteX8" fmla="*/ 961066 w 4527226"/>
              <a:gd name="connsiteY8" fmla="*/ 4644828 h 6046908"/>
              <a:gd name="connsiteX9" fmla="*/ 1342066 w 4527226"/>
              <a:gd name="connsiteY9" fmla="*/ 4172388 h 6046908"/>
              <a:gd name="connsiteX10" fmla="*/ 1258246 w 4527226"/>
              <a:gd name="connsiteY10" fmla="*/ 4012368 h 6046908"/>
              <a:gd name="connsiteX11" fmla="*/ 1204906 w 4527226"/>
              <a:gd name="connsiteY11" fmla="*/ 3928548 h 6046908"/>
              <a:gd name="connsiteX12" fmla="*/ 1174426 w 4527226"/>
              <a:gd name="connsiteY12" fmla="*/ 3768528 h 6046908"/>
              <a:gd name="connsiteX13" fmla="*/ 1151566 w 4527226"/>
              <a:gd name="connsiteY13" fmla="*/ 3699948 h 6046908"/>
              <a:gd name="connsiteX14" fmla="*/ 1143946 w 4527226"/>
              <a:gd name="connsiteY14" fmla="*/ 3669468 h 6046908"/>
              <a:gd name="connsiteX15" fmla="*/ 1067746 w 4527226"/>
              <a:gd name="connsiteY15" fmla="*/ 3661848 h 6046908"/>
              <a:gd name="connsiteX16" fmla="*/ 938206 w 4527226"/>
              <a:gd name="connsiteY16" fmla="*/ 3669468 h 6046908"/>
              <a:gd name="connsiteX17" fmla="*/ 831526 w 4527226"/>
              <a:gd name="connsiteY17" fmla="*/ 3692328 h 6046908"/>
              <a:gd name="connsiteX18" fmla="*/ 610546 w 4527226"/>
              <a:gd name="connsiteY18" fmla="*/ 3738048 h 6046908"/>
              <a:gd name="connsiteX19" fmla="*/ 389566 w 4527226"/>
              <a:gd name="connsiteY19" fmla="*/ 3638988 h 6046908"/>
              <a:gd name="connsiteX20" fmla="*/ 381946 w 4527226"/>
              <a:gd name="connsiteY20" fmla="*/ 3326568 h 6046908"/>
              <a:gd name="connsiteX21" fmla="*/ 420046 w 4527226"/>
              <a:gd name="connsiteY21" fmla="*/ 3227508 h 6046908"/>
              <a:gd name="connsiteX22" fmla="*/ 389566 w 4527226"/>
              <a:gd name="connsiteY22" fmla="*/ 3166548 h 6046908"/>
              <a:gd name="connsiteX23" fmla="*/ 351466 w 4527226"/>
              <a:gd name="connsiteY23" fmla="*/ 3105588 h 6046908"/>
              <a:gd name="connsiteX24" fmla="*/ 397186 w 4527226"/>
              <a:gd name="connsiteY24" fmla="*/ 3021768 h 6046908"/>
              <a:gd name="connsiteX25" fmla="*/ 488626 w 4527226"/>
              <a:gd name="connsiteY25" fmla="*/ 2998908 h 6046908"/>
              <a:gd name="connsiteX26" fmla="*/ 471956 w 4527226"/>
              <a:gd name="connsiteY26" fmla="*/ 2942709 h 6046908"/>
              <a:gd name="connsiteX27" fmla="*/ 435286 w 4527226"/>
              <a:gd name="connsiteY27" fmla="*/ 2930328 h 6046908"/>
              <a:gd name="connsiteX28" fmla="*/ 389566 w 4527226"/>
              <a:gd name="connsiteY28" fmla="*/ 2930328 h 6046908"/>
              <a:gd name="connsiteX29" fmla="*/ 314000 w 4527226"/>
              <a:gd name="connsiteY29" fmla="*/ 2893495 h 6046908"/>
              <a:gd name="connsiteX30" fmla="*/ 320986 w 4527226"/>
              <a:gd name="connsiteY30" fmla="*/ 2846508 h 6046908"/>
              <a:gd name="connsiteX31" fmla="*/ 328606 w 4527226"/>
              <a:gd name="connsiteY31" fmla="*/ 2793168 h 6046908"/>
              <a:gd name="connsiteX32" fmla="*/ 313366 w 4527226"/>
              <a:gd name="connsiteY32" fmla="*/ 2732208 h 6046908"/>
              <a:gd name="connsiteX33" fmla="*/ 267646 w 4527226"/>
              <a:gd name="connsiteY33" fmla="*/ 2671248 h 6046908"/>
              <a:gd name="connsiteX34" fmla="*/ 176206 w 4527226"/>
              <a:gd name="connsiteY34" fmla="*/ 2656008 h 6046908"/>
              <a:gd name="connsiteX35" fmla="*/ 54286 w 4527226"/>
              <a:gd name="connsiteY35" fmla="*/ 2610288 h 6046908"/>
              <a:gd name="connsiteX36" fmla="*/ 7931 w 4527226"/>
              <a:gd name="connsiteY36" fmla="*/ 2563298 h 6046908"/>
              <a:gd name="connsiteX37" fmla="*/ 8566 w 4527226"/>
              <a:gd name="connsiteY37" fmla="*/ 2488368 h 6046908"/>
              <a:gd name="connsiteX38" fmla="*/ 92386 w 4527226"/>
              <a:gd name="connsiteY38" fmla="*/ 2335968 h 6046908"/>
              <a:gd name="connsiteX39" fmla="*/ 221926 w 4527226"/>
              <a:gd name="connsiteY39" fmla="*/ 2175948 h 6046908"/>
              <a:gd name="connsiteX40" fmla="*/ 282886 w 4527226"/>
              <a:gd name="connsiteY40" fmla="*/ 2084508 h 6046908"/>
              <a:gd name="connsiteX41" fmla="*/ 328606 w 4527226"/>
              <a:gd name="connsiteY41" fmla="*/ 1977828 h 6046908"/>
              <a:gd name="connsiteX42" fmla="*/ 359086 w 4527226"/>
              <a:gd name="connsiteY42" fmla="*/ 1871148 h 6046908"/>
              <a:gd name="connsiteX43" fmla="*/ 374326 w 4527226"/>
              <a:gd name="connsiteY43" fmla="*/ 1810188 h 6046908"/>
              <a:gd name="connsiteX44" fmla="*/ 343846 w 4527226"/>
              <a:gd name="connsiteY44" fmla="*/ 1756848 h 6046908"/>
              <a:gd name="connsiteX45" fmla="*/ 328606 w 4527226"/>
              <a:gd name="connsiteY45" fmla="*/ 1680648 h 6046908"/>
              <a:gd name="connsiteX46" fmla="*/ 412426 w 4527226"/>
              <a:gd name="connsiteY46" fmla="*/ 1474908 h 6046908"/>
              <a:gd name="connsiteX47" fmla="*/ 442906 w 4527226"/>
              <a:gd name="connsiteY47" fmla="*/ 1307268 h 6046908"/>
              <a:gd name="connsiteX48" fmla="*/ 465766 w 4527226"/>
              <a:gd name="connsiteY48" fmla="*/ 1192968 h 6046908"/>
              <a:gd name="connsiteX49" fmla="*/ 503866 w 4527226"/>
              <a:gd name="connsiteY49" fmla="*/ 1055808 h 6046908"/>
              <a:gd name="connsiteX50" fmla="*/ 557206 w 4527226"/>
              <a:gd name="connsiteY50" fmla="*/ 888168 h 6046908"/>
              <a:gd name="connsiteX51" fmla="*/ 503866 w 4527226"/>
              <a:gd name="connsiteY51" fmla="*/ 888168 h 6046908"/>
              <a:gd name="connsiteX52" fmla="*/ 412426 w 4527226"/>
              <a:gd name="connsiteY52" fmla="*/ 834828 h 6046908"/>
              <a:gd name="connsiteX53" fmla="*/ 328606 w 4527226"/>
              <a:gd name="connsiteY53" fmla="*/ 789108 h 6046908"/>
              <a:gd name="connsiteX54" fmla="*/ 260026 w 4527226"/>
              <a:gd name="connsiteY54" fmla="*/ 773868 h 6046908"/>
              <a:gd name="connsiteX55" fmla="*/ 214306 w 4527226"/>
              <a:gd name="connsiteY55" fmla="*/ 751008 h 6046908"/>
              <a:gd name="connsiteX56" fmla="*/ 260026 w 4527226"/>
              <a:gd name="connsiteY56" fmla="*/ 674808 h 6046908"/>
              <a:gd name="connsiteX57" fmla="*/ 374326 w 4527226"/>
              <a:gd name="connsiteY57" fmla="*/ 606228 h 6046908"/>
              <a:gd name="connsiteX58" fmla="*/ 557206 w 4527226"/>
              <a:gd name="connsiteY58" fmla="*/ 507168 h 6046908"/>
              <a:gd name="connsiteX59" fmla="*/ 656266 w 4527226"/>
              <a:gd name="connsiteY59" fmla="*/ 423348 h 6046908"/>
              <a:gd name="connsiteX60" fmla="*/ 892486 w 4527226"/>
              <a:gd name="connsiteY60" fmla="*/ 232848 h 6046908"/>
              <a:gd name="connsiteX61" fmla="*/ 1174426 w 4527226"/>
              <a:gd name="connsiteY61" fmla="*/ 80448 h 6046908"/>
              <a:gd name="connsiteX62" fmla="*/ 1593526 w 4527226"/>
              <a:gd name="connsiteY62" fmla="*/ 11868 h 6046908"/>
              <a:gd name="connsiteX63" fmla="*/ 1944046 w 4527226"/>
              <a:gd name="connsiteY63" fmla="*/ 4248 h 6046908"/>
              <a:gd name="connsiteX64" fmla="*/ 2172646 w 4527226"/>
              <a:gd name="connsiteY64" fmla="*/ 4248 h 6046908"/>
              <a:gd name="connsiteX65" fmla="*/ 2393626 w 4527226"/>
              <a:gd name="connsiteY65" fmla="*/ 57588 h 6046908"/>
              <a:gd name="connsiteX66" fmla="*/ 2667946 w 4527226"/>
              <a:gd name="connsiteY66" fmla="*/ 133788 h 6046908"/>
              <a:gd name="connsiteX67" fmla="*/ 2820346 w 4527226"/>
              <a:gd name="connsiteY67" fmla="*/ 202368 h 6046908"/>
              <a:gd name="connsiteX68" fmla="*/ 3102286 w 4527226"/>
              <a:gd name="connsiteY68" fmla="*/ 400488 h 6046908"/>
              <a:gd name="connsiteX69" fmla="*/ 3285166 w 4527226"/>
              <a:gd name="connsiteY69" fmla="*/ 651948 h 6046908"/>
              <a:gd name="connsiteX70" fmla="*/ 3407086 w 4527226"/>
              <a:gd name="connsiteY70" fmla="*/ 918648 h 6046908"/>
              <a:gd name="connsiteX71" fmla="*/ 3475666 w 4527226"/>
              <a:gd name="connsiteY71" fmla="*/ 1238688 h 6046908"/>
              <a:gd name="connsiteX72" fmla="*/ 3506146 w 4527226"/>
              <a:gd name="connsiteY72" fmla="*/ 1543488 h 6046908"/>
              <a:gd name="connsiteX73" fmla="*/ 3506146 w 4527226"/>
              <a:gd name="connsiteY73" fmla="*/ 1962588 h 6046908"/>
              <a:gd name="connsiteX74" fmla="*/ 3338506 w 4527226"/>
              <a:gd name="connsiteY74" fmla="*/ 2305488 h 6046908"/>
              <a:gd name="connsiteX75" fmla="*/ 3254686 w 4527226"/>
              <a:gd name="connsiteY75" fmla="*/ 2473128 h 6046908"/>
              <a:gd name="connsiteX76" fmla="*/ 3132766 w 4527226"/>
              <a:gd name="connsiteY76" fmla="*/ 2663628 h 6046908"/>
              <a:gd name="connsiteX77" fmla="*/ 3071806 w 4527226"/>
              <a:gd name="connsiteY77" fmla="*/ 2838888 h 6046908"/>
              <a:gd name="connsiteX78" fmla="*/ 3064186 w 4527226"/>
              <a:gd name="connsiteY78" fmla="*/ 2915088 h 6046908"/>
              <a:gd name="connsiteX79" fmla="*/ 3018466 w 4527226"/>
              <a:gd name="connsiteY79" fmla="*/ 3014148 h 6046908"/>
              <a:gd name="connsiteX80" fmla="*/ 2980366 w 4527226"/>
              <a:gd name="connsiteY80" fmla="*/ 3082728 h 6046908"/>
              <a:gd name="connsiteX81" fmla="*/ 2957506 w 4527226"/>
              <a:gd name="connsiteY81" fmla="*/ 3120828 h 6046908"/>
              <a:gd name="connsiteX82" fmla="*/ 2957506 w 4527226"/>
              <a:gd name="connsiteY82" fmla="*/ 3555168 h 6046908"/>
              <a:gd name="connsiteX83" fmla="*/ 3010846 w 4527226"/>
              <a:gd name="connsiteY83" fmla="*/ 3539928 h 6046908"/>
              <a:gd name="connsiteX84" fmla="*/ 3109906 w 4527226"/>
              <a:gd name="connsiteY84" fmla="*/ 3570408 h 6046908"/>
              <a:gd name="connsiteX85" fmla="*/ 3140386 w 4527226"/>
              <a:gd name="connsiteY85" fmla="*/ 3631368 h 6046908"/>
              <a:gd name="connsiteX86" fmla="*/ 3117526 w 4527226"/>
              <a:gd name="connsiteY86" fmla="*/ 3738048 h 6046908"/>
              <a:gd name="connsiteX87" fmla="*/ 3125146 w 4527226"/>
              <a:gd name="connsiteY87" fmla="*/ 4103808 h 6046908"/>
              <a:gd name="connsiteX88" fmla="*/ 3163246 w 4527226"/>
              <a:gd name="connsiteY88" fmla="*/ 4157148 h 6046908"/>
              <a:gd name="connsiteX89" fmla="*/ 3201346 w 4527226"/>
              <a:gd name="connsiteY89" fmla="*/ 4164768 h 6046908"/>
              <a:gd name="connsiteX90" fmla="*/ 3231826 w 4527226"/>
              <a:gd name="connsiteY90" fmla="*/ 4172388 h 6046908"/>
              <a:gd name="connsiteX91" fmla="*/ 3285166 w 4527226"/>
              <a:gd name="connsiteY91" fmla="*/ 4294308 h 6046908"/>
              <a:gd name="connsiteX92" fmla="*/ 3300406 w 4527226"/>
              <a:gd name="connsiteY92" fmla="*/ 4347648 h 6046908"/>
              <a:gd name="connsiteX93" fmla="*/ 3330886 w 4527226"/>
              <a:gd name="connsiteY93" fmla="*/ 4408608 h 6046908"/>
              <a:gd name="connsiteX94" fmla="*/ 3551866 w 4527226"/>
              <a:gd name="connsiteY94" fmla="*/ 4644828 h 6046908"/>
              <a:gd name="connsiteX95" fmla="*/ 3887146 w 4527226"/>
              <a:gd name="connsiteY95" fmla="*/ 5025828 h 6046908"/>
              <a:gd name="connsiteX96" fmla="*/ 4100506 w 4527226"/>
              <a:gd name="connsiteY96" fmla="*/ 5300148 h 6046908"/>
              <a:gd name="connsiteX97" fmla="*/ 4367206 w 4527226"/>
              <a:gd name="connsiteY97" fmla="*/ 5726868 h 6046908"/>
              <a:gd name="connsiteX98" fmla="*/ 4527226 w 4527226"/>
              <a:gd name="connsiteY98" fmla="*/ 6046908 h 6046908"/>
              <a:gd name="connsiteX0" fmla="*/ 602926 w 4527226"/>
              <a:gd name="connsiteY0" fmla="*/ 5223948 h 6046908"/>
              <a:gd name="connsiteX1" fmla="*/ 625786 w 4527226"/>
              <a:gd name="connsiteY1" fmla="*/ 5178228 h 6046908"/>
              <a:gd name="connsiteX2" fmla="*/ 701986 w 4527226"/>
              <a:gd name="connsiteY2" fmla="*/ 5071548 h 6046908"/>
              <a:gd name="connsiteX3" fmla="*/ 717226 w 4527226"/>
              <a:gd name="connsiteY3" fmla="*/ 5063928 h 6046908"/>
              <a:gd name="connsiteX4" fmla="*/ 709606 w 4527226"/>
              <a:gd name="connsiteY4" fmla="*/ 5025828 h 6046908"/>
              <a:gd name="connsiteX5" fmla="*/ 701986 w 4527226"/>
              <a:gd name="connsiteY5" fmla="*/ 5002968 h 6046908"/>
              <a:gd name="connsiteX6" fmla="*/ 968686 w 4527226"/>
              <a:gd name="connsiteY6" fmla="*/ 4682928 h 6046908"/>
              <a:gd name="connsiteX7" fmla="*/ 961066 w 4527226"/>
              <a:gd name="connsiteY7" fmla="*/ 4644828 h 6046908"/>
              <a:gd name="connsiteX8" fmla="*/ 1342066 w 4527226"/>
              <a:gd name="connsiteY8" fmla="*/ 4172388 h 6046908"/>
              <a:gd name="connsiteX9" fmla="*/ 1258246 w 4527226"/>
              <a:gd name="connsiteY9" fmla="*/ 4012368 h 6046908"/>
              <a:gd name="connsiteX10" fmla="*/ 1204906 w 4527226"/>
              <a:gd name="connsiteY10" fmla="*/ 3928548 h 6046908"/>
              <a:gd name="connsiteX11" fmla="*/ 1174426 w 4527226"/>
              <a:gd name="connsiteY11" fmla="*/ 3768528 h 6046908"/>
              <a:gd name="connsiteX12" fmla="*/ 1151566 w 4527226"/>
              <a:gd name="connsiteY12" fmla="*/ 3699948 h 6046908"/>
              <a:gd name="connsiteX13" fmla="*/ 1143946 w 4527226"/>
              <a:gd name="connsiteY13" fmla="*/ 3669468 h 6046908"/>
              <a:gd name="connsiteX14" fmla="*/ 1067746 w 4527226"/>
              <a:gd name="connsiteY14" fmla="*/ 3661848 h 6046908"/>
              <a:gd name="connsiteX15" fmla="*/ 938206 w 4527226"/>
              <a:gd name="connsiteY15" fmla="*/ 3669468 h 6046908"/>
              <a:gd name="connsiteX16" fmla="*/ 831526 w 4527226"/>
              <a:gd name="connsiteY16" fmla="*/ 3692328 h 6046908"/>
              <a:gd name="connsiteX17" fmla="*/ 610546 w 4527226"/>
              <a:gd name="connsiteY17" fmla="*/ 3738048 h 6046908"/>
              <a:gd name="connsiteX18" fmla="*/ 389566 w 4527226"/>
              <a:gd name="connsiteY18" fmla="*/ 3638988 h 6046908"/>
              <a:gd name="connsiteX19" fmla="*/ 381946 w 4527226"/>
              <a:gd name="connsiteY19" fmla="*/ 3326568 h 6046908"/>
              <a:gd name="connsiteX20" fmla="*/ 420046 w 4527226"/>
              <a:gd name="connsiteY20" fmla="*/ 3227508 h 6046908"/>
              <a:gd name="connsiteX21" fmla="*/ 389566 w 4527226"/>
              <a:gd name="connsiteY21" fmla="*/ 3166548 h 6046908"/>
              <a:gd name="connsiteX22" fmla="*/ 351466 w 4527226"/>
              <a:gd name="connsiteY22" fmla="*/ 3105588 h 6046908"/>
              <a:gd name="connsiteX23" fmla="*/ 397186 w 4527226"/>
              <a:gd name="connsiteY23" fmla="*/ 3021768 h 6046908"/>
              <a:gd name="connsiteX24" fmla="*/ 488626 w 4527226"/>
              <a:gd name="connsiteY24" fmla="*/ 2998908 h 6046908"/>
              <a:gd name="connsiteX25" fmla="*/ 471956 w 4527226"/>
              <a:gd name="connsiteY25" fmla="*/ 2942709 h 6046908"/>
              <a:gd name="connsiteX26" fmla="*/ 435286 w 4527226"/>
              <a:gd name="connsiteY26" fmla="*/ 2930328 h 6046908"/>
              <a:gd name="connsiteX27" fmla="*/ 389566 w 4527226"/>
              <a:gd name="connsiteY27" fmla="*/ 2930328 h 6046908"/>
              <a:gd name="connsiteX28" fmla="*/ 314000 w 4527226"/>
              <a:gd name="connsiteY28" fmla="*/ 2893495 h 6046908"/>
              <a:gd name="connsiteX29" fmla="*/ 320986 w 4527226"/>
              <a:gd name="connsiteY29" fmla="*/ 2846508 h 6046908"/>
              <a:gd name="connsiteX30" fmla="*/ 328606 w 4527226"/>
              <a:gd name="connsiteY30" fmla="*/ 2793168 h 6046908"/>
              <a:gd name="connsiteX31" fmla="*/ 313366 w 4527226"/>
              <a:gd name="connsiteY31" fmla="*/ 2732208 h 6046908"/>
              <a:gd name="connsiteX32" fmla="*/ 267646 w 4527226"/>
              <a:gd name="connsiteY32" fmla="*/ 2671248 h 6046908"/>
              <a:gd name="connsiteX33" fmla="*/ 176206 w 4527226"/>
              <a:gd name="connsiteY33" fmla="*/ 2656008 h 6046908"/>
              <a:gd name="connsiteX34" fmla="*/ 54286 w 4527226"/>
              <a:gd name="connsiteY34" fmla="*/ 2610288 h 6046908"/>
              <a:gd name="connsiteX35" fmla="*/ 7931 w 4527226"/>
              <a:gd name="connsiteY35" fmla="*/ 2563298 h 6046908"/>
              <a:gd name="connsiteX36" fmla="*/ 8566 w 4527226"/>
              <a:gd name="connsiteY36" fmla="*/ 2488368 h 6046908"/>
              <a:gd name="connsiteX37" fmla="*/ 92386 w 4527226"/>
              <a:gd name="connsiteY37" fmla="*/ 2335968 h 6046908"/>
              <a:gd name="connsiteX38" fmla="*/ 221926 w 4527226"/>
              <a:gd name="connsiteY38" fmla="*/ 2175948 h 6046908"/>
              <a:gd name="connsiteX39" fmla="*/ 282886 w 4527226"/>
              <a:gd name="connsiteY39" fmla="*/ 2084508 h 6046908"/>
              <a:gd name="connsiteX40" fmla="*/ 328606 w 4527226"/>
              <a:gd name="connsiteY40" fmla="*/ 1977828 h 6046908"/>
              <a:gd name="connsiteX41" fmla="*/ 359086 w 4527226"/>
              <a:gd name="connsiteY41" fmla="*/ 1871148 h 6046908"/>
              <a:gd name="connsiteX42" fmla="*/ 374326 w 4527226"/>
              <a:gd name="connsiteY42" fmla="*/ 1810188 h 6046908"/>
              <a:gd name="connsiteX43" fmla="*/ 343846 w 4527226"/>
              <a:gd name="connsiteY43" fmla="*/ 1756848 h 6046908"/>
              <a:gd name="connsiteX44" fmla="*/ 328606 w 4527226"/>
              <a:gd name="connsiteY44" fmla="*/ 1680648 h 6046908"/>
              <a:gd name="connsiteX45" fmla="*/ 412426 w 4527226"/>
              <a:gd name="connsiteY45" fmla="*/ 1474908 h 6046908"/>
              <a:gd name="connsiteX46" fmla="*/ 442906 w 4527226"/>
              <a:gd name="connsiteY46" fmla="*/ 1307268 h 6046908"/>
              <a:gd name="connsiteX47" fmla="*/ 465766 w 4527226"/>
              <a:gd name="connsiteY47" fmla="*/ 1192968 h 6046908"/>
              <a:gd name="connsiteX48" fmla="*/ 503866 w 4527226"/>
              <a:gd name="connsiteY48" fmla="*/ 1055808 h 6046908"/>
              <a:gd name="connsiteX49" fmla="*/ 557206 w 4527226"/>
              <a:gd name="connsiteY49" fmla="*/ 888168 h 6046908"/>
              <a:gd name="connsiteX50" fmla="*/ 503866 w 4527226"/>
              <a:gd name="connsiteY50" fmla="*/ 888168 h 6046908"/>
              <a:gd name="connsiteX51" fmla="*/ 412426 w 4527226"/>
              <a:gd name="connsiteY51" fmla="*/ 834828 h 6046908"/>
              <a:gd name="connsiteX52" fmla="*/ 328606 w 4527226"/>
              <a:gd name="connsiteY52" fmla="*/ 789108 h 6046908"/>
              <a:gd name="connsiteX53" fmla="*/ 260026 w 4527226"/>
              <a:gd name="connsiteY53" fmla="*/ 773868 h 6046908"/>
              <a:gd name="connsiteX54" fmla="*/ 214306 w 4527226"/>
              <a:gd name="connsiteY54" fmla="*/ 751008 h 6046908"/>
              <a:gd name="connsiteX55" fmla="*/ 260026 w 4527226"/>
              <a:gd name="connsiteY55" fmla="*/ 674808 h 6046908"/>
              <a:gd name="connsiteX56" fmla="*/ 374326 w 4527226"/>
              <a:gd name="connsiteY56" fmla="*/ 606228 h 6046908"/>
              <a:gd name="connsiteX57" fmla="*/ 557206 w 4527226"/>
              <a:gd name="connsiteY57" fmla="*/ 507168 h 6046908"/>
              <a:gd name="connsiteX58" fmla="*/ 656266 w 4527226"/>
              <a:gd name="connsiteY58" fmla="*/ 423348 h 6046908"/>
              <a:gd name="connsiteX59" fmla="*/ 892486 w 4527226"/>
              <a:gd name="connsiteY59" fmla="*/ 232848 h 6046908"/>
              <a:gd name="connsiteX60" fmla="*/ 1174426 w 4527226"/>
              <a:gd name="connsiteY60" fmla="*/ 80448 h 6046908"/>
              <a:gd name="connsiteX61" fmla="*/ 1593526 w 4527226"/>
              <a:gd name="connsiteY61" fmla="*/ 11868 h 6046908"/>
              <a:gd name="connsiteX62" fmla="*/ 1944046 w 4527226"/>
              <a:gd name="connsiteY62" fmla="*/ 4248 h 6046908"/>
              <a:gd name="connsiteX63" fmla="*/ 2172646 w 4527226"/>
              <a:gd name="connsiteY63" fmla="*/ 4248 h 6046908"/>
              <a:gd name="connsiteX64" fmla="*/ 2393626 w 4527226"/>
              <a:gd name="connsiteY64" fmla="*/ 57588 h 6046908"/>
              <a:gd name="connsiteX65" fmla="*/ 2667946 w 4527226"/>
              <a:gd name="connsiteY65" fmla="*/ 133788 h 6046908"/>
              <a:gd name="connsiteX66" fmla="*/ 2820346 w 4527226"/>
              <a:gd name="connsiteY66" fmla="*/ 202368 h 6046908"/>
              <a:gd name="connsiteX67" fmla="*/ 3102286 w 4527226"/>
              <a:gd name="connsiteY67" fmla="*/ 400488 h 6046908"/>
              <a:gd name="connsiteX68" fmla="*/ 3285166 w 4527226"/>
              <a:gd name="connsiteY68" fmla="*/ 651948 h 6046908"/>
              <a:gd name="connsiteX69" fmla="*/ 3407086 w 4527226"/>
              <a:gd name="connsiteY69" fmla="*/ 918648 h 6046908"/>
              <a:gd name="connsiteX70" fmla="*/ 3475666 w 4527226"/>
              <a:gd name="connsiteY70" fmla="*/ 1238688 h 6046908"/>
              <a:gd name="connsiteX71" fmla="*/ 3506146 w 4527226"/>
              <a:gd name="connsiteY71" fmla="*/ 1543488 h 6046908"/>
              <a:gd name="connsiteX72" fmla="*/ 3506146 w 4527226"/>
              <a:gd name="connsiteY72" fmla="*/ 1962588 h 6046908"/>
              <a:gd name="connsiteX73" fmla="*/ 3338506 w 4527226"/>
              <a:gd name="connsiteY73" fmla="*/ 2305488 h 6046908"/>
              <a:gd name="connsiteX74" fmla="*/ 3254686 w 4527226"/>
              <a:gd name="connsiteY74" fmla="*/ 2473128 h 6046908"/>
              <a:gd name="connsiteX75" fmla="*/ 3132766 w 4527226"/>
              <a:gd name="connsiteY75" fmla="*/ 2663628 h 6046908"/>
              <a:gd name="connsiteX76" fmla="*/ 3071806 w 4527226"/>
              <a:gd name="connsiteY76" fmla="*/ 2838888 h 6046908"/>
              <a:gd name="connsiteX77" fmla="*/ 3064186 w 4527226"/>
              <a:gd name="connsiteY77" fmla="*/ 2915088 h 6046908"/>
              <a:gd name="connsiteX78" fmla="*/ 3018466 w 4527226"/>
              <a:gd name="connsiteY78" fmla="*/ 3014148 h 6046908"/>
              <a:gd name="connsiteX79" fmla="*/ 2980366 w 4527226"/>
              <a:gd name="connsiteY79" fmla="*/ 3082728 h 6046908"/>
              <a:gd name="connsiteX80" fmla="*/ 2957506 w 4527226"/>
              <a:gd name="connsiteY80" fmla="*/ 3120828 h 6046908"/>
              <a:gd name="connsiteX81" fmla="*/ 2957506 w 4527226"/>
              <a:gd name="connsiteY81" fmla="*/ 3555168 h 6046908"/>
              <a:gd name="connsiteX82" fmla="*/ 3010846 w 4527226"/>
              <a:gd name="connsiteY82" fmla="*/ 3539928 h 6046908"/>
              <a:gd name="connsiteX83" fmla="*/ 3109906 w 4527226"/>
              <a:gd name="connsiteY83" fmla="*/ 3570408 h 6046908"/>
              <a:gd name="connsiteX84" fmla="*/ 3140386 w 4527226"/>
              <a:gd name="connsiteY84" fmla="*/ 3631368 h 6046908"/>
              <a:gd name="connsiteX85" fmla="*/ 3117526 w 4527226"/>
              <a:gd name="connsiteY85" fmla="*/ 3738048 h 6046908"/>
              <a:gd name="connsiteX86" fmla="*/ 3125146 w 4527226"/>
              <a:gd name="connsiteY86" fmla="*/ 4103808 h 6046908"/>
              <a:gd name="connsiteX87" fmla="*/ 3163246 w 4527226"/>
              <a:gd name="connsiteY87" fmla="*/ 4157148 h 6046908"/>
              <a:gd name="connsiteX88" fmla="*/ 3201346 w 4527226"/>
              <a:gd name="connsiteY88" fmla="*/ 4164768 h 6046908"/>
              <a:gd name="connsiteX89" fmla="*/ 3231826 w 4527226"/>
              <a:gd name="connsiteY89" fmla="*/ 4172388 h 6046908"/>
              <a:gd name="connsiteX90" fmla="*/ 3285166 w 4527226"/>
              <a:gd name="connsiteY90" fmla="*/ 4294308 h 6046908"/>
              <a:gd name="connsiteX91" fmla="*/ 3300406 w 4527226"/>
              <a:gd name="connsiteY91" fmla="*/ 4347648 h 6046908"/>
              <a:gd name="connsiteX92" fmla="*/ 3330886 w 4527226"/>
              <a:gd name="connsiteY92" fmla="*/ 4408608 h 6046908"/>
              <a:gd name="connsiteX93" fmla="*/ 3551866 w 4527226"/>
              <a:gd name="connsiteY93" fmla="*/ 4644828 h 6046908"/>
              <a:gd name="connsiteX94" fmla="*/ 3887146 w 4527226"/>
              <a:gd name="connsiteY94" fmla="*/ 5025828 h 6046908"/>
              <a:gd name="connsiteX95" fmla="*/ 4100506 w 4527226"/>
              <a:gd name="connsiteY95" fmla="*/ 5300148 h 6046908"/>
              <a:gd name="connsiteX96" fmla="*/ 4367206 w 4527226"/>
              <a:gd name="connsiteY96" fmla="*/ 5726868 h 6046908"/>
              <a:gd name="connsiteX97" fmla="*/ 4527226 w 4527226"/>
              <a:gd name="connsiteY97" fmla="*/ 6046908 h 6046908"/>
              <a:gd name="connsiteX0" fmla="*/ 625786 w 4527226"/>
              <a:gd name="connsiteY0" fmla="*/ 5178228 h 6046908"/>
              <a:gd name="connsiteX1" fmla="*/ 701986 w 4527226"/>
              <a:gd name="connsiteY1" fmla="*/ 5071548 h 6046908"/>
              <a:gd name="connsiteX2" fmla="*/ 717226 w 4527226"/>
              <a:gd name="connsiteY2" fmla="*/ 5063928 h 6046908"/>
              <a:gd name="connsiteX3" fmla="*/ 709606 w 4527226"/>
              <a:gd name="connsiteY3" fmla="*/ 5025828 h 6046908"/>
              <a:gd name="connsiteX4" fmla="*/ 701986 w 4527226"/>
              <a:gd name="connsiteY4" fmla="*/ 5002968 h 6046908"/>
              <a:gd name="connsiteX5" fmla="*/ 968686 w 4527226"/>
              <a:gd name="connsiteY5" fmla="*/ 4682928 h 6046908"/>
              <a:gd name="connsiteX6" fmla="*/ 961066 w 4527226"/>
              <a:gd name="connsiteY6" fmla="*/ 4644828 h 6046908"/>
              <a:gd name="connsiteX7" fmla="*/ 1342066 w 4527226"/>
              <a:gd name="connsiteY7" fmla="*/ 4172388 h 6046908"/>
              <a:gd name="connsiteX8" fmla="*/ 1258246 w 4527226"/>
              <a:gd name="connsiteY8" fmla="*/ 4012368 h 6046908"/>
              <a:gd name="connsiteX9" fmla="*/ 1204906 w 4527226"/>
              <a:gd name="connsiteY9" fmla="*/ 3928548 h 6046908"/>
              <a:gd name="connsiteX10" fmla="*/ 1174426 w 4527226"/>
              <a:gd name="connsiteY10" fmla="*/ 3768528 h 6046908"/>
              <a:gd name="connsiteX11" fmla="*/ 1151566 w 4527226"/>
              <a:gd name="connsiteY11" fmla="*/ 3699948 h 6046908"/>
              <a:gd name="connsiteX12" fmla="*/ 1143946 w 4527226"/>
              <a:gd name="connsiteY12" fmla="*/ 3669468 h 6046908"/>
              <a:gd name="connsiteX13" fmla="*/ 1067746 w 4527226"/>
              <a:gd name="connsiteY13" fmla="*/ 3661848 h 6046908"/>
              <a:gd name="connsiteX14" fmla="*/ 938206 w 4527226"/>
              <a:gd name="connsiteY14" fmla="*/ 3669468 h 6046908"/>
              <a:gd name="connsiteX15" fmla="*/ 831526 w 4527226"/>
              <a:gd name="connsiteY15" fmla="*/ 3692328 h 6046908"/>
              <a:gd name="connsiteX16" fmla="*/ 610546 w 4527226"/>
              <a:gd name="connsiteY16" fmla="*/ 3738048 h 6046908"/>
              <a:gd name="connsiteX17" fmla="*/ 389566 w 4527226"/>
              <a:gd name="connsiteY17" fmla="*/ 3638988 h 6046908"/>
              <a:gd name="connsiteX18" fmla="*/ 381946 w 4527226"/>
              <a:gd name="connsiteY18" fmla="*/ 3326568 h 6046908"/>
              <a:gd name="connsiteX19" fmla="*/ 420046 w 4527226"/>
              <a:gd name="connsiteY19" fmla="*/ 3227508 h 6046908"/>
              <a:gd name="connsiteX20" fmla="*/ 389566 w 4527226"/>
              <a:gd name="connsiteY20" fmla="*/ 3166548 h 6046908"/>
              <a:gd name="connsiteX21" fmla="*/ 351466 w 4527226"/>
              <a:gd name="connsiteY21" fmla="*/ 3105588 h 6046908"/>
              <a:gd name="connsiteX22" fmla="*/ 397186 w 4527226"/>
              <a:gd name="connsiteY22" fmla="*/ 3021768 h 6046908"/>
              <a:gd name="connsiteX23" fmla="*/ 488626 w 4527226"/>
              <a:gd name="connsiteY23" fmla="*/ 2998908 h 6046908"/>
              <a:gd name="connsiteX24" fmla="*/ 471956 w 4527226"/>
              <a:gd name="connsiteY24" fmla="*/ 2942709 h 6046908"/>
              <a:gd name="connsiteX25" fmla="*/ 435286 w 4527226"/>
              <a:gd name="connsiteY25" fmla="*/ 2930328 h 6046908"/>
              <a:gd name="connsiteX26" fmla="*/ 389566 w 4527226"/>
              <a:gd name="connsiteY26" fmla="*/ 2930328 h 6046908"/>
              <a:gd name="connsiteX27" fmla="*/ 314000 w 4527226"/>
              <a:gd name="connsiteY27" fmla="*/ 2893495 h 6046908"/>
              <a:gd name="connsiteX28" fmla="*/ 320986 w 4527226"/>
              <a:gd name="connsiteY28" fmla="*/ 2846508 h 6046908"/>
              <a:gd name="connsiteX29" fmla="*/ 328606 w 4527226"/>
              <a:gd name="connsiteY29" fmla="*/ 2793168 h 6046908"/>
              <a:gd name="connsiteX30" fmla="*/ 313366 w 4527226"/>
              <a:gd name="connsiteY30" fmla="*/ 2732208 h 6046908"/>
              <a:gd name="connsiteX31" fmla="*/ 267646 w 4527226"/>
              <a:gd name="connsiteY31" fmla="*/ 2671248 h 6046908"/>
              <a:gd name="connsiteX32" fmla="*/ 176206 w 4527226"/>
              <a:gd name="connsiteY32" fmla="*/ 2656008 h 6046908"/>
              <a:gd name="connsiteX33" fmla="*/ 54286 w 4527226"/>
              <a:gd name="connsiteY33" fmla="*/ 2610288 h 6046908"/>
              <a:gd name="connsiteX34" fmla="*/ 7931 w 4527226"/>
              <a:gd name="connsiteY34" fmla="*/ 2563298 h 6046908"/>
              <a:gd name="connsiteX35" fmla="*/ 8566 w 4527226"/>
              <a:gd name="connsiteY35" fmla="*/ 2488368 h 6046908"/>
              <a:gd name="connsiteX36" fmla="*/ 92386 w 4527226"/>
              <a:gd name="connsiteY36" fmla="*/ 2335968 h 6046908"/>
              <a:gd name="connsiteX37" fmla="*/ 221926 w 4527226"/>
              <a:gd name="connsiteY37" fmla="*/ 2175948 h 6046908"/>
              <a:gd name="connsiteX38" fmla="*/ 282886 w 4527226"/>
              <a:gd name="connsiteY38" fmla="*/ 2084508 h 6046908"/>
              <a:gd name="connsiteX39" fmla="*/ 328606 w 4527226"/>
              <a:gd name="connsiteY39" fmla="*/ 1977828 h 6046908"/>
              <a:gd name="connsiteX40" fmla="*/ 359086 w 4527226"/>
              <a:gd name="connsiteY40" fmla="*/ 1871148 h 6046908"/>
              <a:gd name="connsiteX41" fmla="*/ 374326 w 4527226"/>
              <a:gd name="connsiteY41" fmla="*/ 1810188 h 6046908"/>
              <a:gd name="connsiteX42" fmla="*/ 343846 w 4527226"/>
              <a:gd name="connsiteY42" fmla="*/ 1756848 h 6046908"/>
              <a:gd name="connsiteX43" fmla="*/ 328606 w 4527226"/>
              <a:gd name="connsiteY43" fmla="*/ 1680648 h 6046908"/>
              <a:gd name="connsiteX44" fmla="*/ 412426 w 4527226"/>
              <a:gd name="connsiteY44" fmla="*/ 1474908 h 6046908"/>
              <a:gd name="connsiteX45" fmla="*/ 442906 w 4527226"/>
              <a:gd name="connsiteY45" fmla="*/ 1307268 h 6046908"/>
              <a:gd name="connsiteX46" fmla="*/ 465766 w 4527226"/>
              <a:gd name="connsiteY46" fmla="*/ 1192968 h 6046908"/>
              <a:gd name="connsiteX47" fmla="*/ 503866 w 4527226"/>
              <a:gd name="connsiteY47" fmla="*/ 1055808 h 6046908"/>
              <a:gd name="connsiteX48" fmla="*/ 557206 w 4527226"/>
              <a:gd name="connsiteY48" fmla="*/ 888168 h 6046908"/>
              <a:gd name="connsiteX49" fmla="*/ 503866 w 4527226"/>
              <a:gd name="connsiteY49" fmla="*/ 888168 h 6046908"/>
              <a:gd name="connsiteX50" fmla="*/ 412426 w 4527226"/>
              <a:gd name="connsiteY50" fmla="*/ 834828 h 6046908"/>
              <a:gd name="connsiteX51" fmla="*/ 328606 w 4527226"/>
              <a:gd name="connsiteY51" fmla="*/ 789108 h 6046908"/>
              <a:gd name="connsiteX52" fmla="*/ 260026 w 4527226"/>
              <a:gd name="connsiteY52" fmla="*/ 773868 h 6046908"/>
              <a:gd name="connsiteX53" fmla="*/ 214306 w 4527226"/>
              <a:gd name="connsiteY53" fmla="*/ 751008 h 6046908"/>
              <a:gd name="connsiteX54" fmla="*/ 260026 w 4527226"/>
              <a:gd name="connsiteY54" fmla="*/ 674808 h 6046908"/>
              <a:gd name="connsiteX55" fmla="*/ 374326 w 4527226"/>
              <a:gd name="connsiteY55" fmla="*/ 606228 h 6046908"/>
              <a:gd name="connsiteX56" fmla="*/ 557206 w 4527226"/>
              <a:gd name="connsiteY56" fmla="*/ 507168 h 6046908"/>
              <a:gd name="connsiteX57" fmla="*/ 656266 w 4527226"/>
              <a:gd name="connsiteY57" fmla="*/ 423348 h 6046908"/>
              <a:gd name="connsiteX58" fmla="*/ 892486 w 4527226"/>
              <a:gd name="connsiteY58" fmla="*/ 232848 h 6046908"/>
              <a:gd name="connsiteX59" fmla="*/ 1174426 w 4527226"/>
              <a:gd name="connsiteY59" fmla="*/ 80448 h 6046908"/>
              <a:gd name="connsiteX60" fmla="*/ 1593526 w 4527226"/>
              <a:gd name="connsiteY60" fmla="*/ 11868 h 6046908"/>
              <a:gd name="connsiteX61" fmla="*/ 1944046 w 4527226"/>
              <a:gd name="connsiteY61" fmla="*/ 4248 h 6046908"/>
              <a:gd name="connsiteX62" fmla="*/ 2172646 w 4527226"/>
              <a:gd name="connsiteY62" fmla="*/ 4248 h 6046908"/>
              <a:gd name="connsiteX63" fmla="*/ 2393626 w 4527226"/>
              <a:gd name="connsiteY63" fmla="*/ 57588 h 6046908"/>
              <a:gd name="connsiteX64" fmla="*/ 2667946 w 4527226"/>
              <a:gd name="connsiteY64" fmla="*/ 133788 h 6046908"/>
              <a:gd name="connsiteX65" fmla="*/ 2820346 w 4527226"/>
              <a:gd name="connsiteY65" fmla="*/ 202368 h 6046908"/>
              <a:gd name="connsiteX66" fmla="*/ 3102286 w 4527226"/>
              <a:gd name="connsiteY66" fmla="*/ 400488 h 6046908"/>
              <a:gd name="connsiteX67" fmla="*/ 3285166 w 4527226"/>
              <a:gd name="connsiteY67" fmla="*/ 651948 h 6046908"/>
              <a:gd name="connsiteX68" fmla="*/ 3407086 w 4527226"/>
              <a:gd name="connsiteY68" fmla="*/ 918648 h 6046908"/>
              <a:gd name="connsiteX69" fmla="*/ 3475666 w 4527226"/>
              <a:gd name="connsiteY69" fmla="*/ 1238688 h 6046908"/>
              <a:gd name="connsiteX70" fmla="*/ 3506146 w 4527226"/>
              <a:gd name="connsiteY70" fmla="*/ 1543488 h 6046908"/>
              <a:gd name="connsiteX71" fmla="*/ 3506146 w 4527226"/>
              <a:gd name="connsiteY71" fmla="*/ 1962588 h 6046908"/>
              <a:gd name="connsiteX72" fmla="*/ 3338506 w 4527226"/>
              <a:gd name="connsiteY72" fmla="*/ 2305488 h 6046908"/>
              <a:gd name="connsiteX73" fmla="*/ 3254686 w 4527226"/>
              <a:gd name="connsiteY73" fmla="*/ 2473128 h 6046908"/>
              <a:gd name="connsiteX74" fmla="*/ 3132766 w 4527226"/>
              <a:gd name="connsiteY74" fmla="*/ 2663628 h 6046908"/>
              <a:gd name="connsiteX75" fmla="*/ 3071806 w 4527226"/>
              <a:gd name="connsiteY75" fmla="*/ 2838888 h 6046908"/>
              <a:gd name="connsiteX76" fmla="*/ 3064186 w 4527226"/>
              <a:gd name="connsiteY76" fmla="*/ 2915088 h 6046908"/>
              <a:gd name="connsiteX77" fmla="*/ 3018466 w 4527226"/>
              <a:gd name="connsiteY77" fmla="*/ 3014148 h 6046908"/>
              <a:gd name="connsiteX78" fmla="*/ 2980366 w 4527226"/>
              <a:gd name="connsiteY78" fmla="*/ 3082728 h 6046908"/>
              <a:gd name="connsiteX79" fmla="*/ 2957506 w 4527226"/>
              <a:gd name="connsiteY79" fmla="*/ 3120828 h 6046908"/>
              <a:gd name="connsiteX80" fmla="*/ 2957506 w 4527226"/>
              <a:gd name="connsiteY80" fmla="*/ 3555168 h 6046908"/>
              <a:gd name="connsiteX81" fmla="*/ 3010846 w 4527226"/>
              <a:gd name="connsiteY81" fmla="*/ 3539928 h 6046908"/>
              <a:gd name="connsiteX82" fmla="*/ 3109906 w 4527226"/>
              <a:gd name="connsiteY82" fmla="*/ 3570408 h 6046908"/>
              <a:gd name="connsiteX83" fmla="*/ 3140386 w 4527226"/>
              <a:gd name="connsiteY83" fmla="*/ 3631368 h 6046908"/>
              <a:gd name="connsiteX84" fmla="*/ 3117526 w 4527226"/>
              <a:gd name="connsiteY84" fmla="*/ 3738048 h 6046908"/>
              <a:gd name="connsiteX85" fmla="*/ 3125146 w 4527226"/>
              <a:gd name="connsiteY85" fmla="*/ 4103808 h 6046908"/>
              <a:gd name="connsiteX86" fmla="*/ 3163246 w 4527226"/>
              <a:gd name="connsiteY86" fmla="*/ 4157148 h 6046908"/>
              <a:gd name="connsiteX87" fmla="*/ 3201346 w 4527226"/>
              <a:gd name="connsiteY87" fmla="*/ 4164768 h 6046908"/>
              <a:gd name="connsiteX88" fmla="*/ 3231826 w 4527226"/>
              <a:gd name="connsiteY88" fmla="*/ 4172388 h 6046908"/>
              <a:gd name="connsiteX89" fmla="*/ 3285166 w 4527226"/>
              <a:gd name="connsiteY89" fmla="*/ 4294308 h 6046908"/>
              <a:gd name="connsiteX90" fmla="*/ 3300406 w 4527226"/>
              <a:gd name="connsiteY90" fmla="*/ 4347648 h 6046908"/>
              <a:gd name="connsiteX91" fmla="*/ 3330886 w 4527226"/>
              <a:gd name="connsiteY91" fmla="*/ 4408608 h 6046908"/>
              <a:gd name="connsiteX92" fmla="*/ 3551866 w 4527226"/>
              <a:gd name="connsiteY92" fmla="*/ 4644828 h 6046908"/>
              <a:gd name="connsiteX93" fmla="*/ 3887146 w 4527226"/>
              <a:gd name="connsiteY93" fmla="*/ 5025828 h 6046908"/>
              <a:gd name="connsiteX94" fmla="*/ 4100506 w 4527226"/>
              <a:gd name="connsiteY94" fmla="*/ 5300148 h 6046908"/>
              <a:gd name="connsiteX95" fmla="*/ 4367206 w 4527226"/>
              <a:gd name="connsiteY95" fmla="*/ 5726868 h 6046908"/>
              <a:gd name="connsiteX96" fmla="*/ 4527226 w 4527226"/>
              <a:gd name="connsiteY96" fmla="*/ 6046908 h 6046908"/>
              <a:gd name="connsiteX0" fmla="*/ 701986 w 4527226"/>
              <a:gd name="connsiteY0" fmla="*/ 5071548 h 6046908"/>
              <a:gd name="connsiteX1" fmla="*/ 717226 w 4527226"/>
              <a:gd name="connsiteY1" fmla="*/ 5063928 h 6046908"/>
              <a:gd name="connsiteX2" fmla="*/ 709606 w 4527226"/>
              <a:gd name="connsiteY2" fmla="*/ 5025828 h 6046908"/>
              <a:gd name="connsiteX3" fmla="*/ 701986 w 4527226"/>
              <a:gd name="connsiteY3" fmla="*/ 5002968 h 6046908"/>
              <a:gd name="connsiteX4" fmla="*/ 968686 w 4527226"/>
              <a:gd name="connsiteY4" fmla="*/ 4682928 h 6046908"/>
              <a:gd name="connsiteX5" fmla="*/ 961066 w 4527226"/>
              <a:gd name="connsiteY5" fmla="*/ 4644828 h 6046908"/>
              <a:gd name="connsiteX6" fmla="*/ 1342066 w 4527226"/>
              <a:gd name="connsiteY6" fmla="*/ 4172388 h 6046908"/>
              <a:gd name="connsiteX7" fmla="*/ 1258246 w 4527226"/>
              <a:gd name="connsiteY7" fmla="*/ 4012368 h 6046908"/>
              <a:gd name="connsiteX8" fmla="*/ 1204906 w 4527226"/>
              <a:gd name="connsiteY8" fmla="*/ 3928548 h 6046908"/>
              <a:gd name="connsiteX9" fmla="*/ 1174426 w 4527226"/>
              <a:gd name="connsiteY9" fmla="*/ 3768528 h 6046908"/>
              <a:gd name="connsiteX10" fmla="*/ 1151566 w 4527226"/>
              <a:gd name="connsiteY10" fmla="*/ 3699948 h 6046908"/>
              <a:gd name="connsiteX11" fmla="*/ 1143946 w 4527226"/>
              <a:gd name="connsiteY11" fmla="*/ 3669468 h 6046908"/>
              <a:gd name="connsiteX12" fmla="*/ 1067746 w 4527226"/>
              <a:gd name="connsiteY12" fmla="*/ 3661848 h 6046908"/>
              <a:gd name="connsiteX13" fmla="*/ 938206 w 4527226"/>
              <a:gd name="connsiteY13" fmla="*/ 3669468 h 6046908"/>
              <a:gd name="connsiteX14" fmla="*/ 831526 w 4527226"/>
              <a:gd name="connsiteY14" fmla="*/ 3692328 h 6046908"/>
              <a:gd name="connsiteX15" fmla="*/ 610546 w 4527226"/>
              <a:gd name="connsiteY15" fmla="*/ 3738048 h 6046908"/>
              <a:gd name="connsiteX16" fmla="*/ 389566 w 4527226"/>
              <a:gd name="connsiteY16" fmla="*/ 3638988 h 6046908"/>
              <a:gd name="connsiteX17" fmla="*/ 381946 w 4527226"/>
              <a:gd name="connsiteY17" fmla="*/ 3326568 h 6046908"/>
              <a:gd name="connsiteX18" fmla="*/ 420046 w 4527226"/>
              <a:gd name="connsiteY18" fmla="*/ 3227508 h 6046908"/>
              <a:gd name="connsiteX19" fmla="*/ 389566 w 4527226"/>
              <a:gd name="connsiteY19" fmla="*/ 3166548 h 6046908"/>
              <a:gd name="connsiteX20" fmla="*/ 351466 w 4527226"/>
              <a:gd name="connsiteY20" fmla="*/ 3105588 h 6046908"/>
              <a:gd name="connsiteX21" fmla="*/ 397186 w 4527226"/>
              <a:gd name="connsiteY21" fmla="*/ 3021768 h 6046908"/>
              <a:gd name="connsiteX22" fmla="*/ 488626 w 4527226"/>
              <a:gd name="connsiteY22" fmla="*/ 2998908 h 6046908"/>
              <a:gd name="connsiteX23" fmla="*/ 471956 w 4527226"/>
              <a:gd name="connsiteY23" fmla="*/ 2942709 h 6046908"/>
              <a:gd name="connsiteX24" fmla="*/ 435286 w 4527226"/>
              <a:gd name="connsiteY24" fmla="*/ 2930328 h 6046908"/>
              <a:gd name="connsiteX25" fmla="*/ 389566 w 4527226"/>
              <a:gd name="connsiteY25" fmla="*/ 2930328 h 6046908"/>
              <a:gd name="connsiteX26" fmla="*/ 314000 w 4527226"/>
              <a:gd name="connsiteY26" fmla="*/ 2893495 h 6046908"/>
              <a:gd name="connsiteX27" fmla="*/ 320986 w 4527226"/>
              <a:gd name="connsiteY27" fmla="*/ 2846508 h 6046908"/>
              <a:gd name="connsiteX28" fmla="*/ 328606 w 4527226"/>
              <a:gd name="connsiteY28" fmla="*/ 2793168 h 6046908"/>
              <a:gd name="connsiteX29" fmla="*/ 313366 w 4527226"/>
              <a:gd name="connsiteY29" fmla="*/ 2732208 h 6046908"/>
              <a:gd name="connsiteX30" fmla="*/ 267646 w 4527226"/>
              <a:gd name="connsiteY30" fmla="*/ 2671248 h 6046908"/>
              <a:gd name="connsiteX31" fmla="*/ 176206 w 4527226"/>
              <a:gd name="connsiteY31" fmla="*/ 2656008 h 6046908"/>
              <a:gd name="connsiteX32" fmla="*/ 54286 w 4527226"/>
              <a:gd name="connsiteY32" fmla="*/ 2610288 h 6046908"/>
              <a:gd name="connsiteX33" fmla="*/ 7931 w 4527226"/>
              <a:gd name="connsiteY33" fmla="*/ 2563298 h 6046908"/>
              <a:gd name="connsiteX34" fmla="*/ 8566 w 4527226"/>
              <a:gd name="connsiteY34" fmla="*/ 2488368 h 6046908"/>
              <a:gd name="connsiteX35" fmla="*/ 92386 w 4527226"/>
              <a:gd name="connsiteY35" fmla="*/ 2335968 h 6046908"/>
              <a:gd name="connsiteX36" fmla="*/ 221926 w 4527226"/>
              <a:gd name="connsiteY36" fmla="*/ 2175948 h 6046908"/>
              <a:gd name="connsiteX37" fmla="*/ 282886 w 4527226"/>
              <a:gd name="connsiteY37" fmla="*/ 2084508 h 6046908"/>
              <a:gd name="connsiteX38" fmla="*/ 328606 w 4527226"/>
              <a:gd name="connsiteY38" fmla="*/ 1977828 h 6046908"/>
              <a:gd name="connsiteX39" fmla="*/ 359086 w 4527226"/>
              <a:gd name="connsiteY39" fmla="*/ 1871148 h 6046908"/>
              <a:gd name="connsiteX40" fmla="*/ 374326 w 4527226"/>
              <a:gd name="connsiteY40" fmla="*/ 1810188 h 6046908"/>
              <a:gd name="connsiteX41" fmla="*/ 343846 w 4527226"/>
              <a:gd name="connsiteY41" fmla="*/ 1756848 h 6046908"/>
              <a:gd name="connsiteX42" fmla="*/ 328606 w 4527226"/>
              <a:gd name="connsiteY42" fmla="*/ 1680648 h 6046908"/>
              <a:gd name="connsiteX43" fmla="*/ 412426 w 4527226"/>
              <a:gd name="connsiteY43" fmla="*/ 1474908 h 6046908"/>
              <a:gd name="connsiteX44" fmla="*/ 442906 w 4527226"/>
              <a:gd name="connsiteY44" fmla="*/ 1307268 h 6046908"/>
              <a:gd name="connsiteX45" fmla="*/ 465766 w 4527226"/>
              <a:gd name="connsiteY45" fmla="*/ 1192968 h 6046908"/>
              <a:gd name="connsiteX46" fmla="*/ 503866 w 4527226"/>
              <a:gd name="connsiteY46" fmla="*/ 1055808 h 6046908"/>
              <a:gd name="connsiteX47" fmla="*/ 557206 w 4527226"/>
              <a:gd name="connsiteY47" fmla="*/ 888168 h 6046908"/>
              <a:gd name="connsiteX48" fmla="*/ 503866 w 4527226"/>
              <a:gd name="connsiteY48" fmla="*/ 888168 h 6046908"/>
              <a:gd name="connsiteX49" fmla="*/ 412426 w 4527226"/>
              <a:gd name="connsiteY49" fmla="*/ 834828 h 6046908"/>
              <a:gd name="connsiteX50" fmla="*/ 328606 w 4527226"/>
              <a:gd name="connsiteY50" fmla="*/ 789108 h 6046908"/>
              <a:gd name="connsiteX51" fmla="*/ 260026 w 4527226"/>
              <a:gd name="connsiteY51" fmla="*/ 773868 h 6046908"/>
              <a:gd name="connsiteX52" fmla="*/ 214306 w 4527226"/>
              <a:gd name="connsiteY52" fmla="*/ 751008 h 6046908"/>
              <a:gd name="connsiteX53" fmla="*/ 260026 w 4527226"/>
              <a:gd name="connsiteY53" fmla="*/ 674808 h 6046908"/>
              <a:gd name="connsiteX54" fmla="*/ 374326 w 4527226"/>
              <a:gd name="connsiteY54" fmla="*/ 606228 h 6046908"/>
              <a:gd name="connsiteX55" fmla="*/ 557206 w 4527226"/>
              <a:gd name="connsiteY55" fmla="*/ 507168 h 6046908"/>
              <a:gd name="connsiteX56" fmla="*/ 656266 w 4527226"/>
              <a:gd name="connsiteY56" fmla="*/ 423348 h 6046908"/>
              <a:gd name="connsiteX57" fmla="*/ 892486 w 4527226"/>
              <a:gd name="connsiteY57" fmla="*/ 232848 h 6046908"/>
              <a:gd name="connsiteX58" fmla="*/ 1174426 w 4527226"/>
              <a:gd name="connsiteY58" fmla="*/ 80448 h 6046908"/>
              <a:gd name="connsiteX59" fmla="*/ 1593526 w 4527226"/>
              <a:gd name="connsiteY59" fmla="*/ 11868 h 6046908"/>
              <a:gd name="connsiteX60" fmla="*/ 1944046 w 4527226"/>
              <a:gd name="connsiteY60" fmla="*/ 4248 h 6046908"/>
              <a:gd name="connsiteX61" fmla="*/ 2172646 w 4527226"/>
              <a:gd name="connsiteY61" fmla="*/ 4248 h 6046908"/>
              <a:gd name="connsiteX62" fmla="*/ 2393626 w 4527226"/>
              <a:gd name="connsiteY62" fmla="*/ 57588 h 6046908"/>
              <a:gd name="connsiteX63" fmla="*/ 2667946 w 4527226"/>
              <a:gd name="connsiteY63" fmla="*/ 133788 h 6046908"/>
              <a:gd name="connsiteX64" fmla="*/ 2820346 w 4527226"/>
              <a:gd name="connsiteY64" fmla="*/ 202368 h 6046908"/>
              <a:gd name="connsiteX65" fmla="*/ 3102286 w 4527226"/>
              <a:gd name="connsiteY65" fmla="*/ 400488 h 6046908"/>
              <a:gd name="connsiteX66" fmla="*/ 3285166 w 4527226"/>
              <a:gd name="connsiteY66" fmla="*/ 651948 h 6046908"/>
              <a:gd name="connsiteX67" fmla="*/ 3407086 w 4527226"/>
              <a:gd name="connsiteY67" fmla="*/ 918648 h 6046908"/>
              <a:gd name="connsiteX68" fmla="*/ 3475666 w 4527226"/>
              <a:gd name="connsiteY68" fmla="*/ 1238688 h 6046908"/>
              <a:gd name="connsiteX69" fmla="*/ 3506146 w 4527226"/>
              <a:gd name="connsiteY69" fmla="*/ 1543488 h 6046908"/>
              <a:gd name="connsiteX70" fmla="*/ 3506146 w 4527226"/>
              <a:gd name="connsiteY70" fmla="*/ 1962588 h 6046908"/>
              <a:gd name="connsiteX71" fmla="*/ 3338506 w 4527226"/>
              <a:gd name="connsiteY71" fmla="*/ 2305488 h 6046908"/>
              <a:gd name="connsiteX72" fmla="*/ 3254686 w 4527226"/>
              <a:gd name="connsiteY72" fmla="*/ 2473128 h 6046908"/>
              <a:gd name="connsiteX73" fmla="*/ 3132766 w 4527226"/>
              <a:gd name="connsiteY73" fmla="*/ 2663628 h 6046908"/>
              <a:gd name="connsiteX74" fmla="*/ 3071806 w 4527226"/>
              <a:gd name="connsiteY74" fmla="*/ 2838888 h 6046908"/>
              <a:gd name="connsiteX75" fmla="*/ 3064186 w 4527226"/>
              <a:gd name="connsiteY75" fmla="*/ 2915088 h 6046908"/>
              <a:gd name="connsiteX76" fmla="*/ 3018466 w 4527226"/>
              <a:gd name="connsiteY76" fmla="*/ 3014148 h 6046908"/>
              <a:gd name="connsiteX77" fmla="*/ 2980366 w 4527226"/>
              <a:gd name="connsiteY77" fmla="*/ 3082728 h 6046908"/>
              <a:gd name="connsiteX78" fmla="*/ 2957506 w 4527226"/>
              <a:gd name="connsiteY78" fmla="*/ 3120828 h 6046908"/>
              <a:gd name="connsiteX79" fmla="*/ 2957506 w 4527226"/>
              <a:gd name="connsiteY79" fmla="*/ 3555168 h 6046908"/>
              <a:gd name="connsiteX80" fmla="*/ 3010846 w 4527226"/>
              <a:gd name="connsiteY80" fmla="*/ 3539928 h 6046908"/>
              <a:gd name="connsiteX81" fmla="*/ 3109906 w 4527226"/>
              <a:gd name="connsiteY81" fmla="*/ 3570408 h 6046908"/>
              <a:gd name="connsiteX82" fmla="*/ 3140386 w 4527226"/>
              <a:gd name="connsiteY82" fmla="*/ 3631368 h 6046908"/>
              <a:gd name="connsiteX83" fmla="*/ 3117526 w 4527226"/>
              <a:gd name="connsiteY83" fmla="*/ 3738048 h 6046908"/>
              <a:gd name="connsiteX84" fmla="*/ 3125146 w 4527226"/>
              <a:gd name="connsiteY84" fmla="*/ 4103808 h 6046908"/>
              <a:gd name="connsiteX85" fmla="*/ 3163246 w 4527226"/>
              <a:gd name="connsiteY85" fmla="*/ 4157148 h 6046908"/>
              <a:gd name="connsiteX86" fmla="*/ 3201346 w 4527226"/>
              <a:gd name="connsiteY86" fmla="*/ 4164768 h 6046908"/>
              <a:gd name="connsiteX87" fmla="*/ 3231826 w 4527226"/>
              <a:gd name="connsiteY87" fmla="*/ 4172388 h 6046908"/>
              <a:gd name="connsiteX88" fmla="*/ 3285166 w 4527226"/>
              <a:gd name="connsiteY88" fmla="*/ 4294308 h 6046908"/>
              <a:gd name="connsiteX89" fmla="*/ 3300406 w 4527226"/>
              <a:gd name="connsiteY89" fmla="*/ 4347648 h 6046908"/>
              <a:gd name="connsiteX90" fmla="*/ 3330886 w 4527226"/>
              <a:gd name="connsiteY90" fmla="*/ 4408608 h 6046908"/>
              <a:gd name="connsiteX91" fmla="*/ 3551866 w 4527226"/>
              <a:gd name="connsiteY91" fmla="*/ 4644828 h 6046908"/>
              <a:gd name="connsiteX92" fmla="*/ 3887146 w 4527226"/>
              <a:gd name="connsiteY92" fmla="*/ 5025828 h 6046908"/>
              <a:gd name="connsiteX93" fmla="*/ 4100506 w 4527226"/>
              <a:gd name="connsiteY93" fmla="*/ 5300148 h 6046908"/>
              <a:gd name="connsiteX94" fmla="*/ 4367206 w 4527226"/>
              <a:gd name="connsiteY94" fmla="*/ 5726868 h 6046908"/>
              <a:gd name="connsiteX95" fmla="*/ 4527226 w 4527226"/>
              <a:gd name="connsiteY95" fmla="*/ 6046908 h 6046908"/>
              <a:gd name="connsiteX0" fmla="*/ 717226 w 4527226"/>
              <a:gd name="connsiteY0" fmla="*/ 5063928 h 6046908"/>
              <a:gd name="connsiteX1" fmla="*/ 709606 w 4527226"/>
              <a:gd name="connsiteY1" fmla="*/ 5025828 h 6046908"/>
              <a:gd name="connsiteX2" fmla="*/ 701986 w 4527226"/>
              <a:gd name="connsiteY2" fmla="*/ 5002968 h 6046908"/>
              <a:gd name="connsiteX3" fmla="*/ 968686 w 4527226"/>
              <a:gd name="connsiteY3" fmla="*/ 4682928 h 6046908"/>
              <a:gd name="connsiteX4" fmla="*/ 961066 w 4527226"/>
              <a:gd name="connsiteY4" fmla="*/ 4644828 h 6046908"/>
              <a:gd name="connsiteX5" fmla="*/ 1342066 w 4527226"/>
              <a:gd name="connsiteY5" fmla="*/ 4172388 h 6046908"/>
              <a:gd name="connsiteX6" fmla="*/ 1258246 w 4527226"/>
              <a:gd name="connsiteY6" fmla="*/ 4012368 h 6046908"/>
              <a:gd name="connsiteX7" fmla="*/ 1204906 w 4527226"/>
              <a:gd name="connsiteY7" fmla="*/ 3928548 h 6046908"/>
              <a:gd name="connsiteX8" fmla="*/ 1174426 w 4527226"/>
              <a:gd name="connsiteY8" fmla="*/ 3768528 h 6046908"/>
              <a:gd name="connsiteX9" fmla="*/ 1151566 w 4527226"/>
              <a:gd name="connsiteY9" fmla="*/ 3699948 h 6046908"/>
              <a:gd name="connsiteX10" fmla="*/ 1143946 w 4527226"/>
              <a:gd name="connsiteY10" fmla="*/ 3669468 h 6046908"/>
              <a:gd name="connsiteX11" fmla="*/ 1067746 w 4527226"/>
              <a:gd name="connsiteY11" fmla="*/ 3661848 h 6046908"/>
              <a:gd name="connsiteX12" fmla="*/ 938206 w 4527226"/>
              <a:gd name="connsiteY12" fmla="*/ 3669468 h 6046908"/>
              <a:gd name="connsiteX13" fmla="*/ 831526 w 4527226"/>
              <a:gd name="connsiteY13" fmla="*/ 3692328 h 6046908"/>
              <a:gd name="connsiteX14" fmla="*/ 610546 w 4527226"/>
              <a:gd name="connsiteY14" fmla="*/ 3738048 h 6046908"/>
              <a:gd name="connsiteX15" fmla="*/ 389566 w 4527226"/>
              <a:gd name="connsiteY15" fmla="*/ 3638988 h 6046908"/>
              <a:gd name="connsiteX16" fmla="*/ 381946 w 4527226"/>
              <a:gd name="connsiteY16" fmla="*/ 3326568 h 6046908"/>
              <a:gd name="connsiteX17" fmla="*/ 420046 w 4527226"/>
              <a:gd name="connsiteY17" fmla="*/ 3227508 h 6046908"/>
              <a:gd name="connsiteX18" fmla="*/ 389566 w 4527226"/>
              <a:gd name="connsiteY18" fmla="*/ 3166548 h 6046908"/>
              <a:gd name="connsiteX19" fmla="*/ 351466 w 4527226"/>
              <a:gd name="connsiteY19" fmla="*/ 3105588 h 6046908"/>
              <a:gd name="connsiteX20" fmla="*/ 397186 w 4527226"/>
              <a:gd name="connsiteY20" fmla="*/ 3021768 h 6046908"/>
              <a:gd name="connsiteX21" fmla="*/ 488626 w 4527226"/>
              <a:gd name="connsiteY21" fmla="*/ 2998908 h 6046908"/>
              <a:gd name="connsiteX22" fmla="*/ 471956 w 4527226"/>
              <a:gd name="connsiteY22" fmla="*/ 2942709 h 6046908"/>
              <a:gd name="connsiteX23" fmla="*/ 435286 w 4527226"/>
              <a:gd name="connsiteY23" fmla="*/ 2930328 h 6046908"/>
              <a:gd name="connsiteX24" fmla="*/ 389566 w 4527226"/>
              <a:gd name="connsiteY24" fmla="*/ 2930328 h 6046908"/>
              <a:gd name="connsiteX25" fmla="*/ 314000 w 4527226"/>
              <a:gd name="connsiteY25" fmla="*/ 2893495 h 6046908"/>
              <a:gd name="connsiteX26" fmla="*/ 320986 w 4527226"/>
              <a:gd name="connsiteY26" fmla="*/ 2846508 h 6046908"/>
              <a:gd name="connsiteX27" fmla="*/ 328606 w 4527226"/>
              <a:gd name="connsiteY27" fmla="*/ 2793168 h 6046908"/>
              <a:gd name="connsiteX28" fmla="*/ 313366 w 4527226"/>
              <a:gd name="connsiteY28" fmla="*/ 2732208 h 6046908"/>
              <a:gd name="connsiteX29" fmla="*/ 267646 w 4527226"/>
              <a:gd name="connsiteY29" fmla="*/ 2671248 h 6046908"/>
              <a:gd name="connsiteX30" fmla="*/ 176206 w 4527226"/>
              <a:gd name="connsiteY30" fmla="*/ 2656008 h 6046908"/>
              <a:gd name="connsiteX31" fmla="*/ 54286 w 4527226"/>
              <a:gd name="connsiteY31" fmla="*/ 2610288 h 6046908"/>
              <a:gd name="connsiteX32" fmla="*/ 7931 w 4527226"/>
              <a:gd name="connsiteY32" fmla="*/ 2563298 h 6046908"/>
              <a:gd name="connsiteX33" fmla="*/ 8566 w 4527226"/>
              <a:gd name="connsiteY33" fmla="*/ 2488368 h 6046908"/>
              <a:gd name="connsiteX34" fmla="*/ 92386 w 4527226"/>
              <a:gd name="connsiteY34" fmla="*/ 2335968 h 6046908"/>
              <a:gd name="connsiteX35" fmla="*/ 221926 w 4527226"/>
              <a:gd name="connsiteY35" fmla="*/ 2175948 h 6046908"/>
              <a:gd name="connsiteX36" fmla="*/ 282886 w 4527226"/>
              <a:gd name="connsiteY36" fmla="*/ 2084508 h 6046908"/>
              <a:gd name="connsiteX37" fmla="*/ 328606 w 4527226"/>
              <a:gd name="connsiteY37" fmla="*/ 1977828 h 6046908"/>
              <a:gd name="connsiteX38" fmla="*/ 359086 w 4527226"/>
              <a:gd name="connsiteY38" fmla="*/ 1871148 h 6046908"/>
              <a:gd name="connsiteX39" fmla="*/ 374326 w 4527226"/>
              <a:gd name="connsiteY39" fmla="*/ 1810188 h 6046908"/>
              <a:gd name="connsiteX40" fmla="*/ 343846 w 4527226"/>
              <a:gd name="connsiteY40" fmla="*/ 1756848 h 6046908"/>
              <a:gd name="connsiteX41" fmla="*/ 328606 w 4527226"/>
              <a:gd name="connsiteY41" fmla="*/ 1680648 h 6046908"/>
              <a:gd name="connsiteX42" fmla="*/ 412426 w 4527226"/>
              <a:gd name="connsiteY42" fmla="*/ 1474908 h 6046908"/>
              <a:gd name="connsiteX43" fmla="*/ 442906 w 4527226"/>
              <a:gd name="connsiteY43" fmla="*/ 1307268 h 6046908"/>
              <a:gd name="connsiteX44" fmla="*/ 465766 w 4527226"/>
              <a:gd name="connsiteY44" fmla="*/ 1192968 h 6046908"/>
              <a:gd name="connsiteX45" fmla="*/ 503866 w 4527226"/>
              <a:gd name="connsiteY45" fmla="*/ 1055808 h 6046908"/>
              <a:gd name="connsiteX46" fmla="*/ 557206 w 4527226"/>
              <a:gd name="connsiteY46" fmla="*/ 888168 h 6046908"/>
              <a:gd name="connsiteX47" fmla="*/ 503866 w 4527226"/>
              <a:gd name="connsiteY47" fmla="*/ 888168 h 6046908"/>
              <a:gd name="connsiteX48" fmla="*/ 412426 w 4527226"/>
              <a:gd name="connsiteY48" fmla="*/ 834828 h 6046908"/>
              <a:gd name="connsiteX49" fmla="*/ 328606 w 4527226"/>
              <a:gd name="connsiteY49" fmla="*/ 789108 h 6046908"/>
              <a:gd name="connsiteX50" fmla="*/ 260026 w 4527226"/>
              <a:gd name="connsiteY50" fmla="*/ 773868 h 6046908"/>
              <a:gd name="connsiteX51" fmla="*/ 214306 w 4527226"/>
              <a:gd name="connsiteY51" fmla="*/ 751008 h 6046908"/>
              <a:gd name="connsiteX52" fmla="*/ 260026 w 4527226"/>
              <a:gd name="connsiteY52" fmla="*/ 674808 h 6046908"/>
              <a:gd name="connsiteX53" fmla="*/ 374326 w 4527226"/>
              <a:gd name="connsiteY53" fmla="*/ 606228 h 6046908"/>
              <a:gd name="connsiteX54" fmla="*/ 557206 w 4527226"/>
              <a:gd name="connsiteY54" fmla="*/ 507168 h 6046908"/>
              <a:gd name="connsiteX55" fmla="*/ 656266 w 4527226"/>
              <a:gd name="connsiteY55" fmla="*/ 423348 h 6046908"/>
              <a:gd name="connsiteX56" fmla="*/ 892486 w 4527226"/>
              <a:gd name="connsiteY56" fmla="*/ 232848 h 6046908"/>
              <a:gd name="connsiteX57" fmla="*/ 1174426 w 4527226"/>
              <a:gd name="connsiteY57" fmla="*/ 80448 h 6046908"/>
              <a:gd name="connsiteX58" fmla="*/ 1593526 w 4527226"/>
              <a:gd name="connsiteY58" fmla="*/ 11868 h 6046908"/>
              <a:gd name="connsiteX59" fmla="*/ 1944046 w 4527226"/>
              <a:gd name="connsiteY59" fmla="*/ 4248 h 6046908"/>
              <a:gd name="connsiteX60" fmla="*/ 2172646 w 4527226"/>
              <a:gd name="connsiteY60" fmla="*/ 4248 h 6046908"/>
              <a:gd name="connsiteX61" fmla="*/ 2393626 w 4527226"/>
              <a:gd name="connsiteY61" fmla="*/ 57588 h 6046908"/>
              <a:gd name="connsiteX62" fmla="*/ 2667946 w 4527226"/>
              <a:gd name="connsiteY62" fmla="*/ 133788 h 6046908"/>
              <a:gd name="connsiteX63" fmla="*/ 2820346 w 4527226"/>
              <a:gd name="connsiteY63" fmla="*/ 202368 h 6046908"/>
              <a:gd name="connsiteX64" fmla="*/ 3102286 w 4527226"/>
              <a:gd name="connsiteY64" fmla="*/ 400488 h 6046908"/>
              <a:gd name="connsiteX65" fmla="*/ 3285166 w 4527226"/>
              <a:gd name="connsiteY65" fmla="*/ 651948 h 6046908"/>
              <a:gd name="connsiteX66" fmla="*/ 3407086 w 4527226"/>
              <a:gd name="connsiteY66" fmla="*/ 918648 h 6046908"/>
              <a:gd name="connsiteX67" fmla="*/ 3475666 w 4527226"/>
              <a:gd name="connsiteY67" fmla="*/ 1238688 h 6046908"/>
              <a:gd name="connsiteX68" fmla="*/ 3506146 w 4527226"/>
              <a:gd name="connsiteY68" fmla="*/ 1543488 h 6046908"/>
              <a:gd name="connsiteX69" fmla="*/ 3506146 w 4527226"/>
              <a:gd name="connsiteY69" fmla="*/ 1962588 h 6046908"/>
              <a:gd name="connsiteX70" fmla="*/ 3338506 w 4527226"/>
              <a:gd name="connsiteY70" fmla="*/ 2305488 h 6046908"/>
              <a:gd name="connsiteX71" fmla="*/ 3254686 w 4527226"/>
              <a:gd name="connsiteY71" fmla="*/ 2473128 h 6046908"/>
              <a:gd name="connsiteX72" fmla="*/ 3132766 w 4527226"/>
              <a:gd name="connsiteY72" fmla="*/ 2663628 h 6046908"/>
              <a:gd name="connsiteX73" fmla="*/ 3071806 w 4527226"/>
              <a:gd name="connsiteY73" fmla="*/ 2838888 h 6046908"/>
              <a:gd name="connsiteX74" fmla="*/ 3064186 w 4527226"/>
              <a:gd name="connsiteY74" fmla="*/ 2915088 h 6046908"/>
              <a:gd name="connsiteX75" fmla="*/ 3018466 w 4527226"/>
              <a:gd name="connsiteY75" fmla="*/ 3014148 h 6046908"/>
              <a:gd name="connsiteX76" fmla="*/ 2980366 w 4527226"/>
              <a:gd name="connsiteY76" fmla="*/ 3082728 h 6046908"/>
              <a:gd name="connsiteX77" fmla="*/ 2957506 w 4527226"/>
              <a:gd name="connsiteY77" fmla="*/ 3120828 h 6046908"/>
              <a:gd name="connsiteX78" fmla="*/ 2957506 w 4527226"/>
              <a:gd name="connsiteY78" fmla="*/ 3555168 h 6046908"/>
              <a:gd name="connsiteX79" fmla="*/ 3010846 w 4527226"/>
              <a:gd name="connsiteY79" fmla="*/ 3539928 h 6046908"/>
              <a:gd name="connsiteX80" fmla="*/ 3109906 w 4527226"/>
              <a:gd name="connsiteY80" fmla="*/ 3570408 h 6046908"/>
              <a:gd name="connsiteX81" fmla="*/ 3140386 w 4527226"/>
              <a:gd name="connsiteY81" fmla="*/ 3631368 h 6046908"/>
              <a:gd name="connsiteX82" fmla="*/ 3117526 w 4527226"/>
              <a:gd name="connsiteY82" fmla="*/ 3738048 h 6046908"/>
              <a:gd name="connsiteX83" fmla="*/ 3125146 w 4527226"/>
              <a:gd name="connsiteY83" fmla="*/ 4103808 h 6046908"/>
              <a:gd name="connsiteX84" fmla="*/ 3163246 w 4527226"/>
              <a:gd name="connsiteY84" fmla="*/ 4157148 h 6046908"/>
              <a:gd name="connsiteX85" fmla="*/ 3201346 w 4527226"/>
              <a:gd name="connsiteY85" fmla="*/ 4164768 h 6046908"/>
              <a:gd name="connsiteX86" fmla="*/ 3231826 w 4527226"/>
              <a:gd name="connsiteY86" fmla="*/ 4172388 h 6046908"/>
              <a:gd name="connsiteX87" fmla="*/ 3285166 w 4527226"/>
              <a:gd name="connsiteY87" fmla="*/ 4294308 h 6046908"/>
              <a:gd name="connsiteX88" fmla="*/ 3300406 w 4527226"/>
              <a:gd name="connsiteY88" fmla="*/ 4347648 h 6046908"/>
              <a:gd name="connsiteX89" fmla="*/ 3330886 w 4527226"/>
              <a:gd name="connsiteY89" fmla="*/ 4408608 h 6046908"/>
              <a:gd name="connsiteX90" fmla="*/ 3551866 w 4527226"/>
              <a:gd name="connsiteY90" fmla="*/ 4644828 h 6046908"/>
              <a:gd name="connsiteX91" fmla="*/ 3887146 w 4527226"/>
              <a:gd name="connsiteY91" fmla="*/ 5025828 h 6046908"/>
              <a:gd name="connsiteX92" fmla="*/ 4100506 w 4527226"/>
              <a:gd name="connsiteY92" fmla="*/ 5300148 h 6046908"/>
              <a:gd name="connsiteX93" fmla="*/ 4367206 w 4527226"/>
              <a:gd name="connsiteY93" fmla="*/ 5726868 h 6046908"/>
              <a:gd name="connsiteX94" fmla="*/ 4527226 w 4527226"/>
              <a:gd name="connsiteY94" fmla="*/ 6046908 h 6046908"/>
              <a:gd name="connsiteX0" fmla="*/ 709606 w 4527226"/>
              <a:gd name="connsiteY0" fmla="*/ 5025828 h 6046908"/>
              <a:gd name="connsiteX1" fmla="*/ 701986 w 4527226"/>
              <a:gd name="connsiteY1" fmla="*/ 5002968 h 6046908"/>
              <a:gd name="connsiteX2" fmla="*/ 968686 w 4527226"/>
              <a:gd name="connsiteY2" fmla="*/ 4682928 h 6046908"/>
              <a:gd name="connsiteX3" fmla="*/ 961066 w 4527226"/>
              <a:gd name="connsiteY3" fmla="*/ 4644828 h 6046908"/>
              <a:gd name="connsiteX4" fmla="*/ 1342066 w 4527226"/>
              <a:gd name="connsiteY4" fmla="*/ 4172388 h 6046908"/>
              <a:gd name="connsiteX5" fmla="*/ 1258246 w 4527226"/>
              <a:gd name="connsiteY5" fmla="*/ 4012368 h 6046908"/>
              <a:gd name="connsiteX6" fmla="*/ 1204906 w 4527226"/>
              <a:gd name="connsiteY6" fmla="*/ 3928548 h 6046908"/>
              <a:gd name="connsiteX7" fmla="*/ 1174426 w 4527226"/>
              <a:gd name="connsiteY7" fmla="*/ 3768528 h 6046908"/>
              <a:gd name="connsiteX8" fmla="*/ 1151566 w 4527226"/>
              <a:gd name="connsiteY8" fmla="*/ 3699948 h 6046908"/>
              <a:gd name="connsiteX9" fmla="*/ 1143946 w 4527226"/>
              <a:gd name="connsiteY9" fmla="*/ 3669468 h 6046908"/>
              <a:gd name="connsiteX10" fmla="*/ 1067746 w 4527226"/>
              <a:gd name="connsiteY10" fmla="*/ 3661848 h 6046908"/>
              <a:gd name="connsiteX11" fmla="*/ 938206 w 4527226"/>
              <a:gd name="connsiteY11" fmla="*/ 3669468 h 6046908"/>
              <a:gd name="connsiteX12" fmla="*/ 831526 w 4527226"/>
              <a:gd name="connsiteY12" fmla="*/ 3692328 h 6046908"/>
              <a:gd name="connsiteX13" fmla="*/ 610546 w 4527226"/>
              <a:gd name="connsiteY13" fmla="*/ 3738048 h 6046908"/>
              <a:gd name="connsiteX14" fmla="*/ 389566 w 4527226"/>
              <a:gd name="connsiteY14" fmla="*/ 3638988 h 6046908"/>
              <a:gd name="connsiteX15" fmla="*/ 381946 w 4527226"/>
              <a:gd name="connsiteY15" fmla="*/ 3326568 h 6046908"/>
              <a:gd name="connsiteX16" fmla="*/ 420046 w 4527226"/>
              <a:gd name="connsiteY16" fmla="*/ 3227508 h 6046908"/>
              <a:gd name="connsiteX17" fmla="*/ 389566 w 4527226"/>
              <a:gd name="connsiteY17" fmla="*/ 3166548 h 6046908"/>
              <a:gd name="connsiteX18" fmla="*/ 351466 w 4527226"/>
              <a:gd name="connsiteY18" fmla="*/ 3105588 h 6046908"/>
              <a:gd name="connsiteX19" fmla="*/ 397186 w 4527226"/>
              <a:gd name="connsiteY19" fmla="*/ 3021768 h 6046908"/>
              <a:gd name="connsiteX20" fmla="*/ 488626 w 4527226"/>
              <a:gd name="connsiteY20" fmla="*/ 2998908 h 6046908"/>
              <a:gd name="connsiteX21" fmla="*/ 471956 w 4527226"/>
              <a:gd name="connsiteY21" fmla="*/ 2942709 h 6046908"/>
              <a:gd name="connsiteX22" fmla="*/ 435286 w 4527226"/>
              <a:gd name="connsiteY22" fmla="*/ 2930328 h 6046908"/>
              <a:gd name="connsiteX23" fmla="*/ 389566 w 4527226"/>
              <a:gd name="connsiteY23" fmla="*/ 2930328 h 6046908"/>
              <a:gd name="connsiteX24" fmla="*/ 314000 w 4527226"/>
              <a:gd name="connsiteY24" fmla="*/ 2893495 h 6046908"/>
              <a:gd name="connsiteX25" fmla="*/ 320986 w 4527226"/>
              <a:gd name="connsiteY25" fmla="*/ 2846508 h 6046908"/>
              <a:gd name="connsiteX26" fmla="*/ 328606 w 4527226"/>
              <a:gd name="connsiteY26" fmla="*/ 2793168 h 6046908"/>
              <a:gd name="connsiteX27" fmla="*/ 313366 w 4527226"/>
              <a:gd name="connsiteY27" fmla="*/ 2732208 h 6046908"/>
              <a:gd name="connsiteX28" fmla="*/ 267646 w 4527226"/>
              <a:gd name="connsiteY28" fmla="*/ 2671248 h 6046908"/>
              <a:gd name="connsiteX29" fmla="*/ 176206 w 4527226"/>
              <a:gd name="connsiteY29" fmla="*/ 2656008 h 6046908"/>
              <a:gd name="connsiteX30" fmla="*/ 54286 w 4527226"/>
              <a:gd name="connsiteY30" fmla="*/ 2610288 h 6046908"/>
              <a:gd name="connsiteX31" fmla="*/ 7931 w 4527226"/>
              <a:gd name="connsiteY31" fmla="*/ 2563298 h 6046908"/>
              <a:gd name="connsiteX32" fmla="*/ 8566 w 4527226"/>
              <a:gd name="connsiteY32" fmla="*/ 2488368 h 6046908"/>
              <a:gd name="connsiteX33" fmla="*/ 92386 w 4527226"/>
              <a:gd name="connsiteY33" fmla="*/ 2335968 h 6046908"/>
              <a:gd name="connsiteX34" fmla="*/ 221926 w 4527226"/>
              <a:gd name="connsiteY34" fmla="*/ 2175948 h 6046908"/>
              <a:gd name="connsiteX35" fmla="*/ 282886 w 4527226"/>
              <a:gd name="connsiteY35" fmla="*/ 2084508 h 6046908"/>
              <a:gd name="connsiteX36" fmla="*/ 328606 w 4527226"/>
              <a:gd name="connsiteY36" fmla="*/ 1977828 h 6046908"/>
              <a:gd name="connsiteX37" fmla="*/ 359086 w 4527226"/>
              <a:gd name="connsiteY37" fmla="*/ 1871148 h 6046908"/>
              <a:gd name="connsiteX38" fmla="*/ 374326 w 4527226"/>
              <a:gd name="connsiteY38" fmla="*/ 1810188 h 6046908"/>
              <a:gd name="connsiteX39" fmla="*/ 343846 w 4527226"/>
              <a:gd name="connsiteY39" fmla="*/ 1756848 h 6046908"/>
              <a:gd name="connsiteX40" fmla="*/ 328606 w 4527226"/>
              <a:gd name="connsiteY40" fmla="*/ 1680648 h 6046908"/>
              <a:gd name="connsiteX41" fmla="*/ 412426 w 4527226"/>
              <a:gd name="connsiteY41" fmla="*/ 1474908 h 6046908"/>
              <a:gd name="connsiteX42" fmla="*/ 442906 w 4527226"/>
              <a:gd name="connsiteY42" fmla="*/ 1307268 h 6046908"/>
              <a:gd name="connsiteX43" fmla="*/ 465766 w 4527226"/>
              <a:gd name="connsiteY43" fmla="*/ 1192968 h 6046908"/>
              <a:gd name="connsiteX44" fmla="*/ 503866 w 4527226"/>
              <a:gd name="connsiteY44" fmla="*/ 1055808 h 6046908"/>
              <a:gd name="connsiteX45" fmla="*/ 557206 w 4527226"/>
              <a:gd name="connsiteY45" fmla="*/ 888168 h 6046908"/>
              <a:gd name="connsiteX46" fmla="*/ 503866 w 4527226"/>
              <a:gd name="connsiteY46" fmla="*/ 888168 h 6046908"/>
              <a:gd name="connsiteX47" fmla="*/ 412426 w 4527226"/>
              <a:gd name="connsiteY47" fmla="*/ 834828 h 6046908"/>
              <a:gd name="connsiteX48" fmla="*/ 328606 w 4527226"/>
              <a:gd name="connsiteY48" fmla="*/ 789108 h 6046908"/>
              <a:gd name="connsiteX49" fmla="*/ 260026 w 4527226"/>
              <a:gd name="connsiteY49" fmla="*/ 773868 h 6046908"/>
              <a:gd name="connsiteX50" fmla="*/ 214306 w 4527226"/>
              <a:gd name="connsiteY50" fmla="*/ 751008 h 6046908"/>
              <a:gd name="connsiteX51" fmla="*/ 260026 w 4527226"/>
              <a:gd name="connsiteY51" fmla="*/ 674808 h 6046908"/>
              <a:gd name="connsiteX52" fmla="*/ 374326 w 4527226"/>
              <a:gd name="connsiteY52" fmla="*/ 606228 h 6046908"/>
              <a:gd name="connsiteX53" fmla="*/ 557206 w 4527226"/>
              <a:gd name="connsiteY53" fmla="*/ 507168 h 6046908"/>
              <a:gd name="connsiteX54" fmla="*/ 656266 w 4527226"/>
              <a:gd name="connsiteY54" fmla="*/ 423348 h 6046908"/>
              <a:gd name="connsiteX55" fmla="*/ 892486 w 4527226"/>
              <a:gd name="connsiteY55" fmla="*/ 232848 h 6046908"/>
              <a:gd name="connsiteX56" fmla="*/ 1174426 w 4527226"/>
              <a:gd name="connsiteY56" fmla="*/ 80448 h 6046908"/>
              <a:gd name="connsiteX57" fmla="*/ 1593526 w 4527226"/>
              <a:gd name="connsiteY57" fmla="*/ 11868 h 6046908"/>
              <a:gd name="connsiteX58" fmla="*/ 1944046 w 4527226"/>
              <a:gd name="connsiteY58" fmla="*/ 4248 h 6046908"/>
              <a:gd name="connsiteX59" fmla="*/ 2172646 w 4527226"/>
              <a:gd name="connsiteY59" fmla="*/ 4248 h 6046908"/>
              <a:gd name="connsiteX60" fmla="*/ 2393626 w 4527226"/>
              <a:gd name="connsiteY60" fmla="*/ 57588 h 6046908"/>
              <a:gd name="connsiteX61" fmla="*/ 2667946 w 4527226"/>
              <a:gd name="connsiteY61" fmla="*/ 133788 h 6046908"/>
              <a:gd name="connsiteX62" fmla="*/ 2820346 w 4527226"/>
              <a:gd name="connsiteY62" fmla="*/ 202368 h 6046908"/>
              <a:gd name="connsiteX63" fmla="*/ 3102286 w 4527226"/>
              <a:gd name="connsiteY63" fmla="*/ 400488 h 6046908"/>
              <a:gd name="connsiteX64" fmla="*/ 3285166 w 4527226"/>
              <a:gd name="connsiteY64" fmla="*/ 651948 h 6046908"/>
              <a:gd name="connsiteX65" fmla="*/ 3407086 w 4527226"/>
              <a:gd name="connsiteY65" fmla="*/ 918648 h 6046908"/>
              <a:gd name="connsiteX66" fmla="*/ 3475666 w 4527226"/>
              <a:gd name="connsiteY66" fmla="*/ 1238688 h 6046908"/>
              <a:gd name="connsiteX67" fmla="*/ 3506146 w 4527226"/>
              <a:gd name="connsiteY67" fmla="*/ 1543488 h 6046908"/>
              <a:gd name="connsiteX68" fmla="*/ 3506146 w 4527226"/>
              <a:gd name="connsiteY68" fmla="*/ 1962588 h 6046908"/>
              <a:gd name="connsiteX69" fmla="*/ 3338506 w 4527226"/>
              <a:gd name="connsiteY69" fmla="*/ 2305488 h 6046908"/>
              <a:gd name="connsiteX70" fmla="*/ 3254686 w 4527226"/>
              <a:gd name="connsiteY70" fmla="*/ 2473128 h 6046908"/>
              <a:gd name="connsiteX71" fmla="*/ 3132766 w 4527226"/>
              <a:gd name="connsiteY71" fmla="*/ 2663628 h 6046908"/>
              <a:gd name="connsiteX72" fmla="*/ 3071806 w 4527226"/>
              <a:gd name="connsiteY72" fmla="*/ 2838888 h 6046908"/>
              <a:gd name="connsiteX73" fmla="*/ 3064186 w 4527226"/>
              <a:gd name="connsiteY73" fmla="*/ 2915088 h 6046908"/>
              <a:gd name="connsiteX74" fmla="*/ 3018466 w 4527226"/>
              <a:gd name="connsiteY74" fmla="*/ 3014148 h 6046908"/>
              <a:gd name="connsiteX75" fmla="*/ 2980366 w 4527226"/>
              <a:gd name="connsiteY75" fmla="*/ 3082728 h 6046908"/>
              <a:gd name="connsiteX76" fmla="*/ 2957506 w 4527226"/>
              <a:gd name="connsiteY76" fmla="*/ 3120828 h 6046908"/>
              <a:gd name="connsiteX77" fmla="*/ 2957506 w 4527226"/>
              <a:gd name="connsiteY77" fmla="*/ 3555168 h 6046908"/>
              <a:gd name="connsiteX78" fmla="*/ 3010846 w 4527226"/>
              <a:gd name="connsiteY78" fmla="*/ 3539928 h 6046908"/>
              <a:gd name="connsiteX79" fmla="*/ 3109906 w 4527226"/>
              <a:gd name="connsiteY79" fmla="*/ 3570408 h 6046908"/>
              <a:gd name="connsiteX80" fmla="*/ 3140386 w 4527226"/>
              <a:gd name="connsiteY80" fmla="*/ 3631368 h 6046908"/>
              <a:gd name="connsiteX81" fmla="*/ 3117526 w 4527226"/>
              <a:gd name="connsiteY81" fmla="*/ 3738048 h 6046908"/>
              <a:gd name="connsiteX82" fmla="*/ 3125146 w 4527226"/>
              <a:gd name="connsiteY82" fmla="*/ 4103808 h 6046908"/>
              <a:gd name="connsiteX83" fmla="*/ 3163246 w 4527226"/>
              <a:gd name="connsiteY83" fmla="*/ 4157148 h 6046908"/>
              <a:gd name="connsiteX84" fmla="*/ 3201346 w 4527226"/>
              <a:gd name="connsiteY84" fmla="*/ 4164768 h 6046908"/>
              <a:gd name="connsiteX85" fmla="*/ 3231826 w 4527226"/>
              <a:gd name="connsiteY85" fmla="*/ 4172388 h 6046908"/>
              <a:gd name="connsiteX86" fmla="*/ 3285166 w 4527226"/>
              <a:gd name="connsiteY86" fmla="*/ 4294308 h 6046908"/>
              <a:gd name="connsiteX87" fmla="*/ 3300406 w 4527226"/>
              <a:gd name="connsiteY87" fmla="*/ 4347648 h 6046908"/>
              <a:gd name="connsiteX88" fmla="*/ 3330886 w 4527226"/>
              <a:gd name="connsiteY88" fmla="*/ 4408608 h 6046908"/>
              <a:gd name="connsiteX89" fmla="*/ 3551866 w 4527226"/>
              <a:gd name="connsiteY89" fmla="*/ 4644828 h 6046908"/>
              <a:gd name="connsiteX90" fmla="*/ 3887146 w 4527226"/>
              <a:gd name="connsiteY90" fmla="*/ 5025828 h 6046908"/>
              <a:gd name="connsiteX91" fmla="*/ 4100506 w 4527226"/>
              <a:gd name="connsiteY91" fmla="*/ 5300148 h 6046908"/>
              <a:gd name="connsiteX92" fmla="*/ 4367206 w 4527226"/>
              <a:gd name="connsiteY92" fmla="*/ 5726868 h 6046908"/>
              <a:gd name="connsiteX93" fmla="*/ 4527226 w 4527226"/>
              <a:gd name="connsiteY93" fmla="*/ 6046908 h 6046908"/>
              <a:gd name="connsiteX0" fmla="*/ 701986 w 4527226"/>
              <a:gd name="connsiteY0" fmla="*/ 5002968 h 6046908"/>
              <a:gd name="connsiteX1" fmla="*/ 968686 w 4527226"/>
              <a:gd name="connsiteY1" fmla="*/ 4682928 h 6046908"/>
              <a:gd name="connsiteX2" fmla="*/ 961066 w 4527226"/>
              <a:gd name="connsiteY2" fmla="*/ 4644828 h 6046908"/>
              <a:gd name="connsiteX3" fmla="*/ 1342066 w 4527226"/>
              <a:gd name="connsiteY3" fmla="*/ 4172388 h 6046908"/>
              <a:gd name="connsiteX4" fmla="*/ 1258246 w 4527226"/>
              <a:gd name="connsiteY4" fmla="*/ 4012368 h 6046908"/>
              <a:gd name="connsiteX5" fmla="*/ 1204906 w 4527226"/>
              <a:gd name="connsiteY5" fmla="*/ 3928548 h 6046908"/>
              <a:gd name="connsiteX6" fmla="*/ 1174426 w 4527226"/>
              <a:gd name="connsiteY6" fmla="*/ 3768528 h 6046908"/>
              <a:gd name="connsiteX7" fmla="*/ 1151566 w 4527226"/>
              <a:gd name="connsiteY7" fmla="*/ 3699948 h 6046908"/>
              <a:gd name="connsiteX8" fmla="*/ 1143946 w 4527226"/>
              <a:gd name="connsiteY8" fmla="*/ 3669468 h 6046908"/>
              <a:gd name="connsiteX9" fmla="*/ 1067746 w 4527226"/>
              <a:gd name="connsiteY9" fmla="*/ 3661848 h 6046908"/>
              <a:gd name="connsiteX10" fmla="*/ 938206 w 4527226"/>
              <a:gd name="connsiteY10" fmla="*/ 3669468 h 6046908"/>
              <a:gd name="connsiteX11" fmla="*/ 831526 w 4527226"/>
              <a:gd name="connsiteY11" fmla="*/ 3692328 h 6046908"/>
              <a:gd name="connsiteX12" fmla="*/ 610546 w 4527226"/>
              <a:gd name="connsiteY12" fmla="*/ 3738048 h 6046908"/>
              <a:gd name="connsiteX13" fmla="*/ 389566 w 4527226"/>
              <a:gd name="connsiteY13" fmla="*/ 3638988 h 6046908"/>
              <a:gd name="connsiteX14" fmla="*/ 381946 w 4527226"/>
              <a:gd name="connsiteY14" fmla="*/ 3326568 h 6046908"/>
              <a:gd name="connsiteX15" fmla="*/ 420046 w 4527226"/>
              <a:gd name="connsiteY15" fmla="*/ 3227508 h 6046908"/>
              <a:gd name="connsiteX16" fmla="*/ 389566 w 4527226"/>
              <a:gd name="connsiteY16" fmla="*/ 3166548 h 6046908"/>
              <a:gd name="connsiteX17" fmla="*/ 351466 w 4527226"/>
              <a:gd name="connsiteY17" fmla="*/ 3105588 h 6046908"/>
              <a:gd name="connsiteX18" fmla="*/ 397186 w 4527226"/>
              <a:gd name="connsiteY18" fmla="*/ 3021768 h 6046908"/>
              <a:gd name="connsiteX19" fmla="*/ 488626 w 4527226"/>
              <a:gd name="connsiteY19" fmla="*/ 2998908 h 6046908"/>
              <a:gd name="connsiteX20" fmla="*/ 471956 w 4527226"/>
              <a:gd name="connsiteY20" fmla="*/ 2942709 h 6046908"/>
              <a:gd name="connsiteX21" fmla="*/ 435286 w 4527226"/>
              <a:gd name="connsiteY21" fmla="*/ 2930328 h 6046908"/>
              <a:gd name="connsiteX22" fmla="*/ 389566 w 4527226"/>
              <a:gd name="connsiteY22" fmla="*/ 2930328 h 6046908"/>
              <a:gd name="connsiteX23" fmla="*/ 314000 w 4527226"/>
              <a:gd name="connsiteY23" fmla="*/ 2893495 h 6046908"/>
              <a:gd name="connsiteX24" fmla="*/ 320986 w 4527226"/>
              <a:gd name="connsiteY24" fmla="*/ 2846508 h 6046908"/>
              <a:gd name="connsiteX25" fmla="*/ 328606 w 4527226"/>
              <a:gd name="connsiteY25" fmla="*/ 2793168 h 6046908"/>
              <a:gd name="connsiteX26" fmla="*/ 313366 w 4527226"/>
              <a:gd name="connsiteY26" fmla="*/ 2732208 h 6046908"/>
              <a:gd name="connsiteX27" fmla="*/ 267646 w 4527226"/>
              <a:gd name="connsiteY27" fmla="*/ 2671248 h 6046908"/>
              <a:gd name="connsiteX28" fmla="*/ 176206 w 4527226"/>
              <a:gd name="connsiteY28" fmla="*/ 2656008 h 6046908"/>
              <a:gd name="connsiteX29" fmla="*/ 54286 w 4527226"/>
              <a:gd name="connsiteY29" fmla="*/ 2610288 h 6046908"/>
              <a:gd name="connsiteX30" fmla="*/ 7931 w 4527226"/>
              <a:gd name="connsiteY30" fmla="*/ 2563298 h 6046908"/>
              <a:gd name="connsiteX31" fmla="*/ 8566 w 4527226"/>
              <a:gd name="connsiteY31" fmla="*/ 2488368 h 6046908"/>
              <a:gd name="connsiteX32" fmla="*/ 92386 w 4527226"/>
              <a:gd name="connsiteY32" fmla="*/ 2335968 h 6046908"/>
              <a:gd name="connsiteX33" fmla="*/ 221926 w 4527226"/>
              <a:gd name="connsiteY33" fmla="*/ 2175948 h 6046908"/>
              <a:gd name="connsiteX34" fmla="*/ 282886 w 4527226"/>
              <a:gd name="connsiteY34" fmla="*/ 2084508 h 6046908"/>
              <a:gd name="connsiteX35" fmla="*/ 328606 w 4527226"/>
              <a:gd name="connsiteY35" fmla="*/ 1977828 h 6046908"/>
              <a:gd name="connsiteX36" fmla="*/ 359086 w 4527226"/>
              <a:gd name="connsiteY36" fmla="*/ 1871148 h 6046908"/>
              <a:gd name="connsiteX37" fmla="*/ 374326 w 4527226"/>
              <a:gd name="connsiteY37" fmla="*/ 1810188 h 6046908"/>
              <a:gd name="connsiteX38" fmla="*/ 343846 w 4527226"/>
              <a:gd name="connsiteY38" fmla="*/ 1756848 h 6046908"/>
              <a:gd name="connsiteX39" fmla="*/ 328606 w 4527226"/>
              <a:gd name="connsiteY39" fmla="*/ 1680648 h 6046908"/>
              <a:gd name="connsiteX40" fmla="*/ 412426 w 4527226"/>
              <a:gd name="connsiteY40" fmla="*/ 1474908 h 6046908"/>
              <a:gd name="connsiteX41" fmla="*/ 442906 w 4527226"/>
              <a:gd name="connsiteY41" fmla="*/ 1307268 h 6046908"/>
              <a:gd name="connsiteX42" fmla="*/ 465766 w 4527226"/>
              <a:gd name="connsiteY42" fmla="*/ 1192968 h 6046908"/>
              <a:gd name="connsiteX43" fmla="*/ 503866 w 4527226"/>
              <a:gd name="connsiteY43" fmla="*/ 1055808 h 6046908"/>
              <a:gd name="connsiteX44" fmla="*/ 557206 w 4527226"/>
              <a:gd name="connsiteY44" fmla="*/ 888168 h 6046908"/>
              <a:gd name="connsiteX45" fmla="*/ 503866 w 4527226"/>
              <a:gd name="connsiteY45" fmla="*/ 888168 h 6046908"/>
              <a:gd name="connsiteX46" fmla="*/ 412426 w 4527226"/>
              <a:gd name="connsiteY46" fmla="*/ 834828 h 6046908"/>
              <a:gd name="connsiteX47" fmla="*/ 328606 w 4527226"/>
              <a:gd name="connsiteY47" fmla="*/ 789108 h 6046908"/>
              <a:gd name="connsiteX48" fmla="*/ 260026 w 4527226"/>
              <a:gd name="connsiteY48" fmla="*/ 773868 h 6046908"/>
              <a:gd name="connsiteX49" fmla="*/ 214306 w 4527226"/>
              <a:gd name="connsiteY49" fmla="*/ 751008 h 6046908"/>
              <a:gd name="connsiteX50" fmla="*/ 260026 w 4527226"/>
              <a:gd name="connsiteY50" fmla="*/ 674808 h 6046908"/>
              <a:gd name="connsiteX51" fmla="*/ 374326 w 4527226"/>
              <a:gd name="connsiteY51" fmla="*/ 606228 h 6046908"/>
              <a:gd name="connsiteX52" fmla="*/ 557206 w 4527226"/>
              <a:gd name="connsiteY52" fmla="*/ 507168 h 6046908"/>
              <a:gd name="connsiteX53" fmla="*/ 656266 w 4527226"/>
              <a:gd name="connsiteY53" fmla="*/ 423348 h 6046908"/>
              <a:gd name="connsiteX54" fmla="*/ 892486 w 4527226"/>
              <a:gd name="connsiteY54" fmla="*/ 232848 h 6046908"/>
              <a:gd name="connsiteX55" fmla="*/ 1174426 w 4527226"/>
              <a:gd name="connsiteY55" fmla="*/ 80448 h 6046908"/>
              <a:gd name="connsiteX56" fmla="*/ 1593526 w 4527226"/>
              <a:gd name="connsiteY56" fmla="*/ 11868 h 6046908"/>
              <a:gd name="connsiteX57" fmla="*/ 1944046 w 4527226"/>
              <a:gd name="connsiteY57" fmla="*/ 4248 h 6046908"/>
              <a:gd name="connsiteX58" fmla="*/ 2172646 w 4527226"/>
              <a:gd name="connsiteY58" fmla="*/ 4248 h 6046908"/>
              <a:gd name="connsiteX59" fmla="*/ 2393626 w 4527226"/>
              <a:gd name="connsiteY59" fmla="*/ 57588 h 6046908"/>
              <a:gd name="connsiteX60" fmla="*/ 2667946 w 4527226"/>
              <a:gd name="connsiteY60" fmla="*/ 133788 h 6046908"/>
              <a:gd name="connsiteX61" fmla="*/ 2820346 w 4527226"/>
              <a:gd name="connsiteY61" fmla="*/ 202368 h 6046908"/>
              <a:gd name="connsiteX62" fmla="*/ 3102286 w 4527226"/>
              <a:gd name="connsiteY62" fmla="*/ 400488 h 6046908"/>
              <a:gd name="connsiteX63" fmla="*/ 3285166 w 4527226"/>
              <a:gd name="connsiteY63" fmla="*/ 651948 h 6046908"/>
              <a:gd name="connsiteX64" fmla="*/ 3407086 w 4527226"/>
              <a:gd name="connsiteY64" fmla="*/ 918648 h 6046908"/>
              <a:gd name="connsiteX65" fmla="*/ 3475666 w 4527226"/>
              <a:gd name="connsiteY65" fmla="*/ 1238688 h 6046908"/>
              <a:gd name="connsiteX66" fmla="*/ 3506146 w 4527226"/>
              <a:gd name="connsiteY66" fmla="*/ 1543488 h 6046908"/>
              <a:gd name="connsiteX67" fmla="*/ 3506146 w 4527226"/>
              <a:gd name="connsiteY67" fmla="*/ 1962588 h 6046908"/>
              <a:gd name="connsiteX68" fmla="*/ 3338506 w 4527226"/>
              <a:gd name="connsiteY68" fmla="*/ 2305488 h 6046908"/>
              <a:gd name="connsiteX69" fmla="*/ 3254686 w 4527226"/>
              <a:gd name="connsiteY69" fmla="*/ 2473128 h 6046908"/>
              <a:gd name="connsiteX70" fmla="*/ 3132766 w 4527226"/>
              <a:gd name="connsiteY70" fmla="*/ 2663628 h 6046908"/>
              <a:gd name="connsiteX71" fmla="*/ 3071806 w 4527226"/>
              <a:gd name="connsiteY71" fmla="*/ 2838888 h 6046908"/>
              <a:gd name="connsiteX72" fmla="*/ 3064186 w 4527226"/>
              <a:gd name="connsiteY72" fmla="*/ 2915088 h 6046908"/>
              <a:gd name="connsiteX73" fmla="*/ 3018466 w 4527226"/>
              <a:gd name="connsiteY73" fmla="*/ 3014148 h 6046908"/>
              <a:gd name="connsiteX74" fmla="*/ 2980366 w 4527226"/>
              <a:gd name="connsiteY74" fmla="*/ 3082728 h 6046908"/>
              <a:gd name="connsiteX75" fmla="*/ 2957506 w 4527226"/>
              <a:gd name="connsiteY75" fmla="*/ 3120828 h 6046908"/>
              <a:gd name="connsiteX76" fmla="*/ 2957506 w 4527226"/>
              <a:gd name="connsiteY76" fmla="*/ 3555168 h 6046908"/>
              <a:gd name="connsiteX77" fmla="*/ 3010846 w 4527226"/>
              <a:gd name="connsiteY77" fmla="*/ 3539928 h 6046908"/>
              <a:gd name="connsiteX78" fmla="*/ 3109906 w 4527226"/>
              <a:gd name="connsiteY78" fmla="*/ 3570408 h 6046908"/>
              <a:gd name="connsiteX79" fmla="*/ 3140386 w 4527226"/>
              <a:gd name="connsiteY79" fmla="*/ 3631368 h 6046908"/>
              <a:gd name="connsiteX80" fmla="*/ 3117526 w 4527226"/>
              <a:gd name="connsiteY80" fmla="*/ 3738048 h 6046908"/>
              <a:gd name="connsiteX81" fmla="*/ 3125146 w 4527226"/>
              <a:gd name="connsiteY81" fmla="*/ 4103808 h 6046908"/>
              <a:gd name="connsiteX82" fmla="*/ 3163246 w 4527226"/>
              <a:gd name="connsiteY82" fmla="*/ 4157148 h 6046908"/>
              <a:gd name="connsiteX83" fmla="*/ 3201346 w 4527226"/>
              <a:gd name="connsiteY83" fmla="*/ 4164768 h 6046908"/>
              <a:gd name="connsiteX84" fmla="*/ 3231826 w 4527226"/>
              <a:gd name="connsiteY84" fmla="*/ 4172388 h 6046908"/>
              <a:gd name="connsiteX85" fmla="*/ 3285166 w 4527226"/>
              <a:gd name="connsiteY85" fmla="*/ 4294308 h 6046908"/>
              <a:gd name="connsiteX86" fmla="*/ 3300406 w 4527226"/>
              <a:gd name="connsiteY86" fmla="*/ 4347648 h 6046908"/>
              <a:gd name="connsiteX87" fmla="*/ 3330886 w 4527226"/>
              <a:gd name="connsiteY87" fmla="*/ 4408608 h 6046908"/>
              <a:gd name="connsiteX88" fmla="*/ 3551866 w 4527226"/>
              <a:gd name="connsiteY88" fmla="*/ 4644828 h 6046908"/>
              <a:gd name="connsiteX89" fmla="*/ 3887146 w 4527226"/>
              <a:gd name="connsiteY89" fmla="*/ 5025828 h 6046908"/>
              <a:gd name="connsiteX90" fmla="*/ 4100506 w 4527226"/>
              <a:gd name="connsiteY90" fmla="*/ 5300148 h 6046908"/>
              <a:gd name="connsiteX91" fmla="*/ 4367206 w 4527226"/>
              <a:gd name="connsiteY91" fmla="*/ 5726868 h 6046908"/>
              <a:gd name="connsiteX92" fmla="*/ 4527226 w 4527226"/>
              <a:gd name="connsiteY92" fmla="*/ 6046908 h 6046908"/>
              <a:gd name="connsiteX0" fmla="*/ 701986 w 4527226"/>
              <a:gd name="connsiteY0" fmla="*/ 5002968 h 6046908"/>
              <a:gd name="connsiteX1" fmla="*/ 961066 w 4527226"/>
              <a:gd name="connsiteY1" fmla="*/ 4644828 h 6046908"/>
              <a:gd name="connsiteX2" fmla="*/ 1342066 w 4527226"/>
              <a:gd name="connsiteY2" fmla="*/ 4172388 h 6046908"/>
              <a:gd name="connsiteX3" fmla="*/ 1258246 w 4527226"/>
              <a:gd name="connsiteY3" fmla="*/ 4012368 h 6046908"/>
              <a:gd name="connsiteX4" fmla="*/ 1204906 w 4527226"/>
              <a:gd name="connsiteY4" fmla="*/ 3928548 h 6046908"/>
              <a:gd name="connsiteX5" fmla="*/ 1174426 w 4527226"/>
              <a:gd name="connsiteY5" fmla="*/ 3768528 h 6046908"/>
              <a:gd name="connsiteX6" fmla="*/ 1151566 w 4527226"/>
              <a:gd name="connsiteY6" fmla="*/ 3699948 h 6046908"/>
              <a:gd name="connsiteX7" fmla="*/ 1143946 w 4527226"/>
              <a:gd name="connsiteY7" fmla="*/ 3669468 h 6046908"/>
              <a:gd name="connsiteX8" fmla="*/ 1067746 w 4527226"/>
              <a:gd name="connsiteY8" fmla="*/ 3661848 h 6046908"/>
              <a:gd name="connsiteX9" fmla="*/ 938206 w 4527226"/>
              <a:gd name="connsiteY9" fmla="*/ 3669468 h 6046908"/>
              <a:gd name="connsiteX10" fmla="*/ 831526 w 4527226"/>
              <a:gd name="connsiteY10" fmla="*/ 3692328 h 6046908"/>
              <a:gd name="connsiteX11" fmla="*/ 610546 w 4527226"/>
              <a:gd name="connsiteY11" fmla="*/ 3738048 h 6046908"/>
              <a:gd name="connsiteX12" fmla="*/ 389566 w 4527226"/>
              <a:gd name="connsiteY12" fmla="*/ 3638988 h 6046908"/>
              <a:gd name="connsiteX13" fmla="*/ 381946 w 4527226"/>
              <a:gd name="connsiteY13" fmla="*/ 3326568 h 6046908"/>
              <a:gd name="connsiteX14" fmla="*/ 420046 w 4527226"/>
              <a:gd name="connsiteY14" fmla="*/ 3227508 h 6046908"/>
              <a:gd name="connsiteX15" fmla="*/ 389566 w 4527226"/>
              <a:gd name="connsiteY15" fmla="*/ 3166548 h 6046908"/>
              <a:gd name="connsiteX16" fmla="*/ 351466 w 4527226"/>
              <a:gd name="connsiteY16" fmla="*/ 3105588 h 6046908"/>
              <a:gd name="connsiteX17" fmla="*/ 397186 w 4527226"/>
              <a:gd name="connsiteY17" fmla="*/ 3021768 h 6046908"/>
              <a:gd name="connsiteX18" fmla="*/ 488626 w 4527226"/>
              <a:gd name="connsiteY18" fmla="*/ 2998908 h 6046908"/>
              <a:gd name="connsiteX19" fmla="*/ 471956 w 4527226"/>
              <a:gd name="connsiteY19" fmla="*/ 2942709 h 6046908"/>
              <a:gd name="connsiteX20" fmla="*/ 435286 w 4527226"/>
              <a:gd name="connsiteY20" fmla="*/ 2930328 h 6046908"/>
              <a:gd name="connsiteX21" fmla="*/ 389566 w 4527226"/>
              <a:gd name="connsiteY21" fmla="*/ 2930328 h 6046908"/>
              <a:gd name="connsiteX22" fmla="*/ 314000 w 4527226"/>
              <a:gd name="connsiteY22" fmla="*/ 2893495 h 6046908"/>
              <a:gd name="connsiteX23" fmla="*/ 320986 w 4527226"/>
              <a:gd name="connsiteY23" fmla="*/ 2846508 h 6046908"/>
              <a:gd name="connsiteX24" fmla="*/ 328606 w 4527226"/>
              <a:gd name="connsiteY24" fmla="*/ 2793168 h 6046908"/>
              <a:gd name="connsiteX25" fmla="*/ 313366 w 4527226"/>
              <a:gd name="connsiteY25" fmla="*/ 2732208 h 6046908"/>
              <a:gd name="connsiteX26" fmla="*/ 267646 w 4527226"/>
              <a:gd name="connsiteY26" fmla="*/ 2671248 h 6046908"/>
              <a:gd name="connsiteX27" fmla="*/ 176206 w 4527226"/>
              <a:gd name="connsiteY27" fmla="*/ 2656008 h 6046908"/>
              <a:gd name="connsiteX28" fmla="*/ 54286 w 4527226"/>
              <a:gd name="connsiteY28" fmla="*/ 2610288 h 6046908"/>
              <a:gd name="connsiteX29" fmla="*/ 7931 w 4527226"/>
              <a:gd name="connsiteY29" fmla="*/ 2563298 h 6046908"/>
              <a:gd name="connsiteX30" fmla="*/ 8566 w 4527226"/>
              <a:gd name="connsiteY30" fmla="*/ 2488368 h 6046908"/>
              <a:gd name="connsiteX31" fmla="*/ 92386 w 4527226"/>
              <a:gd name="connsiteY31" fmla="*/ 2335968 h 6046908"/>
              <a:gd name="connsiteX32" fmla="*/ 221926 w 4527226"/>
              <a:gd name="connsiteY32" fmla="*/ 2175948 h 6046908"/>
              <a:gd name="connsiteX33" fmla="*/ 282886 w 4527226"/>
              <a:gd name="connsiteY33" fmla="*/ 2084508 h 6046908"/>
              <a:gd name="connsiteX34" fmla="*/ 328606 w 4527226"/>
              <a:gd name="connsiteY34" fmla="*/ 1977828 h 6046908"/>
              <a:gd name="connsiteX35" fmla="*/ 359086 w 4527226"/>
              <a:gd name="connsiteY35" fmla="*/ 1871148 h 6046908"/>
              <a:gd name="connsiteX36" fmla="*/ 374326 w 4527226"/>
              <a:gd name="connsiteY36" fmla="*/ 1810188 h 6046908"/>
              <a:gd name="connsiteX37" fmla="*/ 343846 w 4527226"/>
              <a:gd name="connsiteY37" fmla="*/ 1756848 h 6046908"/>
              <a:gd name="connsiteX38" fmla="*/ 328606 w 4527226"/>
              <a:gd name="connsiteY38" fmla="*/ 1680648 h 6046908"/>
              <a:gd name="connsiteX39" fmla="*/ 412426 w 4527226"/>
              <a:gd name="connsiteY39" fmla="*/ 1474908 h 6046908"/>
              <a:gd name="connsiteX40" fmla="*/ 442906 w 4527226"/>
              <a:gd name="connsiteY40" fmla="*/ 1307268 h 6046908"/>
              <a:gd name="connsiteX41" fmla="*/ 465766 w 4527226"/>
              <a:gd name="connsiteY41" fmla="*/ 1192968 h 6046908"/>
              <a:gd name="connsiteX42" fmla="*/ 503866 w 4527226"/>
              <a:gd name="connsiteY42" fmla="*/ 1055808 h 6046908"/>
              <a:gd name="connsiteX43" fmla="*/ 557206 w 4527226"/>
              <a:gd name="connsiteY43" fmla="*/ 888168 h 6046908"/>
              <a:gd name="connsiteX44" fmla="*/ 503866 w 4527226"/>
              <a:gd name="connsiteY44" fmla="*/ 888168 h 6046908"/>
              <a:gd name="connsiteX45" fmla="*/ 412426 w 4527226"/>
              <a:gd name="connsiteY45" fmla="*/ 834828 h 6046908"/>
              <a:gd name="connsiteX46" fmla="*/ 328606 w 4527226"/>
              <a:gd name="connsiteY46" fmla="*/ 789108 h 6046908"/>
              <a:gd name="connsiteX47" fmla="*/ 260026 w 4527226"/>
              <a:gd name="connsiteY47" fmla="*/ 773868 h 6046908"/>
              <a:gd name="connsiteX48" fmla="*/ 214306 w 4527226"/>
              <a:gd name="connsiteY48" fmla="*/ 751008 h 6046908"/>
              <a:gd name="connsiteX49" fmla="*/ 260026 w 4527226"/>
              <a:gd name="connsiteY49" fmla="*/ 674808 h 6046908"/>
              <a:gd name="connsiteX50" fmla="*/ 374326 w 4527226"/>
              <a:gd name="connsiteY50" fmla="*/ 606228 h 6046908"/>
              <a:gd name="connsiteX51" fmla="*/ 557206 w 4527226"/>
              <a:gd name="connsiteY51" fmla="*/ 507168 h 6046908"/>
              <a:gd name="connsiteX52" fmla="*/ 656266 w 4527226"/>
              <a:gd name="connsiteY52" fmla="*/ 423348 h 6046908"/>
              <a:gd name="connsiteX53" fmla="*/ 892486 w 4527226"/>
              <a:gd name="connsiteY53" fmla="*/ 232848 h 6046908"/>
              <a:gd name="connsiteX54" fmla="*/ 1174426 w 4527226"/>
              <a:gd name="connsiteY54" fmla="*/ 80448 h 6046908"/>
              <a:gd name="connsiteX55" fmla="*/ 1593526 w 4527226"/>
              <a:gd name="connsiteY55" fmla="*/ 11868 h 6046908"/>
              <a:gd name="connsiteX56" fmla="*/ 1944046 w 4527226"/>
              <a:gd name="connsiteY56" fmla="*/ 4248 h 6046908"/>
              <a:gd name="connsiteX57" fmla="*/ 2172646 w 4527226"/>
              <a:gd name="connsiteY57" fmla="*/ 4248 h 6046908"/>
              <a:gd name="connsiteX58" fmla="*/ 2393626 w 4527226"/>
              <a:gd name="connsiteY58" fmla="*/ 57588 h 6046908"/>
              <a:gd name="connsiteX59" fmla="*/ 2667946 w 4527226"/>
              <a:gd name="connsiteY59" fmla="*/ 133788 h 6046908"/>
              <a:gd name="connsiteX60" fmla="*/ 2820346 w 4527226"/>
              <a:gd name="connsiteY60" fmla="*/ 202368 h 6046908"/>
              <a:gd name="connsiteX61" fmla="*/ 3102286 w 4527226"/>
              <a:gd name="connsiteY61" fmla="*/ 400488 h 6046908"/>
              <a:gd name="connsiteX62" fmla="*/ 3285166 w 4527226"/>
              <a:gd name="connsiteY62" fmla="*/ 651948 h 6046908"/>
              <a:gd name="connsiteX63" fmla="*/ 3407086 w 4527226"/>
              <a:gd name="connsiteY63" fmla="*/ 918648 h 6046908"/>
              <a:gd name="connsiteX64" fmla="*/ 3475666 w 4527226"/>
              <a:gd name="connsiteY64" fmla="*/ 1238688 h 6046908"/>
              <a:gd name="connsiteX65" fmla="*/ 3506146 w 4527226"/>
              <a:gd name="connsiteY65" fmla="*/ 1543488 h 6046908"/>
              <a:gd name="connsiteX66" fmla="*/ 3506146 w 4527226"/>
              <a:gd name="connsiteY66" fmla="*/ 1962588 h 6046908"/>
              <a:gd name="connsiteX67" fmla="*/ 3338506 w 4527226"/>
              <a:gd name="connsiteY67" fmla="*/ 2305488 h 6046908"/>
              <a:gd name="connsiteX68" fmla="*/ 3254686 w 4527226"/>
              <a:gd name="connsiteY68" fmla="*/ 2473128 h 6046908"/>
              <a:gd name="connsiteX69" fmla="*/ 3132766 w 4527226"/>
              <a:gd name="connsiteY69" fmla="*/ 2663628 h 6046908"/>
              <a:gd name="connsiteX70" fmla="*/ 3071806 w 4527226"/>
              <a:gd name="connsiteY70" fmla="*/ 2838888 h 6046908"/>
              <a:gd name="connsiteX71" fmla="*/ 3064186 w 4527226"/>
              <a:gd name="connsiteY71" fmla="*/ 2915088 h 6046908"/>
              <a:gd name="connsiteX72" fmla="*/ 3018466 w 4527226"/>
              <a:gd name="connsiteY72" fmla="*/ 3014148 h 6046908"/>
              <a:gd name="connsiteX73" fmla="*/ 2980366 w 4527226"/>
              <a:gd name="connsiteY73" fmla="*/ 3082728 h 6046908"/>
              <a:gd name="connsiteX74" fmla="*/ 2957506 w 4527226"/>
              <a:gd name="connsiteY74" fmla="*/ 3120828 h 6046908"/>
              <a:gd name="connsiteX75" fmla="*/ 2957506 w 4527226"/>
              <a:gd name="connsiteY75" fmla="*/ 3555168 h 6046908"/>
              <a:gd name="connsiteX76" fmla="*/ 3010846 w 4527226"/>
              <a:gd name="connsiteY76" fmla="*/ 3539928 h 6046908"/>
              <a:gd name="connsiteX77" fmla="*/ 3109906 w 4527226"/>
              <a:gd name="connsiteY77" fmla="*/ 3570408 h 6046908"/>
              <a:gd name="connsiteX78" fmla="*/ 3140386 w 4527226"/>
              <a:gd name="connsiteY78" fmla="*/ 3631368 h 6046908"/>
              <a:gd name="connsiteX79" fmla="*/ 3117526 w 4527226"/>
              <a:gd name="connsiteY79" fmla="*/ 3738048 h 6046908"/>
              <a:gd name="connsiteX80" fmla="*/ 3125146 w 4527226"/>
              <a:gd name="connsiteY80" fmla="*/ 4103808 h 6046908"/>
              <a:gd name="connsiteX81" fmla="*/ 3163246 w 4527226"/>
              <a:gd name="connsiteY81" fmla="*/ 4157148 h 6046908"/>
              <a:gd name="connsiteX82" fmla="*/ 3201346 w 4527226"/>
              <a:gd name="connsiteY82" fmla="*/ 4164768 h 6046908"/>
              <a:gd name="connsiteX83" fmla="*/ 3231826 w 4527226"/>
              <a:gd name="connsiteY83" fmla="*/ 4172388 h 6046908"/>
              <a:gd name="connsiteX84" fmla="*/ 3285166 w 4527226"/>
              <a:gd name="connsiteY84" fmla="*/ 4294308 h 6046908"/>
              <a:gd name="connsiteX85" fmla="*/ 3300406 w 4527226"/>
              <a:gd name="connsiteY85" fmla="*/ 4347648 h 6046908"/>
              <a:gd name="connsiteX86" fmla="*/ 3330886 w 4527226"/>
              <a:gd name="connsiteY86" fmla="*/ 4408608 h 6046908"/>
              <a:gd name="connsiteX87" fmla="*/ 3551866 w 4527226"/>
              <a:gd name="connsiteY87" fmla="*/ 4644828 h 6046908"/>
              <a:gd name="connsiteX88" fmla="*/ 3887146 w 4527226"/>
              <a:gd name="connsiteY88" fmla="*/ 5025828 h 6046908"/>
              <a:gd name="connsiteX89" fmla="*/ 4100506 w 4527226"/>
              <a:gd name="connsiteY89" fmla="*/ 5300148 h 6046908"/>
              <a:gd name="connsiteX90" fmla="*/ 4367206 w 4527226"/>
              <a:gd name="connsiteY90" fmla="*/ 5726868 h 6046908"/>
              <a:gd name="connsiteX91" fmla="*/ 4527226 w 4527226"/>
              <a:gd name="connsiteY91" fmla="*/ 6046908 h 6046908"/>
              <a:gd name="connsiteX0" fmla="*/ 707488 w 4527226"/>
              <a:gd name="connsiteY0" fmla="*/ 5008470 h 6046908"/>
              <a:gd name="connsiteX1" fmla="*/ 961066 w 4527226"/>
              <a:gd name="connsiteY1" fmla="*/ 4644828 h 6046908"/>
              <a:gd name="connsiteX2" fmla="*/ 1342066 w 4527226"/>
              <a:gd name="connsiteY2" fmla="*/ 4172388 h 6046908"/>
              <a:gd name="connsiteX3" fmla="*/ 1258246 w 4527226"/>
              <a:gd name="connsiteY3" fmla="*/ 4012368 h 6046908"/>
              <a:gd name="connsiteX4" fmla="*/ 1204906 w 4527226"/>
              <a:gd name="connsiteY4" fmla="*/ 3928548 h 6046908"/>
              <a:gd name="connsiteX5" fmla="*/ 1174426 w 4527226"/>
              <a:gd name="connsiteY5" fmla="*/ 3768528 h 6046908"/>
              <a:gd name="connsiteX6" fmla="*/ 1151566 w 4527226"/>
              <a:gd name="connsiteY6" fmla="*/ 3699948 h 6046908"/>
              <a:gd name="connsiteX7" fmla="*/ 1143946 w 4527226"/>
              <a:gd name="connsiteY7" fmla="*/ 3669468 h 6046908"/>
              <a:gd name="connsiteX8" fmla="*/ 1067746 w 4527226"/>
              <a:gd name="connsiteY8" fmla="*/ 3661848 h 6046908"/>
              <a:gd name="connsiteX9" fmla="*/ 938206 w 4527226"/>
              <a:gd name="connsiteY9" fmla="*/ 3669468 h 6046908"/>
              <a:gd name="connsiteX10" fmla="*/ 831526 w 4527226"/>
              <a:gd name="connsiteY10" fmla="*/ 3692328 h 6046908"/>
              <a:gd name="connsiteX11" fmla="*/ 610546 w 4527226"/>
              <a:gd name="connsiteY11" fmla="*/ 3738048 h 6046908"/>
              <a:gd name="connsiteX12" fmla="*/ 389566 w 4527226"/>
              <a:gd name="connsiteY12" fmla="*/ 3638988 h 6046908"/>
              <a:gd name="connsiteX13" fmla="*/ 381946 w 4527226"/>
              <a:gd name="connsiteY13" fmla="*/ 3326568 h 6046908"/>
              <a:gd name="connsiteX14" fmla="*/ 420046 w 4527226"/>
              <a:gd name="connsiteY14" fmla="*/ 3227508 h 6046908"/>
              <a:gd name="connsiteX15" fmla="*/ 389566 w 4527226"/>
              <a:gd name="connsiteY15" fmla="*/ 3166548 h 6046908"/>
              <a:gd name="connsiteX16" fmla="*/ 351466 w 4527226"/>
              <a:gd name="connsiteY16" fmla="*/ 3105588 h 6046908"/>
              <a:gd name="connsiteX17" fmla="*/ 397186 w 4527226"/>
              <a:gd name="connsiteY17" fmla="*/ 3021768 h 6046908"/>
              <a:gd name="connsiteX18" fmla="*/ 488626 w 4527226"/>
              <a:gd name="connsiteY18" fmla="*/ 2998908 h 6046908"/>
              <a:gd name="connsiteX19" fmla="*/ 471956 w 4527226"/>
              <a:gd name="connsiteY19" fmla="*/ 2942709 h 6046908"/>
              <a:gd name="connsiteX20" fmla="*/ 435286 w 4527226"/>
              <a:gd name="connsiteY20" fmla="*/ 2930328 h 6046908"/>
              <a:gd name="connsiteX21" fmla="*/ 389566 w 4527226"/>
              <a:gd name="connsiteY21" fmla="*/ 2930328 h 6046908"/>
              <a:gd name="connsiteX22" fmla="*/ 314000 w 4527226"/>
              <a:gd name="connsiteY22" fmla="*/ 2893495 h 6046908"/>
              <a:gd name="connsiteX23" fmla="*/ 320986 w 4527226"/>
              <a:gd name="connsiteY23" fmla="*/ 2846508 h 6046908"/>
              <a:gd name="connsiteX24" fmla="*/ 328606 w 4527226"/>
              <a:gd name="connsiteY24" fmla="*/ 2793168 h 6046908"/>
              <a:gd name="connsiteX25" fmla="*/ 313366 w 4527226"/>
              <a:gd name="connsiteY25" fmla="*/ 2732208 h 6046908"/>
              <a:gd name="connsiteX26" fmla="*/ 267646 w 4527226"/>
              <a:gd name="connsiteY26" fmla="*/ 2671248 h 6046908"/>
              <a:gd name="connsiteX27" fmla="*/ 176206 w 4527226"/>
              <a:gd name="connsiteY27" fmla="*/ 2656008 h 6046908"/>
              <a:gd name="connsiteX28" fmla="*/ 54286 w 4527226"/>
              <a:gd name="connsiteY28" fmla="*/ 2610288 h 6046908"/>
              <a:gd name="connsiteX29" fmla="*/ 7931 w 4527226"/>
              <a:gd name="connsiteY29" fmla="*/ 2563298 h 6046908"/>
              <a:gd name="connsiteX30" fmla="*/ 8566 w 4527226"/>
              <a:gd name="connsiteY30" fmla="*/ 2488368 h 6046908"/>
              <a:gd name="connsiteX31" fmla="*/ 92386 w 4527226"/>
              <a:gd name="connsiteY31" fmla="*/ 2335968 h 6046908"/>
              <a:gd name="connsiteX32" fmla="*/ 221926 w 4527226"/>
              <a:gd name="connsiteY32" fmla="*/ 2175948 h 6046908"/>
              <a:gd name="connsiteX33" fmla="*/ 282886 w 4527226"/>
              <a:gd name="connsiteY33" fmla="*/ 2084508 h 6046908"/>
              <a:gd name="connsiteX34" fmla="*/ 328606 w 4527226"/>
              <a:gd name="connsiteY34" fmla="*/ 1977828 h 6046908"/>
              <a:gd name="connsiteX35" fmla="*/ 359086 w 4527226"/>
              <a:gd name="connsiteY35" fmla="*/ 1871148 h 6046908"/>
              <a:gd name="connsiteX36" fmla="*/ 374326 w 4527226"/>
              <a:gd name="connsiteY36" fmla="*/ 1810188 h 6046908"/>
              <a:gd name="connsiteX37" fmla="*/ 343846 w 4527226"/>
              <a:gd name="connsiteY37" fmla="*/ 1756848 h 6046908"/>
              <a:gd name="connsiteX38" fmla="*/ 328606 w 4527226"/>
              <a:gd name="connsiteY38" fmla="*/ 1680648 h 6046908"/>
              <a:gd name="connsiteX39" fmla="*/ 412426 w 4527226"/>
              <a:gd name="connsiteY39" fmla="*/ 1474908 h 6046908"/>
              <a:gd name="connsiteX40" fmla="*/ 442906 w 4527226"/>
              <a:gd name="connsiteY40" fmla="*/ 1307268 h 6046908"/>
              <a:gd name="connsiteX41" fmla="*/ 465766 w 4527226"/>
              <a:gd name="connsiteY41" fmla="*/ 1192968 h 6046908"/>
              <a:gd name="connsiteX42" fmla="*/ 503866 w 4527226"/>
              <a:gd name="connsiteY42" fmla="*/ 1055808 h 6046908"/>
              <a:gd name="connsiteX43" fmla="*/ 557206 w 4527226"/>
              <a:gd name="connsiteY43" fmla="*/ 888168 h 6046908"/>
              <a:gd name="connsiteX44" fmla="*/ 503866 w 4527226"/>
              <a:gd name="connsiteY44" fmla="*/ 888168 h 6046908"/>
              <a:gd name="connsiteX45" fmla="*/ 412426 w 4527226"/>
              <a:gd name="connsiteY45" fmla="*/ 834828 h 6046908"/>
              <a:gd name="connsiteX46" fmla="*/ 328606 w 4527226"/>
              <a:gd name="connsiteY46" fmla="*/ 789108 h 6046908"/>
              <a:gd name="connsiteX47" fmla="*/ 260026 w 4527226"/>
              <a:gd name="connsiteY47" fmla="*/ 773868 h 6046908"/>
              <a:gd name="connsiteX48" fmla="*/ 214306 w 4527226"/>
              <a:gd name="connsiteY48" fmla="*/ 751008 h 6046908"/>
              <a:gd name="connsiteX49" fmla="*/ 260026 w 4527226"/>
              <a:gd name="connsiteY49" fmla="*/ 674808 h 6046908"/>
              <a:gd name="connsiteX50" fmla="*/ 374326 w 4527226"/>
              <a:gd name="connsiteY50" fmla="*/ 606228 h 6046908"/>
              <a:gd name="connsiteX51" fmla="*/ 557206 w 4527226"/>
              <a:gd name="connsiteY51" fmla="*/ 507168 h 6046908"/>
              <a:gd name="connsiteX52" fmla="*/ 656266 w 4527226"/>
              <a:gd name="connsiteY52" fmla="*/ 423348 h 6046908"/>
              <a:gd name="connsiteX53" fmla="*/ 892486 w 4527226"/>
              <a:gd name="connsiteY53" fmla="*/ 232848 h 6046908"/>
              <a:gd name="connsiteX54" fmla="*/ 1174426 w 4527226"/>
              <a:gd name="connsiteY54" fmla="*/ 80448 h 6046908"/>
              <a:gd name="connsiteX55" fmla="*/ 1593526 w 4527226"/>
              <a:gd name="connsiteY55" fmla="*/ 11868 h 6046908"/>
              <a:gd name="connsiteX56" fmla="*/ 1944046 w 4527226"/>
              <a:gd name="connsiteY56" fmla="*/ 4248 h 6046908"/>
              <a:gd name="connsiteX57" fmla="*/ 2172646 w 4527226"/>
              <a:gd name="connsiteY57" fmla="*/ 4248 h 6046908"/>
              <a:gd name="connsiteX58" fmla="*/ 2393626 w 4527226"/>
              <a:gd name="connsiteY58" fmla="*/ 57588 h 6046908"/>
              <a:gd name="connsiteX59" fmla="*/ 2667946 w 4527226"/>
              <a:gd name="connsiteY59" fmla="*/ 133788 h 6046908"/>
              <a:gd name="connsiteX60" fmla="*/ 2820346 w 4527226"/>
              <a:gd name="connsiteY60" fmla="*/ 202368 h 6046908"/>
              <a:gd name="connsiteX61" fmla="*/ 3102286 w 4527226"/>
              <a:gd name="connsiteY61" fmla="*/ 400488 h 6046908"/>
              <a:gd name="connsiteX62" fmla="*/ 3285166 w 4527226"/>
              <a:gd name="connsiteY62" fmla="*/ 651948 h 6046908"/>
              <a:gd name="connsiteX63" fmla="*/ 3407086 w 4527226"/>
              <a:gd name="connsiteY63" fmla="*/ 918648 h 6046908"/>
              <a:gd name="connsiteX64" fmla="*/ 3475666 w 4527226"/>
              <a:gd name="connsiteY64" fmla="*/ 1238688 h 6046908"/>
              <a:gd name="connsiteX65" fmla="*/ 3506146 w 4527226"/>
              <a:gd name="connsiteY65" fmla="*/ 1543488 h 6046908"/>
              <a:gd name="connsiteX66" fmla="*/ 3506146 w 4527226"/>
              <a:gd name="connsiteY66" fmla="*/ 1962588 h 6046908"/>
              <a:gd name="connsiteX67" fmla="*/ 3338506 w 4527226"/>
              <a:gd name="connsiteY67" fmla="*/ 2305488 h 6046908"/>
              <a:gd name="connsiteX68" fmla="*/ 3254686 w 4527226"/>
              <a:gd name="connsiteY68" fmla="*/ 2473128 h 6046908"/>
              <a:gd name="connsiteX69" fmla="*/ 3132766 w 4527226"/>
              <a:gd name="connsiteY69" fmla="*/ 2663628 h 6046908"/>
              <a:gd name="connsiteX70" fmla="*/ 3071806 w 4527226"/>
              <a:gd name="connsiteY70" fmla="*/ 2838888 h 6046908"/>
              <a:gd name="connsiteX71" fmla="*/ 3064186 w 4527226"/>
              <a:gd name="connsiteY71" fmla="*/ 2915088 h 6046908"/>
              <a:gd name="connsiteX72" fmla="*/ 3018466 w 4527226"/>
              <a:gd name="connsiteY72" fmla="*/ 3014148 h 6046908"/>
              <a:gd name="connsiteX73" fmla="*/ 2980366 w 4527226"/>
              <a:gd name="connsiteY73" fmla="*/ 3082728 h 6046908"/>
              <a:gd name="connsiteX74" fmla="*/ 2957506 w 4527226"/>
              <a:gd name="connsiteY74" fmla="*/ 3120828 h 6046908"/>
              <a:gd name="connsiteX75" fmla="*/ 2957506 w 4527226"/>
              <a:gd name="connsiteY75" fmla="*/ 3555168 h 6046908"/>
              <a:gd name="connsiteX76" fmla="*/ 3010846 w 4527226"/>
              <a:gd name="connsiteY76" fmla="*/ 3539928 h 6046908"/>
              <a:gd name="connsiteX77" fmla="*/ 3109906 w 4527226"/>
              <a:gd name="connsiteY77" fmla="*/ 3570408 h 6046908"/>
              <a:gd name="connsiteX78" fmla="*/ 3140386 w 4527226"/>
              <a:gd name="connsiteY78" fmla="*/ 3631368 h 6046908"/>
              <a:gd name="connsiteX79" fmla="*/ 3117526 w 4527226"/>
              <a:gd name="connsiteY79" fmla="*/ 3738048 h 6046908"/>
              <a:gd name="connsiteX80" fmla="*/ 3125146 w 4527226"/>
              <a:gd name="connsiteY80" fmla="*/ 4103808 h 6046908"/>
              <a:gd name="connsiteX81" fmla="*/ 3163246 w 4527226"/>
              <a:gd name="connsiteY81" fmla="*/ 4157148 h 6046908"/>
              <a:gd name="connsiteX82" fmla="*/ 3201346 w 4527226"/>
              <a:gd name="connsiteY82" fmla="*/ 4164768 h 6046908"/>
              <a:gd name="connsiteX83" fmla="*/ 3231826 w 4527226"/>
              <a:gd name="connsiteY83" fmla="*/ 4172388 h 6046908"/>
              <a:gd name="connsiteX84" fmla="*/ 3285166 w 4527226"/>
              <a:gd name="connsiteY84" fmla="*/ 4294308 h 6046908"/>
              <a:gd name="connsiteX85" fmla="*/ 3300406 w 4527226"/>
              <a:gd name="connsiteY85" fmla="*/ 4347648 h 6046908"/>
              <a:gd name="connsiteX86" fmla="*/ 3330886 w 4527226"/>
              <a:gd name="connsiteY86" fmla="*/ 4408608 h 6046908"/>
              <a:gd name="connsiteX87" fmla="*/ 3551866 w 4527226"/>
              <a:gd name="connsiteY87" fmla="*/ 4644828 h 6046908"/>
              <a:gd name="connsiteX88" fmla="*/ 3887146 w 4527226"/>
              <a:gd name="connsiteY88" fmla="*/ 5025828 h 6046908"/>
              <a:gd name="connsiteX89" fmla="*/ 4100506 w 4527226"/>
              <a:gd name="connsiteY89" fmla="*/ 5300148 h 6046908"/>
              <a:gd name="connsiteX90" fmla="*/ 4367206 w 4527226"/>
              <a:gd name="connsiteY90" fmla="*/ 5726868 h 6046908"/>
              <a:gd name="connsiteX91" fmla="*/ 4527226 w 4527226"/>
              <a:gd name="connsiteY91" fmla="*/ 6046908 h 6046908"/>
              <a:gd name="connsiteX0" fmla="*/ 707488 w 4367206"/>
              <a:gd name="connsiteY0" fmla="*/ 5008470 h 5726868"/>
              <a:gd name="connsiteX1" fmla="*/ 961066 w 4367206"/>
              <a:gd name="connsiteY1" fmla="*/ 4644828 h 5726868"/>
              <a:gd name="connsiteX2" fmla="*/ 1342066 w 4367206"/>
              <a:gd name="connsiteY2" fmla="*/ 4172388 h 5726868"/>
              <a:gd name="connsiteX3" fmla="*/ 1258246 w 4367206"/>
              <a:gd name="connsiteY3" fmla="*/ 4012368 h 5726868"/>
              <a:gd name="connsiteX4" fmla="*/ 1204906 w 4367206"/>
              <a:gd name="connsiteY4" fmla="*/ 3928548 h 5726868"/>
              <a:gd name="connsiteX5" fmla="*/ 1174426 w 4367206"/>
              <a:gd name="connsiteY5" fmla="*/ 3768528 h 5726868"/>
              <a:gd name="connsiteX6" fmla="*/ 1151566 w 4367206"/>
              <a:gd name="connsiteY6" fmla="*/ 3699948 h 5726868"/>
              <a:gd name="connsiteX7" fmla="*/ 1143946 w 4367206"/>
              <a:gd name="connsiteY7" fmla="*/ 3669468 h 5726868"/>
              <a:gd name="connsiteX8" fmla="*/ 1067746 w 4367206"/>
              <a:gd name="connsiteY8" fmla="*/ 3661848 h 5726868"/>
              <a:gd name="connsiteX9" fmla="*/ 938206 w 4367206"/>
              <a:gd name="connsiteY9" fmla="*/ 3669468 h 5726868"/>
              <a:gd name="connsiteX10" fmla="*/ 831526 w 4367206"/>
              <a:gd name="connsiteY10" fmla="*/ 3692328 h 5726868"/>
              <a:gd name="connsiteX11" fmla="*/ 610546 w 4367206"/>
              <a:gd name="connsiteY11" fmla="*/ 3738048 h 5726868"/>
              <a:gd name="connsiteX12" fmla="*/ 389566 w 4367206"/>
              <a:gd name="connsiteY12" fmla="*/ 3638988 h 5726868"/>
              <a:gd name="connsiteX13" fmla="*/ 381946 w 4367206"/>
              <a:gd name="connsiteY13" fmla="*/ 3326568 h 5726868"/>
              <a:gd name="connsiteX14" fmla="*/ 420046 w 4367206"/>
              <a:gd name="connsiteY14" fmla="*/ 3227508 h 5726868"/>
              <a:gd name="connsiteX15" fmla="*/ 389566 w 4367206"/>
              <a:gd name="connsiteY15" fmla="*/ 3166548 h 5726868"/>
              <a:gd name="connsiteX16" fmla="*/ 351466 w 4367206"/>
              <a:gd name="connsiteY16" fmla="*/ 3105588 h 5726868"/>
              <a:gd name="connsiteX17" fmla="*/ 397186 w 4367206"/>
              <a:gd name="connsiteY17" fmla="*/ 3021768 h 5726868"/>
              <a:gd name="connsiteX18" fmla="*/ 488626 w 4367206"/>
              <a:gd name="connsiteY18" fmla="*/ 2998908 h 5726868"/>
              <a:gd name="connsiteX19" fmla="*/ 471956 w 4367206"/>
              <a:gd name="connsiteY19" fmla="*/ 2942709 h 5726868"/>
              <a:gd name="connsiteX20" fmla="*/ 435286 w 4367206"/>
              <a:gd name="connsiteY20" fmla="*/ 2930328 h 5726868"/>
              <a:gd name="connsiteX21" fmla="*/ 389566 w 4367206"/>
              <a:gd name="connsiteY21" fmla="*/ 2930328 h 5726868"/>
              <a:gd name="connsiteX22" fmla="*/ 314000 w 4367206"/>
              <a:gd name="connsiteY22" fmla="*/ 2893495 h 5726868"/>
              <a:gd name="connsiteX23" fmla="*/ 320986 w 4367206"/>
              <a:gd name="connsiteY23" fmla="*/ 2846508 h 5726868"/>
              <a:gd name="connsiteX24" fmla="*/ 328606 w 4367206"/>
              <a:gd name="connsiteY24" fmla="*/ 2793168 h 5726868"/>
              <a:gd name="connsiteX25" fmla="*/ 313366 w 4367206"/>
              <a:gd name="connsiteY25" fmla="*/ 2732208 h 5726868"/>
              <a:gd name="connsiteX26" fmla="*/ 267646 w 4367206"/>
              <a:gd name="connsiteY26" fmla="*/ 2671248 h 5726868"/>
              <a:gd name="connsiteX27" fmla="*/ 176206 w 4367206"/>
              <a:gd name="connsiteY27" fmla="*/ 2656008 h 5726868"/>
              <a:gd name="connsiteX28" fmla="*/ 54286 w 4367206"/>
              <a:gd name="connsiteY28" fmla="*/ 2610288 h 5726868"/>
              <a:gd name="connsiteX29" fmla="*/ 7931 w 4367206"/>
              <a:gd name="connsiteY29" fmla="*/ 2563298 h 5726868"/>
              <a:gd name="connsiteX30" fmla="*/ 8566 w 4367206"/>
              <a:gd name="connsiteY30" fmla="*/ 2488368 h 5726868"/>
              <a:gd name="connsiteX31" fmla="*/ 92386 w 4367206"/>
              <a:gd name="connsiteY31" fmla="*/ 2335968 h 5726868"/>
              <a:gd name="connsiteX32" fmla="*/ 221926 w 4367206"/>
              <a:gd name="connsiteY32" fmla="*/ 2175948 h 5726868"/>
              <a:gd name="connsiteX33" fmla="*/ 282886 w 4367206"/>
              <a:gd name="connsiteY33" fmla="*/ 2084508 h 5726868"/>
              <a:gd name="connsiteX34" fmla="*/ 328606 w 4367206"/>
              <a:gd name="connsiteY34" fmla="*/ 1977828 h 5726868"/>
              <a:gd name="connsiteX35" fmla="*/ 359086 w 4367206"/>
              <a:gd name="connsiteY35" fmla="*/ 1871148 h 5726868"/>
              <a:gd name="connsiteX36" fmla="*/ 374326 w 4367206"/>
              <a:gd name="connsiteY36" fmla="*/ 1810188 h 5726868"/>
              <a:gd name="connsiteX37" fmla="*/ 343846 w 4367206"/>
              <a:gd name="connsiteY37" fmla="*/ 1756848 h 5726868"/>
              <a:gd name="connsiteX38" fmla="*/ 328606 w 4367206"/>
              <a:gd name="connsiteY38" fmla="*/ 1680648 h 5726868"/>
              <a:gd name="connsiteX39" fmla="*/ 412426 w 4367206"/>
              <a:gd name="connsiteY39" fmla="*/ 1474908 h 5726868"/>
              <a:gd name="connsiteX40" fmla="*/ 442906 w 4367206"/>
              <a:gd name="connsiteY40" fmla="*/ 1307268 h 5726868"/>
              <a:gd name="connsiteX41" fmla="*/ 465766 w 4367206"/>
              <a:gd name="connsiteY41" fmla="*/ 1192968 h 5726868"/>
              <a:gd name="connsiteX42" fmla="*/ 503866 w 4367206"/>
              <a:gd name="connsiteY42" fmla="*/ 1055808 h 5726868"/>
              <a:gd name="connsiteX43" fmla="*/ 557206 w 4367206"/>
              <a:gd name="connsiteY43" fmla="*/ 888168 h 5726868"/>
              <a:gd name="connsiteX44" fmla="*/ 503866 w 4367206"/>
              <a:gd name="connsiteY44" fmla="*/ 888168 h 5726868"/>
              <a:gd name="connsiteX45" fmla="*/ 412426 w 4367206"/>
              <a:gd name="connsiteY45" fmla="*/ 834828 h 5726868"/>
              <a:gd name="connsiteX46" fmla="*/ 328606 w 4367206"/>
              <a:gd name="connsiteY46" fmla="*/ 789108 h 5726868"/>
              <a:gd name="connsiteX47" fmla="*/ 260026 w 4367206"/>
              <a:gd name="connsiteY47" fmla="*/ 773868 h 5726868"/>
              <a:gd name="connsiteX48" fmla="*/ 214306 w 4367206"/>
              <a:gd name="connsiteY48" fmla="*/ 751008 h 5726868"/>
              <a:gd name="connsiteX49" fmla="*/ 260026 w 4367206"/>
              <a:gd name="connsiteY49" fmla="*/ 674808 h 5726868"/>
              <a:gd name="connsiteX50" fmla="*/ 374326 w 4367206"/>
              <a:gd name="connsiteY50" fmla="*/ 606228 h 5726868"/>
              <a:gd name="connsiteX51" fmla="*/ 557206 w 4367206"/>
              <a:gd name="connsiteY51" fmla="*/ 507168 h 5726868"/>
              <a:gd name="connsiteX52" fmla="*/ 656266 w 4367206"/>
              <a:gd name="connsiteY52" fmla="*/ 423348 h 5726868"/>
              <a:gd name="connsiteX53" fmla="*/ 892486 w 4367206"/>
              <a:gd name="connsiteY53" fmla="*/ 232848 h 5726868"/>
              <a:gd name="connsiteX54" fmla="*/ 1174426 w 4367206"/>
              <a:gd name="connsiteY54" fmla="*/ 80448 h 5726868"/>
              <a:gd name="connsiteX55" fmla="*/ 1593526 w 4367206"/>
              <a:gd name="connsiteY55" fmla="*/ 11868 h 5726868"/>
              <a:gd name="connsiteX56" fmla="*/ 1944046 w 4367206"/>
              <a:gd name="connsiteY56" fmla="*/ 4248 h 5726868"/>
              <a:gd name="connsiteX57" fmla="*/ 2172646 w 4367206"/>
              <a:gd name="connsiteY57" fmla="*/ 4248 h 5726868"/>
              <a:gd name="connsiteX58" fmla="*/ 2393626 w 4367206"/>
              <a:gd name="connsiteY58" fmla="*/ 57588 h 5726868"/>
              <a:gd name="connsiteX59" fmla="*/ 2667946 w 4367206"/>
              <a:gd name="connsiteY59" fmla="*/ 133788 h 5726868"/>
              <a:gd name="connsiteX60" fmla="*/ 2820346 w 4367206"/>
              <a:gd name="connsiteY60" fmla="*/ 202368 h 5726868"/>
              <a:gd name="connsiteX61" fmla="*/ 3102286 w 4367206"/>
              <a:gd name="connsiteY61" fmla="*/ 400488 h 5726868"/>
              <a:gd name="connsiteX62" fmla="*/ 3285166 w 4367206"/>
              <a:gd name="connsiteY62" fmla="*/ 651948 h 5726868"/>
              <a:gd name="connsiteX63" fmla="*/ 3407086 w 4367206"/>
              <a:gd name="connsiteY63" fmla="*/ 918648 h 5726868"/>
              <a:gd name="connsiteX64" fmla="*/ 3475666 w 4367206"/>
              <a:gd name="connsiteY64" fmla="*/ 1238688 h 5726868"/>
              <a:gd name="connsiteX65" fmla="*/ 3506146 w 4367206"/>
              <a:gd name="connsiteY65" fmla="*/ 1543488 h 5726868"/>
              <a:gd name="connsiteX66" fmla="*/ 3506146 w 4367206"/>
              <a:gd name="connsiteY66" fmla="*/ 1962588 h 5726868"/>
              <a:gd name="connsiteX67" fmla="*/ 3338506 w 4367206"/>
              <a:gd name="connsiteY67" fmla="*/ 2305488 h 5726868"/>
              <a:gd name="connsiteX68" fmla="*/ 3254686 w 4367206"/>
              <a:gd name="connsiteY68" fmla="*/ 2473128 h 5726868"/>
              <a:gd name="connsiteX69" fmla="*/ 3132766 w 4367206"/>
              <a:gd name="connsiteY69" fmla="*/ 2663628 h 5726868"/>
              <a:gd name="connsiteX70" fmla="*/ 3071806 w 4367206"/>
              <a:gd name="connsiteY70" fmla="*/ 2838888 h 5726868"/>
              <a:gd name="connsiteX71" fmla="*/ 3064186 w 4367206"/>
              <a:gd name="connsiteY71" fmla="*/ 2915088 h 5726868"/>
              <a:gd name="connsiteX72" fmla="*/ 3018466 w 4367206"/>
              <a:gd name="connsiteY72" fmla="*/ 3014148 h 5726868"/>
              <a:gd name="connsiteX73" fmla="*/ 2980366 w 4367206"/>
              <a:gd name="connsiteY73" fmla="*/ 3082728 h 5726868"/>
              <a:gd name="connsiteX74" fmla="*/ 2957506 w 4367206"/>
              <a:gd name="connsiteY74" fmla="*/ 3120828 h 5726868"/>
              <a:gd name="connsiteX75" fmla="*/ 2957506 w 4367206"/>
              <a:gd name="connsiteY75" fmla="*/ 3555168 h 5726868"/>
              <a:gd name="connsiteX76" fmla="*/ 3010846 w 4367206"/>
              <a:gd name="connsiteY76" fmla="*/ 3539928 h 5726868"/>
              <a:gd name="connsiteX77" fmla="*/ 3109906 w 4367206"/>
              <a:gd name="connsiteY77" fmla="*/ 3570408 h 5726868"/>
              <a:gd name="connsiteX78" fmla="*/ 3140386 w 4367206"/>
              <a:gd name="connsiteY78" fmla="*/ 3631368 h 5726868"/>
              <a:gd name="connsiteX79" fmla="*/ 3117526 w 4367206"/>
              <a:gd name="connsiteY79" fmla="*/ 3738048 h 5726868"/>
              <a:gd name="connsiteX80" fmla="*/ 3125146 w 4367206"/>
              <a:gd name="connsiteY80" fmla="*/ 4103808 h 5726868"/>
              <a:gd name="connsiteX81" fmla="*/ 3163246 w 4367206"/>
              <a:gd name="connsiteY81" fmla="*/ 4157148 h 5726868"/>
              <a:gd name="connsiteX82" fmla="*/ 3201346 w 4367206"/>
              <a:gd name="connsiteY82" fmla="*/ 4164768 h 5726868"/>
              <a:gd name="connsiteX83" fmla="*/ 3231826 w 4367206"/>
              <a:gd name="connsiteY83" fmla="*/ 4172388 h 5726868"/>
              <a:gd name="connsiteX84" fmla="*/ 3285166 w 4367206"/>
              <a:gd name="connsiteY84" fmla="*/ 4294308 h 5726868"/>
              <a:gd name="connsiteX85" fmla="*/ 3300406 w 4367206"/>
              <a:gd name="connsiteY85" fmla="*/ 4347648 h 5726868"/>
              <a:gd name="connsiteX86" fmla="*/ 3330886 w 4367206"/>
              <a:gd name="connsiteY86" fmla="*/ 4408608 h 5726868"/>
              <a:gd name="connsiteX87" fmla="*/ 3551866 w 4367206"/>
              <a:gd name="connsiteY87" fmla="*/ 4644828 h 5726868"/>
              <a:gd name="connsiteX88" fmla="*/ 3887146 w 4367206"/>
              <a:gd name="connsiteY88" fmla="*/ 5025828 h 5726868"/>
              <a:gd name="connsiteX89" fmla="*/ 4100506 w 4367206"/>
              <a:gd name="connsiteY89" fmla="*/ 5300148 h 5726868"/>
              <a:gd name="connsiteX90" fmla="*/ 4367206 w 4367206"/>
              <a:gd name="connsiteY90" fmla="*/ 5726868 h 5726868"/>
              <a:gd name="connsiteX0" fmla="*/ 707488 w 4100506"/>
              <a:gd name="connsiteY0" fmla="*/ 5008470 h 5300148"/>
              <a:gd name="connsiteX1" fmla="*/ 961066 w 4100506"/>
              <a:gd name="connsiteY1" fmla="*/ 4644828 h 5300148"/>
              <a:gd name="connsiteX2" fmla="*/ 1342066 w 4100506"/>
              <a:gd name="connsiteY2" fmla="*/ 4172388 h 5300148"/>
              <a:gd name="connsiteX3" fmla="*/ 1258246 w 4100506"/>
              <a:gd name="connsiteY3" fmla="*/ 4012368 h 5300148"/>
              <a:gd name="connsiteX4" fmla="*/ 1204906 w 4100506"/>
              <a:gd name="connsiteY4" fmla="*/ 3928548 h 5300148"/>
              <a:gd name="connsiteX5" fmla="*/ 1174426 w 4100506"/>
              <a:gd name="connsiteY5" fmla="*/ 3768528 h 5300148"/>
              <a:gd name="connsiteX6" fmla="*/ 1151566 w 4100506"/>
              <a:gd name="connsiteY6" fmla="*/ 3699948 h 5300148"/>
              <a:gd name="connsiteX7" fmla="*/ 1143946 w 4100506"/>
              <a:gd name="connsiteY7" fmla="*/ 3669468 h 5300148"/>
              <a:gd name="connsiteX8" fmla="*/ 1067746 w 4100506"/>
              <a:gd name="connsiteY8" fmla="*/ 3661848 h 5300148"/>
              <a:gd name="connsiteX9" fmla="*/ 938206 w 4100506"/>
              <a:gd name="connsiteY9" fmla="*/ 3669468 h 5300148"/>
              <a:gd name="connsiteX10" fmla="*/ 831526 w 4100506"/>
              <a:gd name="connsiteY10" fmla="*/ 3692328 h 5300148"/>
              <a:gd name="connsiteX11" fmla="*/ 610546 w 4100506"/>
              <a:gd name="connsiteY11" fmla="*/ 3738048 h 5300148"/>
              <a:gd name="connsiteX12" fmla="*/ 389566 w 4100506"/>
              <a:gd name="connsiteY12" fmla="*/ 3638988 h 5300148"/>
              <a:gd name="connsiteX13" fmla="*/ 381946 w 4100506"/>
              <a:gd name="connsiteY13" fmla="*/ 3326568 h 5300148"/>
              <a:gd name="connsiteX14" fmla="*/ 420046 w 4100506"/>
              <a:gd name="connsiteY14" fmla="*/ 3227508 h 5300148"/>
              <a:gd name="connsiteX15" fmla="*/ 389566 w 4100506"/>
              <a:gd name="connsiteY15" fmla="*/ 3166548 h 5300148"/>
              <a:gd name="connsiteX16" fmla="*/ 351466 w 4100506"/>
              <a:gd name="connsiteY16" fmla="*/ 3105588 h 5300148"/>
              <a:gd name="connsiteX17" fmla="*/ 397186 w 4100506"/>
              <a:gd name="connsiteY17" fmla="*/ 3021768 h 5300148"/>
              <a:gd name="connsiteX18" fmla="*/ 488626 w 4100506"/>
              <a:gd name="connsiteY18" fmla="*/ 2998908 h 5300148"/>
              <a:gd name="connsiteX19" fmla="*/ 471956 w 4100506"/>
              <a:gd name="connsiteY19" fmla="*/ 2942709 h 5300148"/>
              <a:gd name="connsiteX20" fmla="*/ 435286 w 4100506"/>
              <a:gd name="connsiteY20" fmla="*/ 2930328 h 5300148"/>
              <a:gd name="connsiteX21" fmla="*/ 389566 w 4100506"/>
              <a:gd name="connsiteY21" fmla="*/ 2930328 h 5300148"/>
              <a:gd name="connsiteX22" fmla="*/ 314000 w 4100506"/>
              <a:gd name="connsiteY22" fmla="*/ 2893495 h 5300148"/>
              <a:gd name="connsiteX23" fmla="*/ 320986 w 4100506"/>
              <a:gd name="connsiteY23" fmla="*/ 2846508 h 5300148"/>
              <a:gd name="connsiteX24" fmla="*/ 328606 w 4100506"/>
              <a:gd name="connsiteY24" fmla="*/ 2793168 h 5300148"/>
              <a:gd name="connsiteX25" fmla="*/ 313366 w 4100506"/>
              <a:gd name="connsiteY25" fmla="*/ 2732208 h 5300148"/>
              <a:gd name="connsiteX26" fmla="*/ 267646 w 4100506"/>
              <a:gd name="connsiteY26" fmla="*/ 2671248 h 5300148"/>
              <a:gd name="connsiteX27" fmla="*/ 176206 w 4100506"/>
              <a:gd name="connsiteY27" fmla="*/ 2656008 h 5300148"/>
              <a:gd name="connsiteX28" fmla="*/ 54286 w 4100506"/>
              <a:gd name="connsiteY28" fmla="*/ 2610288 h 5300148"/>
              <a:gd name="connsiteX29" fmla="*/ 7931 w 4100506"/>
              <a:gd name="connsiteY29" fmla="*/ 2563298 h 5300148"/>
              <a:gd name="connsiteX30" fmla="*/ 8566 w 4100506"/>
              <a:gd name="connsiteY30" fmla="*/ 2488368 h 5300148"/>
              <a:gd name="connsiteX31" fmla="*/ 92386 w 4100506"/>
              <a:gd name="connsiteY31" fmla="*/ 2335968 h 5300148"/>
              <a:gd name="connsiteX32" fmla="*/ 221926 w 4100506"/>
              <a:gd name="connsiteY32" fmla="*/ 2175948 h 5300148"/>
              <a:gd name="connsiteX33" fmla="*/ 282886 w 4100506"/>
              <a:gd name="connsiteY33" fmla="*/ 2084508 h 5300148"/>
              <a:gd name="connsiteX34" fmla="*/ 328606 w 4100506"/>
              <a:gd name="connsiteY34" fmla="*/ 1977828 h 5300148"/>
              <a:gd name="connsiteX35" fmla="*/ 359086 w 4100506"/>
              <a:gd name="connsiteY35" fmla="*/ 1871148 h 5300148"/>
              <a:gd name="connsiteX36" fmla="*/ 374326 w 4100506"/>
              <a:gd name="connsiteY36" fmla="*/ 1810188 h 5300148"/>
              <a:gd name="connsiteX37" fmla="*/ 343846 w 4100506"/>
              <a:gd name="connsiteY37" fmla="*/ 1756848 h 5300148"/>
              <a:gd name="connsiteX38" fmla="*/ 328606 w 4100506"/>
              <a:gd name="connsiteY38" fmla="*/ 1680648 h 5300148"/>
              <a:gd name="connsiteX39" fmla="*/ 412426 w 4100506"/>
              <a:gd name="connsiteY39" fmla="*/ 1474908 h 5300148"/>
              <a:gd name="connsiteX40" fmla="*/ 442906 w 4100506"/>
              <a:gd name="connsiteY40" fmla="*/ 1307268 h 5300148"/>
              <a:gd name="connsiteX41" fmla="*/ 465766 w 4100506"/>
              <a:gd name="connsiteY41" fmla="*/ 1192968 h 5300148"/>
              <a:gd name="connsiteX42" fmla="*/ 503866 w 4100506"/>
              <a:gd name="connsiteY42" fmla="*/ 1055808 h 5300148"/>
              <a:gd name="connsiteX43" fmla="*/ 557206 w 4100506"/>
              <a:gd name="connsiteY43" fmla="*/ 888168 h 5300148"/>
              <a:gd name="connsiteX44" fmla="*/ 503866 w 4100506"/>
              <a:gd name="connsiteY44" fmla="*/ 888168 h 5300148"/>
              <a:gd name="connsiteX45" fmla="*/ 412426 w 4100506"/>
              <a:gd name="connsiteY45" fmla="*/ 834828 h 5300148"/>
              <a:gd name="connsiteX46" fmla="*/ 328606 w 4100506"/>
              <a:gd name="connsiteY46" fmla="*/ 789108 h 5300148"/>
              <a:gd name="connsiteX47" fmla="*/ 260026 w 4100506"/>
              <a:gd name="connsiteY47" fmla="*/ 773868 h 5300148"/>
              <a:gd name="connsiteX48" fmla="*/ 214306 w 4100506"/>
              <a:gd name="connsiteY48" fmla="*/ 751008 h 5300148"/>
              <a:gd name="connsiteX49" fmla="*/ 260026 w 4100506"/>
              <a:gd name="connsiteY49" fmla="*/ 674808 h 5300148"/>
              <a:gd name="connsiteX50" fmla="*/ 374326 w 4100506"/>
              <a:gd name="connsiteY50" fmla="*/ 606228 h 5300148"/>
              <a:gd name="connsiteX51" fmla="*/ 557206 w 4100506"/>
              <a:gd name="connsiteY51" fmla="*/ 507168 h 5300148"/>
              <a:gd name="connsiteX52" fmla="*/ 656266 w 4100506"/>
              <a:gd name="connsiteY52" fmla="*/ 423348 h 5300148"/>
              <a:gd name="connsiteX53" fmla="*/ 892486 w 4100506"/>
              <a:gd name="connsiteY53" fmla="*/ 232848 h 5300148"/>
              <a:gd name="connsiteX54" fmla="*/ 1174426 w 4100506"/>
              <a:gd name="connsiteY54" fmla="*/ 80448 h 5300148"/>
              <a:gd name="connsiteX55" fmla="*/ 1593526 w 4100506"/>
              <a:gd name="connsiteY55" fmla="*/ 11868 h 5300148"/>
              <a:gd name="connsiteX56" fmla="*/ 1944046 w 4100506"/>
              <a:gd name="connsiteY56" fmla="*/ 4248 h 5300148"/>
              <a:gd name="connsiteX57" fmla="*/ 2172646 w 4100506"/>
              <a:gd name="connsiteY57" fmla="*/ 4248 h 5300148"/>
              <a:gd name="connsiteX58" fmla="*/ 2393626 w 4100506"/>
              <a:gd name="connsiteY58" fmla="*/ 57588 h 5300148"/>
              <a:gd name="connsiteX59" fmla="*/ 2667946 w 4100506"/>
              <a:gd name="connsiteY59" fmla="*/ 133788 h 5300148"/>
              <a:gd name="connsiteX60" fmla="*/ 2820346 w 4100506"/>
              <a:gd name="connsiteY60" fmla="*/ 202368 h 5300148"/>
              <a:gd name="connsiteX61" fmla="*/ 3102286 w 4100506"/>
              <a:gd name="connsiteY61" fmla="*/ 400488 h 5300148"/>
              <a:gd name="connsiteX62" fmla="*/ 3285166 w 4100506"/>
              <a:gd name="connsiteY62" fmla="*/ 651948 h 5300148"/>
              <a:gd name="connsiteX63" fmla="*/ 3407086 w 4100506"/>
              <a:gd name="connsiteY63" fmla="*/ 918648 h 5300148"/>
              <a:gd name="connsiteX64" fmla="*/ 3475666 w 4100506"/>
              <a:gd name="connsiteY64" fmla="*/ 1238688 h 5300148"/>
              <a:gd name="connsiteX65" fmla="*/ 3506146 w 4100506"/>
              <a:gd name="connsiteY65" fmla="*/ 1543488 h 5300148"/>
              <a:gd name="connsiteX66" fmla="*/ 3506146 w 4100506"/>
              <a:gd name="connsiteY66" fmla="*/ 1962588 h 5300148"/>
              <a:gd name="connsiteX67" fmla="*/ 3338506 w 4100506"/>
              <a:gd name="connsiteY67" fmla="*/ 2305488 h 5300148"/>
              <a:gd name="connsiteX68" fmla="*/ 3254686 w 4100506"/>
              <a:gd name="connsiteY68" fmla="*/ 2473128 h 5300148"/>
              <a:gd name="connsiteX69" fmla="*/ 3132766 w 4100506"/>
              <a:gd name="connsiteY69" fmla="*/ 2663628 h 5300148"/>
              <a:gd name="connsiteX70" fmla="*/ 3071806 w 4100506"/>
              <a:gd name="connsiteY70" fmla="*/ 2838888 h 5300148"/>
              <a:gd name="connsiteX71" fmla="*/ 3064186 w 4100506"/>
              <a:gd name="connsiteY71" fmla="*/ 2915088 h 5300148"/>
              <a:gd name="connsiteX72" fmla="*/ 3018466 w 4100506"/>
              <a:gd name="connsiteY72" fmla="*/ 3014148 h 5300148"/>
              <a:gd name="connsiteX73" fmla="*/ 2980366 w 4100506"/>
              <a:gd name="connsiteY73" fmla="*/ 3082728 h 5300148"/>
              <a:gd name="connsiteX74" fmla="*/ 2957506 w 4100506"/>
              <a:gd name="connsiteY74" fmla="*/ 3120828 h 5300148"/>
              <a:gd name="connsiteX75" fmla="*/ 2957506 w 4100506"/>
              <a:gd name="connsiteY75" fmla="*/ 3555168 h 5300148"/>
              <a:gd name="connsiteX76" fmla="*/ 3010846 w 4100506"/>
              <a:gd name="connsiteY76" fmla="*/ 3539928 h 5300148"/>
              <a:gd name="connsiteX77" fmla="*/ 3109906 w 4100506"/>
              <a:gd name="connsiteY77" fmla="*/ 3570408 h 5300148"/>
              <a:gd name="connsiteX78" fmla="*/ 3140386 w 4100506"/>
              <a:gd name="connsiteY78" fmla="*/ 3631368 h 5300148"/>
              <a:gd name="connsiteX79" fmla="*/ 3117526 w 4100506"/>
              <a:gd name="connsiteY79" fmla="*/ 3738048 h 5300148"/>
              <a:gd name="connsiteX80" fmla="*/ 3125146 w 4100506"/>
              <a:gd name="connsiteY80" fmla="*/ 4103808 h 5300148"/>
              <a:gd name="connsiteX81" fmla="*/ 3163246 w 4100506"/>
              <a:gd name="connsiteY81" fmla="*/ 4157148 h 5300148"/>
              <a:gd name="connsiteX82" fmla="*/ 3201346 w 4100506"/>
              <a:gd name="connsiteY82" fmla="*/ 4164768 h 5300148"/>
              <a:gd name="connsiteX83" fmla="*/ 3231826 w 4100506"/>
              <a:gd name="connsiteY83" fmla="*/ 4172388 h 5300148"/>
              <a:gd name="connsiteX84" fmla="*/ 3285166 w 4100506"/>
              <a:gd name="connsiteY84" fmla="*/ 4294308 h 5300148"/>
              <a:gd name="connsiteX85" fmla="*/ 3300406 w 4100506"/>
              <a:gd name="connsiteY85" fmla="*/ 4347648 h 5300148"/>
              <a:gd name="connsiteX86" fmla="*/ 3330886 w 4100506"/>
              <a:gd name="connsiteY86" fmla="*/ 4408608 h 5300148"/>
              <a:gd name="connsiteX87" fmla="*/ 3551866 w 4100506"/>
              <a:gd name="connsiteY87" fmla="*/ 4644828 h 5300148"/>
              <a:gd name="connsiteX88" fmla="*/ 3887146 w 4100506"/>
              <a:gd name="connsiteY88" fmla="*/ 5025828 h 5300148"/>
              <a:gd name="connsiteX89" fmla="*/ 4100506 w 4100506"/>
              <a:gd name="connsiteY89" fmla="*/ 5300148 h 5300148"/>
              <a:gd name="connsiteX0" fmla="*/ 707488 w 3887146"/>
              <a:gd name="connsiteY0" fmla="*/ 5008470 h 5025828"/>
              <a:gd name="connsiteX1" fmla="*/ 961066 w 3887146"/>
              <a:gd name="connsiteY1" fmla="*/ 4644828 h 5025828"/>
              <a:gd name="connsiteX2" fmla="*/ 1342066 w 3887146"/>
              <a:gd name="connsiteY2" fmla="*/ 4172388 h 5025828"/>
              <a:gd name="connsiteX3" fmla="*/ 1258246 w 3887146"/>
              <a:gd name="connsiteY3" fmla="*/ 4012368 h 5025828"/>
              <a:gd name="connsiteX4" fmla="*/ 1204906 w 3887146"/>
              <a:gd name="connsiteY4" fmla="*/ 3928548 h 5025828"/>
              <a:gd name="connsiteX5" fmla="*/ 1174426 w 3887146"/>
              <a:gd name="connsiteY5" fmla="*/ 3768528 h 5025828"/>
              <a:gd name="connsiteX6" fmla="*/ 1151566 w 3887146"/>
              <a:gd name="connsiteY6" fmla="*/ 3699948 h 5025828"/>
              <a:gd name="connsiteX7" fmla="*/ 1143946 w 3887146"/>
              <a:gd name="connsiteY7" fmla="*/ 3669468 h 5025828"/>
              <a:gd name="connsiteX8" fmla="*/ 1067746 w 3887146"/>
              <a:gd name="connsiteY8" fmla="*/ 3661848 h 5025828"/>
              <a:gd name="connsiteX9" fmla="*/ 938206 w 3887146"/>
              <a:gd name="connsiteY9" fmla="*/ 3669468 h 5025828"/>
              <a:gd name="connsiteX10" fmla="*/ 831526 w 3887146"/>
              <a:gd name="connsiteY10" fmla="*/ 3692328 h 5025828"/>
              <a:gd name="connsiteX11" fmla="*/ 610546 w 3887146"/>
              <a:gd name="connsiteY11" fmla="*/ 3738048 h 5025828"/>
              <a:gd name="connsiteX12" fmla="*/ 389566 w 3887146"/>
              <a:gd name="connsiteY12" fmla="*/ 3638988 h 5025828"/>
              <a:gd name="connsiteX13" fmla="*/ 381946 w 3887146"/>
              <a:gd name="connsiteY13" fmla="*/ 3326568 h 5025828"/>
              <a:gd name="connsiteX14" fmla="*/ 420046 w 3887146"/>
              <a:gd name="connsiteY14" fmla="*/ 3227508 h 5025828"/>
              <a:gd name="connsiteX15" fmla="*/ 389566 w 3887146"/>
              <a:gd name="connsiteY15" fmla="*/ 3166548 h 5025828"/>
              <a:gd name="connsiteX16" fmla="*/ 351466 w 3887146"/>
              <a:gd name="connsiteY16" fmla="*/ 3105588 h 5025828"/>
              <a:gd name="connsiteX17" fmla="*/ 397186 w 3887146"/>
              <a:gd name="connsiteY17" fmla="*/ 3021768 h 5025828"/>
              <a:gd name="connsiteX18" fmla="*/ 488626 w 3887146"/>
              <a:gd name="connsiteY18" fmla="*/ 2998908 h 5025828"/>
              <a:gd name="connsiteX19" fmla="*/ 471956 w 3887146"/>
              <a:gd name="connsiteY19" fmla="*/ 2942709 h 5025828"/>
              <a:gd name="connsiteX20" fmla="*/ 435286 w 3887146"/>
              <a:gd name="connsiteY20" fmla="*/ 2930328 h 5025828"/>
              <a:gd name="connsiteX21" fmla="*/ 389566 w 3887146"/>
              <a:gd name="connsiteY21" fmla="*/ 2930328 h 5025828"/>
              <a:gd name="connsiteX22" fmla="*/ 314000 w 3887146"/>
              <a:gd name="connsiteY22" fmla="*/ 2893495 h 5025828"/>
              <a:gd name="connsiteX23" fmla="*/ 320986 w 3887146"/>
              <a:gd name="connsiteY23" fmla="*/ 2846508 h 5025828"/>
              <a:gd name="connsiteX24" fmla="*/ 328606 w 3887146"/>
              <a:gd name="connsiteY24" fmla="*/ 2793168 h 5025828"/>
              <a:gd name="connsiteX25" fmla="*/ 313366 w 3887146"/>
              <a:gd name="connsiteY25" fmla="*/ 2732208 h 5025828"/>
              <a:gd name="connsiteX26" fmla="*/ 267646 w 3887146"/>
              <a:gd name="connsiteY26" fmla="*/ 2671248 h 5025828"/>
              <a:gd name="connsiteX27" fmla="*/ 176206 w 3887146"/>
              <a:gd name="connsiteY27" fmla="*/ 2656008 h 5025828"/>
              <a:gd name="connsiteX28" fmla="*/ 54286 w 3887146"/>
              <a:gd name="connsiteY28" fmla="*/ 2610288 h 5025828"/>
              <a:gd name="connsiteX29" fmla="*/ 7931 w 3887146"/>
              <a:gd name="connsiteY29" fmla="*/ 2563298 h 5025828"/>
              <a:gd name="connsiteX30" fmla="*/ 8566 w 3887146"/>
              <a:gd name="connsiteY30" fmla="*/ 2488368 h 5025828"/>
              <a:gd name="connsiteX31" fmla="*/ 92386 w 3887146"/>
              <a:gd name="connsiteY31" fmla="*/ 2335968 h 5025828"/>
              <a:gd name="connsiteX32" fmla="*/ 221926 w 3887146"/>
              <a:gd name="connsiteY32" fmla="*/ 2175948 h 5025828"/>
              <a:gd name="connsiteX33" fmla="*/ 282886 w 3887146"/>
              <a:gd name="connsiteY33" fmla="*/ 2084508 h 5025828"/>
              <a:gd name="connsiteX34" fmla="*/ 328606 w 3887146"/>
              <a:gd name="connsiteY34" fmla="*/ 1977828 h 5025828"/>
              <a:gd name="connsiteX35" fmla="*/ 359086 w 3887146"/>
              <a:gd name="connsiteY35" fmla="*/ 1871148 h 5025828"/>
              <a:gd name="connsiteX36" fmla="*/ 374326 w 3887146"/>
              <a:gd name="connsiteY36" fmla="*/ 1810188 h 5025828"/>
              <a:gd name="connsiteX37" fmla="*/ 343846 w 3887146"/>
              <a:gd name="connsiteY37" fmla="*/ 1756848 h 5025828"/>
              <a:gd name="connsiteX38" fmla="*/ 328606 w 3887146"/>
              <a:gd name="connsiteY38" fmla="*/ 1680648 h 5025828"/>
              <a:gd name="connsiteX39" fmla="*/ 412426 w 3887146"/>
              <a:gd name="connsiteY39" fmla="*/ 1474908 h 5025828"/>
              <a:gd name="connsiteX40" fmla="*/ 442906 w 3887146"/>
              <a:gd name="connsiteY40" fmla="*/ 1307268 h 5025828"/>
              <a:gd name="connsiteX41" fmla="*/ 465766 w 3887146"/>
              <a:gd name="connsiteY41" fmla="*/ 1192968 h 5025828"/>
              <a:gd name="connsiteX42" fmla="*/ 503866 w 3887146"/>
              <a:gd name="connsiteY42" fmla="*/ 1055808 h 5025828"/>
              <a:gd name="connsiteX43" fmla="*/ 557206 w 3887146"/>
              <a:gd name="connsiteY43" fmla="*/ 888168 h 5025828"/>
              <a:gd name="connsiteX44" fmla="*/ 503866 w 3887146"/>
              <a:gd name="connsiteY44" fmla="*/ 888168 h 5025828"/>
              <a:gd name="connsiteX45" fmla="*/ 412426 w 3887146"/>
              <a:gd name="connsiteY45" fmla="*/ 834828 h 5025828"/>
              <a:gd name="connsiteX46" fmla="*/ 328606 w 3887146"/>
              <a:gd name="connsiteY46" fmla="*/ 789108 h 5025828"/>
              <a:gd name="connsiteX47" fmla="*/ 260026 w 3887146"/>
              <a:gd name="connsiteY47" fmla="*/ 773868 h 5025828"/>
              <a:gd name="connsiteX48" fmla="*/ 214306 w 3887146"/>
              <a:gd name="connsiteY48" fmla="*/ 751008 h 5025828"/>
              <a:gd name="connsiteX49" fmla="*/ 260026 w 3887146"/>
              <a:gd name="connsiteY49" fmla="*/ 674808 h 5025828"/>
              <a:gd name="connsiteX50" fmla="*/ 374326 w 3887146"/>
              <a:gd name="connsiteY50" fmla="*/ 606228 h 5025828"/>
              <a:gd name="connsiteX51" fmla="*/ 557206 w 3887146"/>
              <a:gd name="connsiteY51" fmla="*/ 507168 h 5025828"/>
              <a:gd name="connsiteX52" fmla="*/ 656266 w 3887146"/>
              <a:gd name="connsiteY52" fmla="*/ 423348 h 5025828"/>
              <a:gd name="connsiteX53" fmla="*/ 892486 w 3887146"/>
              <a:gd name="connsiteY53" fmla="*/ 232848 h 5025828"/>
              <a:gd name="connsiteX54" fmla="*/ 1174426 w 3887146"/>
              <a:gd name="connsiteY54" fmla="*/ 80448 h 5025828"/>
              <a:gd name="connsiteX55" fmla="*/ 1593526 w 3887146"/>
              <a:gd name="connsiteY55" fmla="*/ 11868 h 5025828"/>
              <a:gd name="connsiteX56" fmla="*/ 1944046 w 3887146"/>
              <a:gd name="connsiteY56" fmla="*/ 4248 h 5025828"/>
              <a:gd name="connsiteX57" fmla="*/ 2172646 w 3887146"/>
              <a:gd name="connsiteY57" fmla="*/ 4248 h 5025828"/>
              <a:gd name="connsiteX58" fmla="*/ 2393626 w 3887146"/>
              <a:gd name="connsiteY58" fmla="*/ 57588 h 5025828"/>
              <a:gd name="connsiteX59" fmla="*/ 2667946 w 3887146"/>
              <a:gd name="connsiteY59" fmla="*/ 133788 h 5025828"/>
              <a:gd name="connsiteX60" fmla="*/ 2820346 w 3887146"/>
              <a:gd name="connsiteY60" fmla="*/ 202368 h 5025828"/>
              <a:gd name="connsiteX61" fmla="*/ 3102286 w 3887146"/>
              <a:gd name="connsiteY61" fmla="*/ 400488 h 5025828"/>
              <a:gd name="connsiteX62" fmla="*/ 3285166 w 3887146"/>
              <a:gd name="connsiteY62" fmla="*/ 651948 h 5025828"/>
              <a:gd name="connsiteX63" fmla="*/ 3407086 w 3887146"/>
              <a:gd name="connsiteY63" fmla="*/ 918648 h 5025828"/>
              <a:gd name="connsiteX64" fmla="*/ 3475666 w 3887146"/>
              <a:gd name="connsiteY64" fmla="*/ 1238688 h 5025828"/>
              <a:gd name="connsiteX65" fmla="*/ 3506146 w 3887146"/>
              <a:gd name="connsiteY65" fmla="*/ 1543488 h 5025828"/>
              <a:gd name="connsiteX66" fmla="*/ 3506146 w 3887146"/>
              <a:gd name="connsiteY66" fmla="*/ 1962588 h 5025828"/>
              <a:gd name="connsiteX67" fmla="*/ 3338506 w 3887146"/>
              <a:gd name="connsiteY67" fmla="*/ 2305488 h 5025828"/>
              <a:gd name="connsiteX68" fmla="*/ 3254686 w 3887146"/>
              <a:gd name="connsiteY68" fmla="*/ 2473128 h 5025828"/>
              <a:gd name="connsiteX69" fmla="*/ 3132766 w 3887146"/>
              <a:gd name="connsiteY69" fmla="*/ 2663628 h 5025828"/>
              <a:gd name="connsiteX70" fmla="*/ 3071806 w 3887146"/>
              <a:gd name="connsiteY70" fmla="*/ 2838888 h 5025828"/>
              <a:gd name="connsiteX71" fmla="*/ 3064186 w 3887146"/>
              <a:gd name="connsiteY71" fmla="*/ 2915088 h 5025828"/>
              <a:gd name="connsiteX72" fmla="*/ 3018466 w 3887146"/>
              <a:gd name="connsiteY72" fmla="*/ 3014148 h 5025828"/>
              <a:gd name="connsiteX73" fmla="*/ 2980366 w 3887146"/>
              <a:gd name="connsiteY73" fmla="*/ 3082728 h 5025828"/>
              <a:gd name="connsiteX74" fmla="*/ 2957506 w 3887146"/>
              <a:gd name="connsiteY74" fmla="*/ 3120828 h 5025828"/>
              <a:gd name="connsiteX75" fmla="*/ 2957506 w 3887146"/>
              <a:gd name="connsiteY75" fmla="*/ 3555168 h 5025828"/>
              <a:gd name="connsiteX76" fmla="*/ 3010846 w 3887146"/>
              <a:gd name="connsiteY76" fmla="*/ 3539928 h 5025828"/>
              <a:gd name="connsiteX77" fmla="*/ 3109906 w 3887146"/>
              <a:gd name="connsiteY77" fmla="*/ 3570408 h 5025828"/>
              <a:gd name="connsiteX78" fmla="*/ 3140386 w 3887146"/>
              <a:gd name="connsiteY78" fmla="*/ 3631368 h 5025828"/>
              <a:gd name="connsiteX79" fmla="*/ 3117526 w 3887146"/>
              <a:gd name="connsiteY79" fmla="*/ 3738048 h 5025828"/>
              <a:gd name="connsiteX80" fmla="*/ 3125146 w 3887146"/>
              <a:gd name="connsiteY80" fmla="*/ 4103808 h 5025828"/>
              <a:gd name="connsiteX81" fmla="*/ 3163246 w 3887146"/>
              <a:gd name="connsiteY81" fmla="*/ 4157148 h 5025828"/>
              <a:gd name="connsiteX82" fmla="*/ 3201346 w 3887146"/>
              <a:gd name="connsiteY82" fmla="*/ 4164768 h 5025828"/>
              <a:gd name="connsiteX83" fmla="*/ 3231826 w 3887146"/>
              <a:gd name="connsiteY83" fmla="*/ 4172388 h 5025828"/>
              <a:gd name="connsiteX84" fmla="*/ 3285166 w 3887146"/>
              <a:gd name="connsiteY84" fmla="*/ 4294308 h 5025828"/>
              <a:gd name="connsiteX85" fmla="*/ 3300406 w 3887146"/>
              <a:gd name="connsiteY85" fmla="*/ 4347648 h 5025828"/>
              <a:gd name="connsiteX86" fmla="*/ 3330886 w 3887146"/>
              <a:gd name="connsiteY86" fmla="*/ 4408608 h 5025828"/>
              <a:gd name="connsiteX87" fmla="*/ 3551866 w 3887146"/>
              <a:gd name="connsiteY87" fmla="*/ 4644828 h 5025828"/>
              <a:gd name="connsiteX88" fmla="*/ 3887146 w 3887146"/>
              <a:gd name="connsiteY88" fmla="*/ 5025828 h 5025828"/>
              <a:gd name="connsiteX0" fmla="*/ 707488 w 3884395"/>
              <a:gd name="connsiteY0" fmla="*/ 5008470 h 5017575"/>
              <a:gd name="connsiteX1" fmla="*/ 961066 w 3884395"/>
              <a:gd name="connsiteY1" fmla="*/ 4644828 h 5017575"/>
              <a:gd name="connsiteX2" fmla="*/ 1342066 w 3884395"/>
              <a:gd name="connsiteY2" fmla="*/ 4172388 h 5017575"/>
              <a:gd name="connsiteX3" fmla="*/ 1258246 w 3884395"/>
              <a:gd name="connsiteY3" fmla="*/ 4012368 h 5017575"/>
              <a:gd name="connsiteX4" fmla="*/ 1204906 w 3884395"/>
              <a:gd name="connsiteY4" fmla="*/ 3928548 h 5017575"/>
              <a:gd name="connsiteX5" fmla="*/ 1174426 w 3884395"/>
              <a:gd name="connsiteY5" fmla="*/ 3768528 h 5017575"/>
              <a:gd name="connsiteX6" fmla="*/ 1151566 w 3884395"/>
              <a:gd name="connsiteY6" fmla="*/ 3699948 h 5017575"/>
              <a:gd name="connsiteX7" fmla="*/ 1143946 w 3884395"/>
              <a:gd name="connsiteY7" fmla="*/ 3669468 h 5017575"/>
              <a:gd name="connsiteX8" fmla="*/ 1067746 w 3884395"/>
              <a:gd name="connsiteY8" fmla="*/ 3661848 h 5017575"/>
              <a:gd name="connsiteX9" fmla="*/ 938206 w 3884395"/>
              <a:gd name="connsiteY9" fmla="*/ 3669468 h 5017575"/>
              <a:gd name="connsiteX10" fmla="*/ 831526 w 3884395"/>
              <a:gd name="connsiteY10" fmla="*/ 3692328 h 5017575"/>
              <a:gd name="connsiteX11" fmla="*/ 610546 w 3884395"/>
              <a:gd name="connsiteY11" fmla="*/ 3738048 h 5017575"/>
              <a:gd name="connsiteX12" fmla="*/ 389566 w 3884395"/>
              <a:gd name="connsiteY12" fmla="*/ 3638988 h 5017575"/>
              <a:gd name="connsiteX13" fmla="*/ 381946 w 3884395"/>
              <a:gd name="connsiteY13" fmla="*/ 3326568 h 5017575"/>
              <a:gd name="connsiteX14" fmla="*/ 420046 w 3884395"/>
              <a:gd name="connsiteY14" fmla="*/ 3227508 h 5017575"/>
              <a:gd name="connsiteX15" fmla="*/ 389566 w 3884395"/>
              <a:gd name="connsiteY15" fmla="*/ 3166548 h 5017575"/>
              <a:gd name="connsiteX16" fmla="*/ 351466 w 3884395"/>
              <a:gd name="connsiteY16" fmla="*/ 3105588 h 5017575"/>
              <a:gd name="connsiteX17" fmla="*/ 397186 w 3884395"/>
              <a:gd name="connsiteY17" fmla="*/ 3021768 h 5017575"/>
              <a:gd name="connsiteX18" fmla="*/ 488626 w 3884395"/>
              <a:gd name="connsiteY18" fmla="*/ 2998908 h 5017575"/>
              <a:gd name="connsiteX19" fmla="*/ 471956 w 3884395"/>
              <a:gd name="connsiteY19" fmla="*/ 2942709 h 5017575"/>
              <a:gd name="connsiteX20" fmla="*/ 435286 w 3884395"/>
              <a:gd name="connsiteY20" fmla="*/ 2930328 h 5017575"/>
              <a:gd name="connsiteX21" fmla="*/ 389566 w 3884395"/>
              <a:gd name="connsiteY21" fmla="*/ 2930328 h 5017575"/>
              <a:gd name="connsiteX22" fmla="*/ 314000 w 3884395"/>
              <a:gd name="connsiteY22" fmla="*/ 2893495 h 5017575"/>
              <a:gd name="connsiteX23" fmla="*/ 320986 w 3884395"/>
              <a:gd name="connsiteY23" fmla="*/ 2846508 h 5017575"/>
              <a:gd name="connsiteX24" fmla="*/ 328606 w 3884395"/>
              <a:gd name="connsiteY24" fmla="*/ 2793168 h 5017575"/>
              <a:gd name="connsiteX25" fmla="*/ 313366 w 3884395"/>
              <a:gd name="connsiteY25" fmla="*/ 2732208 h 5017575"/>
              <a:gd name="connsiteX26" fmla="*/ 267646 w 3884395"/>
              <a:gd name="connsiteY26" fmla="*/ 2671248 h 5017575"/>
              <a:gd name="connsiteX27" fmla="*/ 176206 w 3884395"/>
              <a:gd name="connsiteY27" fmla="*/ 2656008 h 5017575"/>
              <a:gd name="connsiteX28" fmla="*/ 54286 w 3884395"/>
              <a:gd name="connsiteY28" fmla="*/ 2610288 h 5017575"/>
              <a:gd name="connsiteX29" fmla="*/ 7931 w 3884395"/>
              <a:gd name="connsiteY29" fmla="*/ 2563298 h 5017575"/>
              <a:gd name="connsiteX30" fmla="*/ 8566 w 3884395"/>
              <a:gd name="connsiteY30" fmla="*/ 2488368 h 5017575"/>
              <a:gd name="connsiteX31" fmla="*/ 92386 w 3884395"/>
              <a:gd name="connsiteY31" fmla="*/ 2335968 h 5017575"/>
              <a:gd name="connsiteX32" fmla="*/ 221926 w 3884395"/>
              <a:gd name="connsiteY32" fmla="*/ 2175948 h 5017575"/>
              <a:gd name="connsiteX33" fmla="*/ 282886 w 3884395"/>
              <a:gd name="connsiteY33" fmla="*/ 2084508 h 5017575"/>
              <a:gd name="connsiteX34" fmla="*/ 328606 w 3884395"/>
              <a:gd name="connsiteY34" fmla="*/ 1977828 h 5017575"/>
              <a:gd name="connsiteX35" fmla="*/ 359086 w 3884395"/>
              <a:gd name="connsiteY35" fmla="*/ 1871148 h 5017575"/>
              <a:gd name="connsiteX36" fmla="*/ 374326 w 3884395"/>
              <a:gd name="connsiteY36" fmla="*/ 1810188 h 5017575"/>
              <a:gd name="connsiteX37" fmla="*/ 343846 w 3884395"/>
              <a:gd name="connsiteY37" fmla="*/ 1756848 h 5017575"/>
              <a:gd name="connsiteX38" fmla="*/ 328606 w 3884395"/>
              <a:gd name="connsiteY38" fmla="*/ 1680648 h 5017575"/>
              <a:gd name="connsiteX39" fmla="*/ 412426 w 3884395"/>
              <a:gd name="connsiteY39" fmla="*/ 1474908 h 5017575"/>
              <a:gd name="connsiteX40" fmla="*/ 442906 w 3884395"/>
              <a:gd name="connsiteY40" fmla="*/ 1307268 h 5017575"/>
              <a:gd name="connsiteX41" fmla="*/ 465766 w 3884395"/>
              <a:gd name="connsiteY41" fmla="*/ 1192968 h 5017575"/>
              <a:gd name="connsiteX42" fmla="*/ 503866 w 3884395"/>
              <a:gd name="connsiteY42" fmla="*/ 1055808 h 5017575"/>
              <a:gd name="connsiteX43" fmla="*/ 557206 w 3884395"/>
              <a:gd name="connsiteY43" fmla="*/ 888168 h 5017575"/>
              <a:gd name="connsiteX44" fmla="*/ 503866 w 3884395"/>
              <a:gd name="connsiteY44" fmla="*/ 888168 h 5017575"/>
              <a:gd name="connsiteX45" fmla="*/ 412426 w 3884395"/>
              <a:gd name="connsiteY45" fmla="*/ 834828 h 5017575"/>
              <a:gd name="connsiteX46" fmla="*/ 328606 w 3884395"/>
              <a:gd name="connsiteY46" fmla="*/ 789108 h 5017575"/>
              <a:gd name="connsiteX47" fmla="*/ 260026 w 3884395"/>
              <a:gd name="connsiteY47" fmla="*/ 773868 h 5017575"/>
              <a:gd name="connsiteX48" fmla="*/ 214306 w 3884395"/>
              <a:gd name="connsiteY48" fmla="*/ 751008 h 5017575"/>
              <a:gd name="connsiteX49" fmla="*/ 260026 w 3884395"/>
              <a:gd name="connsiteY49" fmla="*/ 674808 h 5017575"/>
              <a:gd name="connsiteX50" fmla="*/ 374326 w 3884395"/>
              <a:gd name="connsiteY50" fmla="*/ 606228 h 5017575"/>
              <a:gd name="connsiteX51" fmla="*/ 557206 w 3884395"/>
              <a:gd name="connsiteY51" fmla="*/ 507168 h 5017575"/>
              <a:gd name="connsiteX52" fmla="*/ 656266 w 3884395"/>
              <a:gd name="connsiteY52" fmla="*/ 423348 h 5017575"/>
              <a:gd name="connsiteX53" fmla="*/ 892486 w 3884395"/>
              <a:gd name="connsiteY53" fmla="*/ 232848 h 5017575"/>
              <a:gd name="connsiteX54" fmla="*/ 1174426 w 3884395"/>
              <a:gd name="connsiteY54" fmla="*/ 80448 h 5017575"/>
              <a:gd name="connsiteX55" fmla="*/ 1593526 w 3884395"/>
              <a:gd name="connsiteY55" fmla="*/ 11868 h 5017575"/>
              <a:gd name="connsiteX56" fmla="*/ 1944046 w 3884395"/>
              <a:gd name="connsiteY56" fmla="*/ 4248 h 5017575"/>
              <a:gd name="connsiteX57" fmla="*/ 2172646 w 3884395"/>
              <a:gd name="connsiteY57" fmla="*/ 4248 h 5017575"/>
              <a:gd name="connsiteX58" fmla="*/ 2393626 w 3884395"/>
              <a:gd name="connsiteY58" fmla="*/ 57588 h 5017575"/>
              <a:gd name="connsiteX59" fmla="*/ 2667946 w 3884395"/>
              <a:gd name="connsiteY59" fmla="*/ 133788 h 5017575"/>
              <a:gd name="connsiteX60" fmla="*/ 2820346 w 3884395"/>
              <a:gd name="connsiteY60" fmla="*/ 202368 h 5017575"/>
              <a:gd name="connsiteX61" fmla="*/ 3102286 w 3884395"/>
              <a:gd name="connsiteY61" fmla="*/ 400488 h 5017575"/>
              <a:gd name="connsiteX62" fmla="*/ 3285166 w 3884395"/>
              <a:gd name="connsiteY62" fmla="*/ 651948 h 5017575"/>
              <a:gd name="connsiteX63" fmla="*/ 3407086 w 3884395"/>
              <a:gd name="connsiteY63" fmla="*/ 918648 h 5017575"/>
              <a:gd name="connsiteX64" fmla="*/ 3475666 w 3884395"/>
              <a:gd name="connsiteY64" fmla="*/ 1238688 h 5017575"/>
              <a:gd name="connsiteX65" fmla="*/ 3506146 w 3884395"/>
              <a:gd name="connsiteY65" fmla="*/ 1543488 h 5017575"/>
              <a:gd name="connsiteX66" fmla="*/ 3506146 w 3884395"/>
              <a:gd name="connsiteY66" fmla="*/ 1962588 h 5017575"/>
              <a:gd name="connsiteX67" fmla="*/ 3338506 w 3884395"/>
              <a:gd name="connsiteY67" fmla="*/ 2305488 h 5017575"/>
              <a:gd name="connsiteX68" fmla="*/ 3254686 w 3884395"/>
              <a:gd name="connsiteY68" fmla="*/ 2473128 h 5017575"/>
              <a:gd name="connsiteX69" fmla="*/ 3132766 w 3884395"/>
              <a:gd name="connsiteY69" fmla="*/ 2663628 h 5017575"/>
              <a:gd name="connsiteX70" fmla="*/ 3071806 w 3884395"/>
              <a:gd name="connsiteY70" fmla="*/ 2838888 h 5017575"/>
              <a:gd name="connsiteX71" fmla="*/ 3064186 w 3884395"/>
              <a:gd name="connsiteY71" fmla="*/ 2915088 h 5017575"/>
              <a:gd name="connsiteX72" fmla="*/ 3018466 w 3884395"/>
              <a:gd name="connsiteY72" fmla="*/ 3014148 h 5017575"/>
              <a:gd name="connsiteX73" fmla="*/ 2980366 w 3884395"/>
              <a:gd name="connsiteY73" fmla="*/ 3082728 h 5017575"/>
              <a:gd name="connsiteX74" fmla="*/ 2957506 w 3884395"/>
              <a:gd name="connsiteY74" fmla="*/ 3120828 h 5017575"/>
              <a:gd name="connsiteX75" fmla="*/ 2957506 w 3884395"/>
              <a:gd name="connsiteY75" fmla="*/ 3555168 h 5017575"/>
              <a:gd name="connsiteX76" fmla="*/ 3010846 w 3884395"/>
              <a:gd name="connsiteY76" fmla="*/ 3539928 h 5017575"/>
              <a:gd name="connsiteX77" fmla="*/ 3109906 w 3884395"/>
              <a:gd name="connsiteY77" fmla="*/ 3570408 h 5017575"/>
              <a:gd name="connsiteX78" fmla="*/ 3140386 w 3884395"/>
              <a:gd name="connsiteY78" fmla="*/ 3631368 h 5017575"/>
              <a:gd name="connsiteX79" fmla="*/ 3117526 w 3884395"/>
              <a:gd name="connsiteY79" fmla="*/ 3738048 h 5017575"/>
              <a:gd name="connsiteX80" fmla="*/ 3125146 w 3884395"/>
              <a:gd name="connsiteY80" fmla="*/ 4103808 h 5017575"/>
              <a:gd name="connsiteX81" fmla="*/ 3163246 w 3884395"/>
              <a:gd name="connsiteY81" fmla="*/ 4157148 h 5017575"/>
              <a:gd name="connsiteX82" fmla="*/ 3201346 w 3884395"/>
              <a:gd name="connsiteY82" fmla="*/ 4164768 h 5017575"/>
              <a:gd name="connsiteX83" fmla="*/ 3231826 w 3884395"/>
              <a:gd name="connsiteY83" fmla="*/ 4172388 h 5017575"/>
              <a:gd name="connsiteX84" fmla="*/ 3285166 w 3884395"/>
              <a:gd name="connsiteY84" fmla="*/ 4294308 h 5017575"/>
              <a:gd name="connsiteX85" fmla="*/ 3300406 w 3884395"/>
              <a:gd name="connsiteY85" fmla="*/ 4347648 h 5017575"/>
              <a:gd name="connsiteX86" fmla="*/ 3330886 w 3884395"/>
              <a:gd name="connsiteY86" fmla="*/ 4408608 h 5017575"/>
              <a:gd name="connsiteX87" fmla="*/ 3551866 w 3884395"/>
              <a:gd name="connsiteY87" fmla="*/ 4644828 h 5017575"/>
              <a:gd name="connsiteX88" fmla="*/ 3884395 w 3884395"/>
              <a:gd name="connsiteY88" fmla="*/ 5017575 h 5017575"/>
              <a:gd name="connsiteX0" fmla="*/ 707488 w 3889897"/>
              <a:gd name="connsiteY0" fmla="*/ 5008470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163246 w 3889897"/>
              <a:gd name="connsiteY81" fmla="*/ 4157148 h 5020326"/>
              <a:gd name="connsiteX82" fmla="*/ 3201346 w 3889897"/>
              <a:gd name="connsiteY82" fmla="*/ 4164768 h 5020326"/>
              <a:gd name="connsiteX83" fmla="*/ 3231826 w 3889897"/>
              <a:gd name="connsiteY83" fmla="*/ 4172388 h 5020326"/>
              <a:gd name="connsiteX84" fmla="*/ 3285166 w 3889897"/>
              <a:gd name="connsiteY84" fmla="*/ 4294308 h 5020326"/>
              <a:gd name="connsiteX85" fmla="*/ 3300406 w 3889897"/>
              <a:gd name="connsiteY85" fmla="*/ 4347648 h 5020326"/>
              <a:gd name="connsiteX86" fmla="*/ 3330886 w 3889897"/>
              <a:gd name="connsiteY86" fmla="*/ 4408608 h 5020326"/>
              <a:gd name="connsiteX87" fmla="*/ 3551866 w 3889897"/>
              <a:gd name="connsiteY87" fmla="*/ 4644828 h 5020326"/>
              <a:gd name="connsiteX88" fmla="*/ 3889897 w 3889897"/>
              <a:gd name="connsiteY88" fmla="*/ 5020326 h 5020326"/>
              <a:gd name="connsiteX0" fmla="*/ 704737 w 3889897"/>
              <a:gd name="connsiteY0" fmla="*/ 5016723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163246 w 3889897"/>
              <a:gd name="connsiteY81" fmla="*/ 4157148 h 5020326"/>
              <a:gd name="connsiteX82" fmla="*/ 3201346 w 3889897"/>
              <a:gd name="connsiteY82" fmla="*/ 4164768 h 5020326"/>
              <a:gd name="connsiteX83" fmla="*/ 3231826 w 3889897"/>
              <a:gd name="connsiteY83" fmla="*/ 4172388 h 5020326"/>
              <a:gd name="connsiteX84" fmla="*/ 3285166 w 3889897"/>
              <a:gd name="connsiteY84" fmla="*/ 4294308 h 5020326"/>
              <a:gd name="connsiteX85" fmla="*/ 3300406 w 3889897"/>
              <a:gd name="connsiteY85" fmla="*/ 4347648 h 5020326"/>
              <a:gd name="connsiteX86" fmla="*/ 3330886 w 3889897"/>
              <a:gd name="connsiteY86" fmla="*/ 4408608 h 5020326"/>
              <a:gd name="connsiteX87" fmla="*/ 3551866 w 3889897"/>
              <a:gd name="connsiteY87" fmla="*/ 4644828 h 5020326"/>
              <a:gd name="connsiteX88" fmla="*/ 3889897 w 3889897"/>
              <a:gd name="connsiteY88" fmla="*/ 5020326 h 5020326"/>
              <a:gd name="connsiteX0" fmla="*/ 710239 w 3889897"/>
              <a:gd name="connsiteY0" fmla="*/ 5024991 h 5024991"/>
              <a:gd name="connsiteX1" fmla="*/ 961066 w 3889897"/>
              <a:gd name="connsiteY1" fmla="*/ 4644828 h 5024991"/>
              <a:gd name="connsiteX2" fmla="*/ 1342066 w 3889897"/>
              <a:gd name="connsiteY2" fmla="*/ 4172388 h 5024991"/>
              <a:gd name="connsiteX3" fmla="*/ 1258246 w 3889897"/>
              <a:gd name="connsiteY3" fmla="*/ 4012368 h 5024991"/>
              <a:gd name="connsiteX4" fmla="*/ 1204906 w 3889897"/>
              <a:gd name="connsiteY4" fmla="*/ 3928548 h 5024991"/>
              <a:gd name="connsiteX5" fmla="*/ 1174426 w 3889897"/>
              <a:gd name="connsiteY5" fmla="*/ 3768528 h 5024991"/>
              <a:gd name="connsiteX6" fmla="*/ 1151566 w 3889897"/>
              <a:gd name="connsiteY6" fmla="*/ 3699948 h 5024991"/>
              <a:gd name="connsiteX7" fmla="*/ 1143946 w 3889897"/>
              <a:gd name="connsiteY7" fmla="*/ 3669468 h 5024991"/>
              <a:gd name="connsiteX8" fmla="*/ 1067746 w 3889897"/>
              <a:gd name="connsiteY8" fmla="*/ 3661848 h 5024991"/>
              <a:gd name="connsiteX9" fmla="*/ 938206 w 3889897"/>
              <a:gd name="connsiteY9" fmla="*/ 3669468 h 5024991"/>
              <a:gd name="connsiteX10" fmla="*/ 831526 w 3889897"/>
              <a:gd name="connsiteY10" fmla="*/ 3692328 h 5024991"/>
              <a:gd name="connsiteX11" fmla="*/ 610546 w 3889897"/>
              <a:gd name="connsiteY11" fmla="*/ 3738048 h 5024991"/>
              <a:gd name="connsiteX12" fmla="*/ 389566 w 3889897"/>
              <a:gd name="connsiteY12" fmla="*/ 3638988 h 5024991"/>
              <a:gd name="connsiteX13" fmla="*/ 381946 w 3889897"/>
              <a:gd name="connsiteY13" fmla="*/ 3326568 h 5024991"/>
              <a:gd name="connsiteX14" fmla="*/ 420046 w 3889897"/>
              <a:gd name="connsiteY14" fmla="*/ 3227508 h 5024991"/>
              <a:gd name="connsiteX15" fmla="*/ 389566 w 3889897"/>
              <a:gd name="connsiteY15" fmla="*/ 3166548 h 5024991"/>
              <a:gd name="connsiteX16" fmla="*/ 351466 w 3889897"/>
              <a:gd name="connsiteY16" fmla="*/ 3105588 h 5024991"/>
              <a:gd name="connsiteX17" fmla="*/ 397186 w 3889897"/>
              <a:gd name="connsiteY17" fmla="*/ 3021768 h 5024991"/>
              <a:gd name="connsiteX18" fmla="*/ 488626 w 3889897"/>
              <a:gd name="connsiteY18" fmla="*/ 2998908 h 5024991"/>
              <a:gd name="connsiteX19" fmla="*/ 471956 w 3889897"/>
              <a:gd name="connsiteY19" fmla="*/ 2942709 h 5024991"/>
              <a:gd name="connsiteX20" fmla="*/ 435286 w 3889897"/>
              <a:gd name="connsiteY20" fmla="*/ 2930328 h 5024991"/>
              <a:gd name="connsiteX21" fmla="*/ 389566 w 3889897"/>
              <a:gd name="connsiteY21" fmla="*/ 2930328 h 5024991"/>
              <a:gd name="connsiteX22" fmla="*/ 314000 w 3889897"/>
              <a:gd name="connsiteY22" fmla="*/ 2893495 h 5024991"/>
              <a:gd name="connsiteX23" fmla="*/ 320986 w 3889897"/>
              <a:gd name="connsiteY23" fmla="*/ 2846508 h 5024991"/>
              <a:gd name="connsiteX24" fmla="*/ 328606 w 3889897"/>
              <a:gd name="connsiteY24" fmla="*/ 2793168 h 5024991"/>
              <a:gd name="connsiteX25" fmla="*/ 313366 w 3889897"/>
              <a:gd name="connsiteY25" fmla="*/ 2732208 h 5024991"/>
              <a:gd name="connsiteX26" fmla="*/ 267646 w 3889897"/>
              <a:gd name="connsiteY26" fmla="*/ 2671248 h 5024991"/>
              <a:gd name="connsiteX27" fmla="*/ 176206 w 3889897"/>
              <a:gd name="connsiteY27" fmla="*/ 2656008 h 5024991"/>
              <a:gd name="connsiteX28" fmla="*/ 54286 w 3889897"/>
              <a:gd name="connsiteY28" fmla="*/ 2610288 h 5024991"/>
              <a:gd name="connsiteX29" fmla="*/ 7931 w 3889897"/>
              <a:gd name="connsiteY29" fmla="*/ 2563298 h 5024991"/>
              <a:gd name="connsiteX30" fmla="*/ 8566 w 3889897"/>
              <a:gd name="connsiteY30" fmla="*/ 2488368 h 5024991"/>
              <a:gd name="connsiteX31" fmla="*/ 92386 w 3889897"/>
              <a:gd name="connsiteY31" fmla="*/ 2335968 h 5024991"/>
              <a:gd name="connsiteX32" fmla="*/ 221926 w 3889897"/>
              <a:gd name="connsiteY32" fmla="*/ 2175948 h 5024991"/>
              <a:gd name="connsiteX33" fmla="*/ 282886 w 3889897"/>
              <a:gd name="connsiteY33" fmla="*/ 2084508 h 5024991"/>
              <a:gd name="connsiteX34" fmla="*/ 328606 w 3889897"/>
              <a:gd name="connsiteY34" fmla="*/ 1977828 h 5024991"/>
              <a:gd name="connsiteX35" fmla="*/ 359086 w 3889897"/>
              <a:gd name="connsiteY35" fmla="*/ 1871148 h 5024991"/>
              <a:gd name="connsiteX36" fmla="*/ 374326 w 3889897"/>
              <a:gd name="connsiteY36" fmla="*/ 1810188 h 5024991"/>
              <a:gd name="connsiteX37" fmla="*/ 343846 w 3889897"/>
              <a:gd name="connsiteY37" fmla="*/ 1756848 h 5024991"/>
              <a:gd name="connsiteX38" fmla="*/ 328606 w 3889897"/>
              <a:gd name="connsiteY38" fmla="*/ 1680648 h 5024991"/>
              <a:gd name="connsiteX39" fmla="*/ 412426 w 3889897"/>
              <a:gd name="connsiteY39" fmla="*/ 1474908 h 5024991"/>
              <a:gd name="connsiteX40" fmla="*/ 442906 w 3889897"/>
              <a:gd name="connsiteY40" fmla="*/ 1307268 h 5024991"/>
              <a:gd name="connsiteX41" fmla="*/ 465766 w 3889897"/>
              <a:gd name="connsiteY41" fmla="*/ 1192968 h 5024991"/>
              <a:gd name="connsiteX42" fmla="*/ 503866 w 3889897"/>
              <a:gd name="connsiteY42" fmla="*/ 1055808 h 5024991"/>
              <a:gd name="connsiteX43" fmla="*/ 557206 w 3889897"/>
              <a:gd name="connsiteY43" fmla="*/ 888168 h 5024991"/>
              <a:gd name="connsiteX44" fmla="*/ 503866 w 3889897"/>
              <a:gd name="connsiteY44" fmla="*/ 888168 h 5024991"/>
              <a:gd name="connsiteX45" fmla="*/ 412426 w 3889897"/>
              <a:gd name="connsiteY45" fmla="*/ 834828 h 5024991"/>
              <a:gd name="connsiteX46" fmla="*/ 328606 w 3889897"/>
              <a:gd name="connsiteY46" fmla="*/ 789108 h 5024991"/>
              <a:gd name="connsiteX47" fmla="*/ 260026 w 3889897"/>
              <a:gd name="connsiteY47" fmla="*/ 773868 h 5024991"/>
              <a:gd name="connsiteX48" fmla="*/ 214306 w 3889897"/>
              <a:gd name="connsiteY48" fmla="*/ 751008 h 5024991"/>
              <a:gd name="connsiteX49" fmla="*/ 260026 w 3889897"/>
              <a:gd name="connsiteY49" fmla="*/ 674808 h 5024991"/>
              <a:gd name="connsiteX50" fmla="*/ 374326 w 3889897"/>
              <a:gd name="connsiteY50" fmla="*/ 606228 h 5024991"/>
              <a:gd name="connsiteX51" fmla="*/ 557206 w 3889897"/>
              <a:gd name="connsiteY51" fmla="*/ 507168 h 5024991"/>
              <a:gd name="connsiteX52" fmla="*/ 656266 w 3889897"/>
              <a:gd name="connsiteY52" fmla="*/ 423348 h 5024991"/>
              <a:gd name="connsiteX53" fmla="*/ 892486 w 3889897"/>
              <a:gd name="connsiteY53" fmla="*/ 232848 h 5024991"/>
              <a:gd name="connsiteX54" fmla="*/ 1174426 w 3889897"/>
              <a:gd name="connsiteY54" fmla="*/ 80448 h 5024991"/>
              <a:gd name="connsiteX55" fmla="*/ 1593526 w 3889897"/>
              <a:gd name="connsiteY55" fmla="*/ 11868 h 5024991"/>
              <a:gd name="connsiteX56" fmla="*/ 1944046 w 3889897"/>
              <a:gd name="connsiteY56" fmla="*/ 4248 h 5024991"/>
              <a:gd name="connsiteX57" fmla="*/ 2172646 w 3889897"/>
              <a:gd name="connsiteY57" fmla="*/ 4248 h 5024991"/>
              <a:gd name="connsiteX58" fmla="*/ 2393626 w 3889897"/>
              <a:gd name="connsiteY58" fmla="*/ 57588 h 5024991"/>
              <a:gd name="connsiteX59" fmla="*/ 2667946 w 3889897"/>
              <a:gd name="connsiteY59" fmla="*/ 133788 h 5024991"/>
              <a:gd name="connsiteX60" fmla="*/ 2820346 w 3889897"/>
              <a:gd name="connsiteY60" fmla="*/ 202368 h 5024991"/>
              <a:gd name="connsiteX61" fmla="*/ 3102286 w 3889897"/>
              <a:gd name="connsiteY61" fmla="*/ 400488 h 5024991"/>
              <a:gd name="connsiteX62" fmla="*/ 3285166 w 3889897"/>
              <a:gd name="connsiteY62" fmla="*/ 651948 h 5024991"/>
              <a:gd name="connsiteX63" fmla="*/ 3407086 w 3889897"/>
              <a:gd name="connsiteY63" fmla="*/ 918648 h 5024991"/>
              <a:gd name="connsiteX64" fmla="*/ 3475666 w 3889897"/>
              <a:gd name="connsiteY64" fmla="*/ 1238688 h 5024991"/>
              <a:gd name="connsiteX65" fmla="*/ 3506146 w 3889897"/>
              <a:gd name="connsiteY65" fmla="*/ 1543488 h 5024991"/>
              <a:gd name="connsiteX66" fmla="*/ 3506146 w 3889897"/>
              <a:gd name="connsiteY66" fmla="*/ 1962588 h 5024991"/>
              <a:gd name="connsiteX67" fmla="*/ 3338506 w 3889897"/>
              <a:gd name="connsiteY67" fmla="*/ 2305488 h 5024991"/>
              <a:gd name="connsiteX68" fmla="*/ 3254686 w 3889897"/>
              <a:gd name="connsiteY68" fmla="*/ 2473128 h 5024991"/>
              <a:gd name="connsiteX69" fmla="*/ 3132766 w 3889897"/>
              <a:gd name="connsiteY69" fmla="*/ 2663628 h 5024991"/>
              <a:gd name="connsiteX70" fmla="*/ 3071806 w 3889897"/>
              <a:gd name="connsiteY70" fmla="*/ 2838888 h 5024991"/>
              <a:gd name="connsiteX71" fmla="*/ 3064186 w 3889897"/>
              <a:gd name="connsiteY71" fmla="*/ 2915088 h 5024991"/>
              <a:gd name="connsiteX72" fmla="*/ 3018466 w 3889897"/>
              <a:gd name="connsiteY72" fmla="*/ 3014148 h 5024991"/>
              <a:gd name="connsiteX73" fmla="*/ 2980366 w 3889897"/>
              <a:gd name="connsiteY73" fmla="*/ 3082728 h 5024991"/>
              <a:gd name="connsiteX74" fmla="*/ 2957506 w 3889897"/>
              <a:gd name="connsiteY74" fmla="*/ 3120828 h 5024991"/>
              <a:gd name="connsiteX75" fmla="*/ 2957506 w 3889897"/>
              <a:gd name="connsiteY75" fmla="*/ 3555168 h 5024991"/>
              <a:gd name="connsiteX76" fmla="*/ 3010846 w 3889897"/>
              <a:gd name="connsiteY76" fmla="*/ 3539928 h 5024991"/>
              <a:gd name="connsiteX77" fmla="*/ 3109906 w 3889897"/>
              <a:gd name="connsiteY77" fmla="*/ 3570408 h 5024991"/>
              <a:gd name="connsiteX78" fmla="*/ 3140386 w 3889897"/>
              <a:gd name="connsiteY78" fmla="*/ 3631368 h 5024991"/>
              <a:gd name="connsiteX79" fmla="*/ 3117526 w 3889897"/>
              <a:gd name="connsiteY79" fmla="*/ 3738048 h 5024991"/>
              <a:gd name="connsiteX80" fmla="*/ 3125146 w 3889897"/>
              <a:gd name="connsiteY80" fmla="*/ 4103808 h 5024991"/>
              <a:gd name="connsiteX81" fmla="*/ 3163246 w 3889897"/>
              <a:gd name="connsiteY81" fmla="*/ 4157148 h 5024991"/>
              <a:gd name="connsiteX82" fmla="*/ 3201346 w 3889897"/>
              <a:gd name="connsiteY82" fmla="*/ 4164768 h 5024991"/>
              <a:gd name="connsiteX83" fmla="*/ 3231826 w 3889897"/>
              <a:gd name="connsiteY83" fmla="*/ 4172388 h 5024991"/>
              <a:gd name="connsiteX84" fmla="*/ 3285166 w 3889897"/>
              <a:gd name="connsiteY84" fmla="*/ 4294308 h 5024991"/>
              <a:gd name="connsiteX85" fmla="*/ 3300406 w 3889897"/>
              <a:gd name="connsiteY85" fmla="*/ 4347648 h 5024991"/>
              <a:gd name="connsiteX86" fmla="*/ 3330886 w 3889897"/>
              <a:gd name="connsiteY86" fmla="*/ 4408608 h 5024991"/>
              <a:gd name="connsiteX87" fmla="*/ 3551866 w 3889897"/>
              <a:gd name="connsiteY87" fmla="*/ 4644828 h 5024991"/>
              <a:gd name="connsiteX88" fmla="*/ 3889897 w 3889897"/>
              <a:gd name="connsiteY88" fmla="*/ 5020326 h 5024991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163246 w 3889897"/>
              <a:gd name="connsiteY81" fmla="*/ 4157148 h 5020326"/>
              <a:gd name="connsiteX82" fmla="*/ 3201346 w 3889897"/>
              <a:gd name="connsiteY82" fmla="*/ 4164768 h 5020326"/>
              <a:gd name="connsiteX83" fmla="*/ 3231826 w 3889897"/>
              <a:gd name="connsiteY83" fmla="*/ 4172388 h 5020326"/>
              <a:gd name="connsiteX84" fmla="*/ 3285166 w 3889897"/>
              <a:gd name="connsiteY84" fmla="*/ 4294308 h 5020326"/>
              <a:gd name="connsiteX85" fmla="*/ 3300406 w 3889897"/>
              <a:gd name="connsiteY85" fmla="*/ 4347648 h 5020326"/>
              <a:gd name="connsiteX86" fmla="*/ 3330886 w 3889897"/>
              <a:gd name="connsiteY86" fmla="*/ 4408608 h 5020326"/>
              <a:gd name="connsiteX87" fmla="*/ 3551866 w 3889897"/>
              <a:gd name="connsiteY87" fmla="*/ 4644828 h 5020326"/>
              <a:gd name="connsiteX88" fmla="*/ 3889897 w 3889897"/>
              <a:gd name="connsiteY88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201346 w 3889897"/>
              <a:gd name="connsiteY81" fmla="*/ 4164768 h 5020326"/>
              <a:gd name="connsiteX82" fmla="*/ 3231826 w 3889897"/>
              <a:gd name="connsiteY82" fmla="*/ 4172388 h 5020326"/>
              <a:gd name="connsiteX83" fmla="*/ 3285166 w 3889897"/>
              <a:gd name="connsiteY83" fmla="*/ 4294308 h 5020326"/>
              <a:gd name="connsiteX84" fmla="*/ 3300406 w 3889897"/>
              <a:gd name="connsiteY84" fmla="*/ 4347648 h 5020326"/>
              <a:gd name="connsiteX85" fmla="*/ 3330886 w 3889897"/>
              <a:gd name="connsiteY85" fmla="*/ 4408608 h 5020326"/>
              <a:gd name="connsiteX86" fmla="*/ 3551866 w 3889897"/>
              <a:gd name="connsiteY86" fmla="*/ 4644828 h 5020326"/>
              <a:gd name="connsiteX87" fmla="*/ 3889897 w 3889897"/>
              <a:gd name="connsiteY87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231826 w 3889897"/>
              <a:gd name="connsiteY81" fmla="*/ 4172388 h 5020326"/>
              <a:gd name="connsiteX82" fmla="*/ 3285166 w 3889897"/>
              <a:gd name="connsiteY82" fmla="*/ 4294308 h 5020326"/>
              <a:gd name="connsiteX83" fmla="*/ 3300406 w 3889897"/>
              <a:gd name="connsiteY83" fmla="*/ 4347648 h 5020326"/>
              <a:gd name="connsiteX84" fmla="*/ 3330886 w 3889897"/>
              <a:gd name="connsiteY84" fmla="*/ 4408608 h 5020326"/>
              <a:gd name="connsiteX85" fmla="*/ 3551866 w 3889897"/>
              <a:gd name="connsiteY85" fmla="*/ 4644828 h 5020326"/>
              <a:gd name="connsiteX86" fmla="*/ 3889897 w 3889897"/>
              <a:gd name="connsiteY86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43946 w 3889897"/>
              <a:gd name="connsiteY6" fmla="*/ 3669468 h 5020326"/>
              <a:gd name="connsiteX7" fmla="*/ 1067746 w 3889897"/>
              <a:gd name="connsiteY7" fmla="*/ 3661848 h 5020326"/>
              <a:gd name="connsiteX8" fmla="*/ 938206 w 3889897"/>
              <a:gd name="connsiteY8" fmla="*/ 3669468 h 5020326"/>
              <a:gd name="connsiteX9" fmla="*/ 831526 w 3889897"/>
              <a:gd name="connsiteY9" fmla="*/ 3692328 h 5020326"/>
              <a:gd name="connsiteX10" fmla="*/ 610546 w 3889897"/>
              <a:gd name="connsiteY10" fmla="*/ 3738048 h 5020326"/>
              <a:gd name="connsiteX11" fmla="*/ 389566 w 3889897"/>
              <a:gd name="connsiteY11" fmla="*/ 3638988 h 5020326"/>
              <a:gd name="connsiteX12" fmla="*/ 381946 w 3889897"/>
              <a:gd name="connsiteY12" fmla="*/ 3326568 h 5020326"/>
              <a:gd name="connsiteX13" fmla="*/ 420046 w 3889897"/>
              <a:gd name="connsiteY13" fmla="*/ 3227508 h 5020326"/>
              <a:gd name="connsiteX14" fmla="*/ 389566 w 3889897"/>
              <a:gd name="connsiteY14" fmla="*/ 3166548 h 5020326"/>
              <a:gd name="connsiteX15" fmla="*/ 351466 w 3889897"/>
              <a:gd name="connsiteY15" fmla="*/ 3105588 h 5020326"/>
              <a:gd name="connsiteX16" fmla="*/ 397186 w 3889897"/>
              <a:gd name="connsiteY16" fmla="*/ 3021768 h 5020326"/>
              <a:gd name="connsiteX17" fmla="*/ 488626 w 3889897"/>
              <a:gd name="connsiteY17" fmla="*/ 2998908 h 5020326"/>
              <a:gd name="connsiteX18" fmla="*/ 471956 w 3889897"/>
              <a:gd name="connsiteY18" fmla="*/ 2942709 h 5020326"/>
              <a:gd name="connsiteX19" fmla="*/ 435286 w 3889897"/>
              <a:gd name="connsiteY19" fmla="*/ 2930328 h 5020326"/>
              <a:gd name="connsiteX20" fmla="*/ 389566 w 3889897"/>
              <a:gd name="connsiteY20" fmla="*/ 2930328 h 5020326"/>
              <a:gd name="connsiteX21" fmla="*/ 314000 w 3889897"/>
              <a:gd name="connsiteY21" fmla="*/ 2893495 h 5020326"/>
              <a:gd name="connsiteX22" fmla="*/ 320986 w 3889897"/>
              <a:gd name="connsiteY22" fmla="*/ 2846508 h 5020326"/>
              <a:gd name="connsiteX23" fmla="*/ 328606 w 3889897"/>
              <a:gd name="connsiteY23" fmla="*/ 2793168 h 5020326"/>
              <a:gd name="connsiteX24" fmla="*/ 313366 w 3889897"/>
              <a:gd name="connsiteY24" fmla="*/ 2732208 h 5020326"/>
              <a:gd name="connsiteX25" fmla="*/ 267646 w 3889897"/>
              <a:gd name="connsiteY25" fmla="*/ 2671248 h 5020326"/>
              <a:gd name="connsiteX26" fmla="*/ 176206 w 3889897"/>
              <a:gd name="connsiteY26" fmla="*/ 2656008 h 5020326"/>
              <a:gd name="connsiteX27" fmla="*/ 54286 w 3889897"/>
              <a:gd name="connsiteY27" fmla="*/ 2610288 h 5020326"/>
              <a:gd name="connsiteX28" fmla="*/ 7931 w 3889897"/>
              <a:gd name="connsiteY28" fmla="*/ 2563298 h 5020326"/>
              <a:gd name="connsiteX29" fmla="*/ 8566 w 3889897"/>
              <a:gd name="connsiteY29" fmla="*/ 2488368 h 5020326"/>
              <a:gd name="connsiteX30" fmla="*/ 92386 w 3889897"/>
              <a:gd name="connsiteY30" fmla="*/ 2335968 h 5020326"/>
              <a:gd name="connsiteX31" fmla="*/ 221926 w 3889897"/>
              <a:gd name="connsiteY31" fmla="*/ 2175948 h 5020326"/>
              <a:gd name="connsiteX32" fmla="*/ 282886 w 3889897"/>
              <a:gd name="connsiteY32" fmla="*/ 2084508 h 5020326"/>
              <a:gd name="connsiteX33" fmla="*/ 328606 w 3889897"/>
              <a:gd name="connsiteY33" fmla="*/ 1977828 h 5020326"/>
              <a:gd name="connsiteX34" fmla="*/ 359086 w 3889897"/>
              <a:gd name="connsiteY34" fmla="*/ 1871148 h 5020326"/>
              <a:gd name="connsiteX35" fmla="*/ 374326 w 3889897"/>
              <a:gd name="connsiteY35" fmla="*/ 1810188 h 5020326"/>
              <a:gd name="connsiteX36" fmla="*/ 343846 w 3889897"/>
              <a:gd name="connsiteY36" fmla="*/ 1756848 h 5020326"/>
              <a:gd name="connsiteX37" fmla="*/ 328606 w 3889897"/>
              <a:gd name="connsiteY37" fmla="*/ 1680648 h 5020326"/>
              <a:gd name="connsiteX38" fmla="*/ 412426 w 3889897"/>
              <a:gd name="connsiteY38" fmla="*/ 1474908 h 5020326"/>
              <a:gd name="connsiteX39" fmla="*/ 442906 w 3889897"/>
              <a:gd name="connsiteY39" fmla="*/ 1307268 h 5020326"/>
              <a:gd name="connsiteX40" fmla="*/ 465766 w 3889897"/>
              <a:gd name="connsiteY40" fmla="*/ 1192968 h 5020326"/>
              <a:gd name="connsiteX41" fmla="*/ 503866 w 3889897"/>
              <a:gd name="connsiteY41" fmla="*/ 1055808 h 5020326"/>
              <a:gd name="connsiteX42" fmla="*/ 557206 w 3889897"/>
              <a:gd name="connsiteY42" fmla="*/ 888168 h 5020326"/>
              <a:gd name="connsiteX43" fmla="*/ 503866 w 3889897"/>
              <a:gd name="connsiteY43" fmla="*/ 888168 h 5020326"/>
              <a:gd name="connsiteX44" fmla="*/ 412426 w 3889897"/>
              <a:gd name="connsiteY44" fmla="*/ 834828 h 5020326"/>
              <a:gd name="connsiteX45" fmla="*/ 328606 w 3889897"/>
              <a:gd name="connsiteY45" fmla="*/ 789108 h 5020326"/>
              <a:gd name="connsiteX46" fmla="*/ 260026 w 3889897"/>
              <a:gd name="connsiteY46" fmla="*/ 773868 h 5020326"/>
              <a:gd name="connsiteX47" fmla="*/ 214306 w 3889897"/>
              <a:gd name="connsiteY47" fmla="*/ 751008 h 5020326"/>
              <a:gd name="connsiteX48" fmla="*/ 260026 w 3889897"/>
              <a:gd name="connsiteY48" fmla="*/ 674808 h 5020326"/>
              <a:gd name="connsiteX49" fmla="*/ 374326 w 3889897"/>
              <a:gd name="connsiteY49" fmla="*/ 606228 h 5020326"/>
              <a:gd name="connsiteX50" fmla="*/ 557206 w 3889897"/>
              <a:gd name="connsiteY50" fmla="*/ 507168 h 5020326"/>
              <a:gd name="connsiteX51" fmla="*/ 656266 w 3889897"/>
              <a:gd name="connsiteY51" fmla="*/ 423348 h 5020326"/>
              <a:gd name="connsiteX52" fmla="*/ 892486 w 3889897"/>
              <a:gd name="connsiteY52" fmla="*/ 232848 h 5020326"/>
              <a:gd name="connsiteX53" fmla="*/ 1174426 w 3889897"/>
              <a:gd name="connsiteY53" fmla="*/ 80448 h 5020326"/>
              <a:gd name="connsiteX54" fmla="*/ 1593526 w 3889897"/>
              <a:gd name="connsiteY54" fmla="*/ 11868 h 5020326"/>
              <a:gd name="connsiteX55" fmla="*/ 1944046 w 3889897"/>
              <a:gd name="connsiteY55" fmla="*/ 4248 h 5020326"/>
              <a:gd name="connsiteX56" fmla="*/ 2172646 w 3889897"/>
              <a:gd name="connsiteY56" fmla="*/ 4248 h 5020326"/>
              <a:gd name="connsiteX57" fmla="*/ 2393626 w 3889897"/>
              <a:gd name="connsiteY57" fmla="*/ 57588 h 5020326"/>
              <a:gd name="connsiteX58" fmla="*/ 2667946 w 3889897"/>
              <a:gd name="connsiteY58" fmla="*/ 133788 h 5020326"/>
              <a:gd name="connsiteX59" fmla="*/ 2820346 w 3889897"/>
              <a:gd name="connsiteY59" fmla="*/ 202368 h 5020326"/>
              <a:gd name="connsiteX60" fmla="*/ 3102286 w 3889897"/>
              <a:gd name="connsiteY60" fmla="*/ 400488 h 5020326"/>
              <a:gd name="connsiteX61" fmla="*/ 3285166 w 3889897"/>
              <a:gd name="connsiteY61" fmla="*/ 651948 h 5020326"/>
              <a:gd name="connsiteX62" fmla="*/ 3407086 w 3889897"/>
              <a:gd name="connsiteY62" fmla="*/ 918648 h 5020326"/>
              <a:gd name="connsiteX63" fmla="*/ 3475666 w 3889897"/>
              <a:gd name="connsiteY63" fmla="*/ 1238688 h 5020326"/>
              <a:gd name="connsiteX64" fmla="*/ 3506146 w 3889897"/>
              <a:gd name="connsiteY64" fmla="*/ 1543488 h 5020326"/>
              <a:gd name="connsiteX65" fmla="*/ 3506146 w 3889897"/>
              <a:gd name="connsiteY65" fmla="*/ 1962588 h 5020326"/>
              <a:gd name="connsiteX66" fmla="*/ 3338506 w 3889897"/>
              <a:gd name="connsiteY66" fmla="*/ 2305488 h 5020326"/>
              <a:gd name="connsiteX67" fmla="*/ 3254686 w 3889897"/>
              <a:gd name="connsiteY67" fmla="*/ 2473128 h 5020326"/>
              <a:gd name="connsiteX68" fmla="*/ 3132766 w 3889897"/>
              <a:gd name="connsiteY68" fmla="*/ 2663628 h 5020326"/>
              <a:gd name="connsiteX69" fmla="*/ 3071806 w 3889897"/>
              <a:gd name="connsiteY69" fmla="*/ 2838888 h 5020326"/>
              <a:gd name="connsiteX70" fmla="*/ 3064186 w 3889897"/>
              <a:gd name="connsiteY70" fmla="*/ 2915088 h 5020326"/>
              <a:gd name="connsiteX71" fmla="*/ 3018466 w 3889897"/>
              <a:gd name="connsiteY71" fmla="*/ 3014148 h 5020326"/>
              <a:gd name="connsiteX72" fmla="*/ 2980366 w 3889897"/>
              <a:gd name="connsiteY72" fmla="*/ 3082728 h 5020326"/>
              <a:gd name="connsiteX73" fmla="*/ 2957506 w 3889897"/>
              <a:gd name="connsiteY73" fmla="*/ 3120828 h 5020326"/>
              <a:gd name="connsiteX74" fmla="*/ 2957506 w 3889897"/>
              <a:gd name="connsiteY74" fmla="*/ 3555168 h 5020326"/>
              <a:gd name="connsiteX75" fmla="*/ 3010846 w 3889897"/>
              <a:gd name="connsiteY75" fmla="*/ 3539928 h 5020326"/>
              <a:gd name="connsiteX76" fmla="*/ 3109906 w 3889897"/>
              <a:gd name="connsiteY76" fmla="*/ 3570408 h 5020326"/>
              <a:gd name="connsiteX77" fmla="*/ 3140386 w 3889897"/>
              <a:gd name="connsiteY77" fmla="*/ 3631368 h 5020326"/>
              <a:gd name="connsiteX78" fmla="*/ 3117526 w 3889897"/>
              <a:gd name="connsiteY78" fmla="*/ 3738048 h 5020326"/>
              <a:gd name="connsiteX79" fmla="*/ 3125146 w 3889897"/>
              <a:gd name="connsiteY79" fmla="*/ 4103808 h 5020326"/>
              <a:gd name="connsiteX80" fmla="*/ 3231826 w 3889897"/>
              <a:gd name="connsiteY80" fmla="*/ 4172388 h 5020326"/>
              <a:gd name="connsiteX81" fmla="*/ 3285166 w 3889897"/>
              <a:gd name="connsiteY81" fmla="*/ 4294308 h 5020326"/>
              <a:gd name="connsiteX82" fmla="*/ 3300406 w 3889897"/>
              <a:gd name="connsiteY82" fmla="*/ 4347648 h 5020326"/>
              <a:gd name="connsiteX83" fmla="*/ 3330886 w 3889897"/>
              <a:gd name="connsiteY83" fmla="*/ 4408608 h 5020326"/>
              <a:gd name="connsiteX84" fmla="*/ 3551866 w 3889897"/>
              <a:gd name="connsiteY84" fmla="*/ 4644828 h 5020326"/>
              <a:gd name="connsiteX85" fmla="*/ 3889897 w 3889897"/>
              <a:gd name="connsiteY85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43946 w 3889897"/>
              <a:gd name="connsiteY6" fmla="*/ 3669468 h 5020326"/>
              <a:gd name="connsiteX7" fmla="*/ 1067746 w 3889897"/>
              <a:gd name="connsiteY7" fmla="*/ 3661848 h 5020326"/>
              <a:gd name="connsiteX8" fmla="*/ 938206 w 3889897"/>
              <a:gd name="connsiteY8" fmla="*/ 3669468 h 5020326"/>
              <a:gd name="connsiteX9" fmla="*/ 831526 w 3889897"/>
              <a:gd name="connsiteY9" fmla="*/ 3692328 h 5020326"/>
              <a:gd name="connsiteX10" fmla="*/ 610546 w 3889897"/>
              <a:gd name="connsiteY10" fmla="*/ 3738048 h 5020326"/>
              <a:gd name="connsiteX11" fmla="*/ 389566 w 3889897"/>
              <a:gd name="connsiteY11" fmla="*/ 3638988 h 5020326"/>
              <a:gd name="connsiteX12" fmla="*/ 381946 w 3889897"/>
              <a:gd name="connsiteY12" fmla="*/ 3326568 h 5020326"/>
              <a:gd name="connsiteX13" fmla="*/ 420046 w 3889897"/>
              <a:gd name="connsiteY13" fmla="*/ 3227508 h 5020326"/>
              <a:gd name="connsiteX14" fmla="*/ 389566 w 3889897"/>
              <a:gd name="connsiteY14" fmla="*/ 3166548 h 5020326"/>
              <a:gd name="connsiteX15" fmla="*/ 351466 w 3889897"/>
              <a:gd name="connsiteY15" fmla="*/ 3105588 h 5020326"/>
              <a:gd name="connsiteX16" fmla="*/ 397186 w 3889897"/>
              <a:gd name="connsiteY16" fmla="*/ 3021768 h 5020326"/>
              <a:gd name="connsiteX17" fmla="*/ 488626 w 3889897"/>
              <a:gd name="connsiteY17" fmla="*/ 2998908 h 5020326"/>
              <a:gd name="connsiteX18" fmla="*/ 471956 w 3889897"/>
              <a:gd name="connsiteY18" fmla="*/ 2942709 h 5020326"/>
              <a:gd name="connsiteX19" fmla="*/ 435286 w 3889897"/>
              <a:gd name="connsiteY19" fmla="*/ 2930328 h 5020326"/>
              <a:gd name="connsiteX20" fmla="*/ 389566 w 3889897"/>
              <a:gd name="connsiteY20" fmla="*/ 2930328 h 5020326"/>
              <a:gd name="connsiteX21" fmla="*/ 314000 w 3889897"/>
              <a:gd name="connsiteY21" fmla="*/ 2893495 h 5020326"/>
              <a:gd name="connsiteX22" fmla="*/ 320986 w 3889897"/>
              <a:gd name="connsiteY22" fmla="*/ 2846508 h 5020326"/>
              <a:gd name="connsiteX23" fmla="*/ 328606 w 3889897"/>
              <a:gd name="connsiteY23" fmla="*/ 2793168 h 5020326"/>
              <a:gd name="connsiteX24" fmla="*/ 313366 w 3889897"/>
              <a:gd name="connsiteY24" fmla="*/ 2732208 h 5020326"/>
              <a:gd name="connsiteX25" fmla="*/ 267646 w 3889897"/>
              <a:gd name="connsiteY25" fmla="*/ 2671248 h 5020326"/>
              <a:gd name="connsiteX26" fmla="*/ 176206 w 3889897"/>
              <a:gd name="connsiteY26" fmla="*/ 2656008 h 5020326"/>
              <a:gd name="connsiteX27" fmla="*/ 54286 w 3889897"/>
              <a:gd name="connsiteY27" fmla="*/ 2610288 h 5020326"/>
              <a:gd name="connsiteX28" fmla="*/ 7931 w 3889897"/>
              <a:gd name="connsiteY28" fmla="*/ 2563298 h 5020326"/>
              <a:gd name="connsiteX29" fmla="*/ 8566 w 3889897"/>
              <a:gd name="connsiteY29" fmla="*/ 2488368 h 5020326"/>
              <a:gd name="connsiteX30" fmla="*/ 92386 w 3889897"/>
              <a:gd name="connsiteY30" fmla="*/ 2335968 h 5020326"/>
              <a:gd name="connsiteX31" fmla="*/ 221926 w 3889897"/>
              <a:gd name="connsiteY31" fmla="*/ 2175948 h 5020326"/>
              <a:gd name="connsiteX32" fmla="*/ 282886 w 3889897"/>
              <a:gd name="connsiteY32" fmla="*/ 2084508 h 5020326"/>
              <a:gd name="connsiteX33" fmla="*/ 328606 w 3889897"/>
              <a:gd name="connsiteY33" fmla="*/ 1977828 h 5020326"/>
              <a:gd name="connsiteX34" fmla="*/ 359086 w 3889897"/>
              <a:gd name="connsiteY34" fmla="*/ 1871148 h 5020326"/>
              <a:gd name="connsiteX35" fmla="*/ 374326 w 3889897"/>
              <a:gd name="connsiteY35" fmla="*/ 1810188 h 5020326"/>
              <a:gd name="connsiteX36" fmla="*/ 343846 w 3889897"/>
              <a:gd name="connsiteY36" fmla="*/ 1756848 h 5020326"/>
              <a:gd name="connsiteX37" fmla="*/ 328606 w 3889897"/>
              <a:gd name="connsiteY37" fmla="*/ 1680648 h 5020326"/>
              <a:gd name="connsiteX38" fmla="*/ 412426 w 3889897"/>
              <a:gd name="connsiteY38" fmla="*/ 1474908 h 5020326"/>
              <a:gd name="connsiteX39" fmla="*/ 442906 w 3889897"/>
              <a:gd name="connsiteY39" fmla="*/ 1307268 h 5020326"/>
              <a:gd name="connsiteX40" fmla="*/ 465766 w 3889897"/>
              <a:gd name="connsiteY40" fmla="*/ 1192968 h 5020326"/>
              <a:gd name="connsiteX41" fmla="*/ 503866 w 3889897"/>
              <a:gd name="connsiteY41" fmla="*/ 1055808 h 5020326"/>
              <a:gd name="connsiteX42" fmla="*/ 557206 w 3889897"/>
              <a:gd name="connsiteY42" fmla="*/ 888168 h 5020326"/>
              <a:gd name="connsiteX43" fmla="*/ 503866 w 3889897"/>
              <a:gd name="connsiteY43" fmla="*/ 888168 h 5020326"/>
              <a:gd name="connsiteX44" fmla="*/ 412426 w 3889897"/>
              <a:gd name="connsiteY44" fmla="*/ 834828 h 5020326"/>
              <a:gd name="connsiteX45" fmla="*/ 328606 w 3889897"/>
              <a:gd name="connsiteY45" fmla="*/ 789108 h 5020326"/>
              <a:gd name="connsiteX46" fmla="*/ 260026 w 3889897"/>
              <a:gd name="connsiteY46" fmla="*/ 773868 h 5020326"/>
              <a:gd name="connsiteX47" fmla="*/ 214306 w 3889897"/>
              <a:gd name="connsiteY47" fmla="*/ 751008 h 5020326"/>
              <a:gd name="connsiteX48" fmla="*/ 260026 w 3889897"/>
              <a:gd name="connsiteY48" fmla="*/ 674808 h 5020326"/>
              <a:gd name="connsiteX49" fmla="*/ 374326 w 3889897"/>
              <a:gd name="connsiteY49" fmla="*/ 606228 h 5020326"/>
              <a:gd name="connsiteX50" fmla="*/ 557206 w 3889897"/>
              <a:gd name="connsiteY50" fmla="*/ 507168 h 5020326"/>
              <a:gd name="connsiteX51" fmla="*/ 656266 w 3889897"/>
              <a:gd name="connsiteY51" fmla="*/ 423348 h 5020326"/>
              <a:gd name="connsiteX52" fmla="*/ 892486 w 3889897"/>
              <a:gd name="connsiteY52" fmla="*/ 232848 h 5020326"/>
              <a:gd name="connsiteX53" fmla="*/ 1174426 w 3889897"/>
              <a:gd name="connsiteY53" fmla="*/ 80448 h 5020326"/>
              <a:gd name="connsiteX54" fmla="*/ 1593526 w 3889897"/>
              <a:gd name="connsiteY54" fmla="*/ 11868 h 5020326"/>
              <a:gd name="connsiteX55" fmla="*/ 1944046 w 3889897"/>
              <a:gd name="connsiteY55" fmla="*/ 4248 h 5020326"/>
              <a:gd name="connsiteX56" fmla="*/ 2172646 w 3889897"/>
              <a:gd name="connsiteY56" fmla="*/ 4248 h 5020326"/>
              <a:gd name="connsiteX57" fmla="*/ 2393626 w 3889897"/>
              <a:gd name="connsiteY57" fmla="*/ 57588 h 5020326"/>
              <a:gd name="connsiteX58" fmla="*/ 2667946 w 3889897"/>
              <a:gd name="connsiteY58" fmla="*/ 133788 h 5020326"/>
              <a:gd name="connsiteX59" fmla="*/ 2820346 w 3889897"/>
              <a:gd name="connsiteY59" fmla="*/ 202368 h 5020326"/>
              <a:gd name="connsiteX60" fmla="*/ 3102286 w 3889897"/>
              <a:gd name="connsiteY60" fmla="*/ 400488 h 5020326"/>
              <a:gd name="connsiteX61" fmla="*/ 3285166 w 3889897"/>
              <a:gd name="connsiteY61" fmla="*/ 651948 h 5020326"/>
              <a:gd name="connsiteX62" fmla="*/ 3407086 w 3889897"/>
              <a:gd name="connsiteY62" fmla="*/ 918648 h 5020326"/>
              <a:gd name="connsiteX63" fmla="*/ 3475666 w 3889897"/>
              <a:gd name="connsiteY63" fmla="*/ 1238688 h 5020326"/>
              <a:gd name="connsiteX64" fmla="*/ 3506146 w 3889897"/>
              <a:gd name="connsiteY64" fmla="*/ 1543488 h 5020326"/>
              <a:gd name="connsiteX65" fmla="*/ 3506146 w 3889897"/>
              <a:gd name="connsiteY65" fmla="*/ 1962588 h 5020326"/>
              <a:gd name="connsiteX66" fmla="*/ 3338506 w 3889897"/>
              <a:gd name="connsiteY66" fmla="*/ 2305488 h 5020326"/>
              <a:gd name="connsiteX67" fmla="*/ 3254686 w 3889897"/>
              <a:gd name="connsiteY67" fmla="*/ 2473128 h 5020326"/>
              <a:gd name="connsiteX68" fmla="*/ 3132766 w 3889897"/>
              <a:gd name="connsiteY68" fmla="*/ 2663628 h 5020326"/>
              <a:gd name="connsiteX69" fmla="*/ 3071806 w 3889897"/>
              <a:gd name="connsiteY69" fmla="*/ 2838888 h 5020326"/>
              <a:gd name="connsiteX70" fmla="*/ 3064186 w 3889897"/>
              <a:gd name="connsiteY70" fmla="*/ 2915088 h 5020326"/>
              <a:gd name="connsiteX71" fmla="*/ 3018466 w 3889897"/>
              <a:gd name="connsiteY71" fmla="*/ 3014148 h 5020326"/>
              <a:gd name="connsiteX72" fmla="*/ 2980366 w 3889897"/>
              <a:gd name="connsiteY72" fmla="*/ 3082728 h 5020326"/>
              <a:gd name="connsiteX73" fmla="*/ 2957506 w 3889897"/>
              <a:gd name="connsiteY73" fmla="*/ 3120828 h 5020326"/>
              <a:gd name="connsiteX74" fmla="*/ 2957506 w 3889897"/>
              <a:gd name="connsiteY74" fmla="*/ 3555168 h 5020326"/>
              <a:gd name="connsiteX75" fmla="*/ 3010846 w 3889897"/>
              <a:gd name="connsiteY75" fmla="*/ 3539928 h 5020326"/>
              <a:gd name="connsiteX76" fmla="*/ 3109906 w 3889897"/>
              <a:gd name="connsiteY76" fmla="*/ 3570408 h 5020326"/>
              <a:gd name="connsiteX77" fmla="*/ 3140386 w 3889897"/>
              <a:gd name="connsiteY77" fmla="*/ 3631368 h 5020326"/>
              <a:gd name="connsiteX78" fmla="*/ 3117526 w 3889897"/>
              <a:gd name="connsiteY78" fmla="*/ 3738048 h 5020326"/>
              <a:gd name="connsiteX79" fmla="*/ 3125146 w 3889897"/>
              <a:gd name="connsiteY79" fmla="*/ 4103808 h 5020326"/>
              <a:gd name="connsiteX80" fmla="*/ 3231826 w 3889897"/>
              <a:gd name="connsiteY80" fmla="*/ 4172388 h 5020326"/>
              <a:gd name="connsiteX81" fmla="*/ 3285166 w 3889897"/>
              <a:gd name="connsiteY81" fmla="*/ 4294308 h 5020326"/>
              <a:gd name="connsiteX82" fmla="*/ 3330886 w 3889897"/>
              <a:gd name="connsiteY82" fmla="*/ 4408608 h 5020326"/>
              <a:gd name="connsiteX83" fmla="*/ 3551866 w 3889897"/>
              <a:gd name="connsiteY83" fmla="*/ 4644828 h 5020326"/>
              <a:gd name="connsiteX84" fmla="*/ 3889897 w 3889897"/>
              <a:gd name="connsiteY84" fmla="*/ 5020326 h 5020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3889897" h="5020326">
                <a:moveTo>
                  <a:pt x="712990" y="5019479"/>
                </a:moveTo>
                <a:cubicBezTo>
                  <a:pt x="766965" y="4944867"/>
                  <a:pt x="856220" y="4786010"/>
                  <a:pt x="961066" y="4644828"/>
                </a:cubicBezTo>
                <a:cubicBezTo>
                  <a:pt x="1065912" y="4503646"/>
                  <a:pt x="1292536" y="4277798"/>
                  <a:pt x="1342066" y="4172388"/>
                </a:cubicBezTo>
                <a:cubicBezTo>
                  <a:pt x="1391596" y="4066978"/>
                  <a:pt x="1281106" y="4053008"/>
                  <a:pt x="1258246" y="4012368"/>
                </a:cubicBezTo>
                <a:cubicBezTo>
                  <a:pt x="1235386" y="3971728"/>
                  <a:pt x="1218876" y="3969188"/>
                  <a:pt x="1204906" y="3928548"/>
                </a:cubicBezTo>
                <a:cubicBezTo>
                  <a:pt x="1190936" y="3887908"/>
                  <a:pt x="1184586" y="3811708"/>
                  <a:pt x="1174426" y="3768528"/>
                </a:cubicBezTo>
                <a:cubicBezTo>
                  <a:pt x="1164266" y="3725348"/>
                  <a:pt x="1161726" y="3687248"/>
                  <a:pt x="1143946" y="3669468"/>
                </a:cubicBezTo>
                <a:cubicBezTo>
                  <a:pt x="1126166" y="3651688"/>
                  <a:pt x="1102036" y="3661848"/>
                  <a:pt x="1067746" y="3661848"/>
                </a:cubicBezTo>
                <a:cubicBezTo>
                  <a:pt x="1033456" y="3661848"/>
                  <a:pt x="977576" y="3664388"/>
                  <a:pt x="938206" y="3669468"/>
                </a:cubicBezTo>
                <a:cubicBezTo>
                  <a:pt x="898836" y="3674548"/>
                  <a:pt x="831526" y="3692328"/>
                  <a:pt x="831526" y="3692328"/>
                </a:cubicBezTo>
                <a:cubicBezTo>
                  <a:pt x="776916" y="3703758"/>
                  <a:pt x="684206" y="3746938"/>
                  <a:pt x="610546" y="3738048"/>
                </a:cubicBezTo>
                <a:cubicBezTo>
                  <a:pt x="536886" y="3729158"/>
                  <a:pt x="427666" y="3707568"/>
                  <a:pt x="389566" y="3638988"/>
                </a:cubicBezTo>
                <a:cubicBezTo>
                  <a:pt x="351466" y="3570408"/>
                  <a:pt x="376866" y="3395148"/>
                  <a:pt x="381946" y="3326568"/>
                </a:cubicBezTo>
                <a:cubicBezTo>
                  <a:pt x="387026" y="3257988"/>
                  <a:pt x="418776" y="3254178"/>
                  <a:pt x="420046" y="3227508"/>
                </a:cubicBezTo>
                <a:cubicBezTo>
                  <a:pt x="421316" y="3200838"/>
                  <a:pt x="400996" y="3186868"/>
                  <a:pt x="389566" y="3166548"/>
                </a:cubicBezTo>
                <a:cubicBezTo>
                  <a:pt x="378136" y="3146228"/>
                  <a:pt x="350196" y="3129718"/>
                  <a:pt x="351466" y="3105588"/>
                </a:cubicBezTo>
                <a:cubicBezTo>
                  <a:pt x="352736" y="3081458"/>
                  <a:pt x="374326" y="3039548"/>
                  <a:pt x="397186" y="3021768"/>
                </a:cubicBezTo>
                <a:cubicBezTo>
                  <a:pt x="420046" y="3003988"/>
                  <a:pt x="476164" y="3012084"/>
                  <a:pt x="488626" y="2998908"/>
                </a:cubicBezTo>
                <a:cubicBezTo>
                  <a:pt x="501088" y="2985732"/>
                  <a:pt x="480846" y="2954139"/>
                  <a:pt x="471956" y="2942709"/>
                </a:cubicBezTo>
                <a:cubicBezTo>
                  <a:pt x="463066" y="2931279"/>
                  <a:pt x="449018" y="2932392"/>
                  <a:pt x="435286" y="2930328"/>
                </a:cubicBezTo>
                <a:cubicBezTo>
                  <a:pt x="421554" y="2928265"/>
                  <a:pt x="409780" y="2936467"/>
                  <a:pt x="389566" y="2930328"/>
                </a:cubicBezTo>
                <a:cubicBezTo>
                  <a:pt x="369352" y="2924189"/>
                  <a:pt x="325430" y="2907465"/>
                  <a:pt x="314000" y="2893495"/>
                </a:cubicBezTo>
                <a:cubicBezTo>
                  <a:pt x="302570" y="2879525"/>
                  <a:pt x="318552" y="2863229"/>
                  <a:pt x="320986" y="2846508"/>
                </a:cubicBezTo>
                <a:cubicBezTo>
                  <a:pt x="323420" y="2829787"/>
                  <a:pt x="329876" y="2812218"/>
                  <a:pt x="328606" y="2793168"/>
                </a:cubicBezTo>
                <a:cubicBezTo>
                  <a:pt x="327336" y="2774118"/>
                  <a:pt x="323526" y="2752528"/>
                  <a:pt x="313366" y="2732208"/>
                </a:cubicBezTo>
                <a:cubicBezTo>
                  <a:pt x="303206" y="2711888"/>
                  <a:pt x="290506" y="2683948"/>
                  <a:pt x="267646" y="2671248"/>
                </a:cubicBezTo>
                <a:cubicBezTo>
                  <a:pt x="244786" y="2658548"/>
                  <a:pt x="211766" y="2666168"/>
                  <a:pt x="176206" y="2656008"/>
                </a:cubicBezTo>
                <a:cubicBezTo>
                  <a:pt x="140646" y="2645848"/>
                  <a:pt x="82332" y="2625740"/>
                  <a:pt x="54286" y="2610288"/>
                </a:cubicBezTo>
                <a:cubicBezTo>
                  <a:pt x="26240" y="2594836"/>
                  <a:pt x="15551" y="2583618"/>
                  <a:pt x="7931" y="2563298"/>
                </a:cubicBezTo>
                <a:cubicBezTo>
                  <a:pt x="311" y="2542978"/>
                  <a:pt x="-5510" y="2526256"/>
                  <a:pt x="8566" y="2488368"/>
                </a:cubicBezTo>
                <a:cubicBezTo>
                  <a:pt x="22642" y="2450480"/>
                  <a:pt x="56826" y="2388038"/>
                  <a:pt x="92386" y="2335968"/>
                </a:cubicBezTo>
                <a:cubicBezTo>
                  <a:pt x="127946" y="2283898"/>
                  <a:pt x="190176" y="2217858"/>
                  <a:pt x="221926" y="2175948"/>
                </a:cubicBezTo>
                <a:cubicBezTo>
                  <a:pt x="253676" y="2134038"/>
                  <a:pt x="265106" y="2117528"/>
                  <a:pt x="282886" y="2084508"/>
                </a:cubicBezTo>
                <a:cubicBezTo>
                  <a:pt x="300666" y="2051488"/>
                  <a:pt x="315906" y="2013388"/>
                  <a:pt x="328606" y="1977828"/>
                </a:cubicBezTo>
                <a:cubicBezTo>
                  <a:pt x="341306" y="1942268"/>
                  <a:pt x="351466" y="1899088"/>
                  <a:pt x="359086" y="1871148"/>
                </a:cubicBezTo>
                <a:cubicBezTo>
                  <a:pt x="366706" y="1843208"/>
                  <a:pt x="376866" y="1829238"/>
                  <a:pt x="374326" y="1810188"/>
                </a:cubicBezTo>
                <a:cubicBezTo>
                  <a:pt x="371786" y="1791138"/>
                  <a:pt x="351466" y="1778438"/>
                  <a:pt x="343846" y="1756848"/>
                </a:cubicBezTo>
                <a:cubicBezTo>
                  <a:pt x="336226" y="1735258"/>
                  <a:pt x="317176" y="1727638"/>
                  <a:pt x="328606" y="1680648"/>
                </a:cubicBezTo>
                <a:cubicBezTo>
                  <a:pt x="340036" y="1633658"/>
                  <a:pt x="393376" y="1537138"/>
                  <a:pt x="412426" y="1474908"/>
                </a:cubicBezTo>
                <a:cubicBezTo>
                  <a:pt x="431476" y="1412678"/>
                  <a:pt x="434016" y="1354258"/>
                  <a:pt x="442906" y="1307268"/>
                </a:cubicBezTo>
                <a:cubicBezTo>
                  <a:pt x="451796" y="1260278"/>
                  <a:pt x="455606" y="1234878"/>
                  <a:pt x="465766" y="1192968"/>
                </a:cubicBezTo>
                <a:cubicBezTo>
                  <a:pt x="475926" y="1151058"/>
                  <a:pt x="488626" y="1106608"/>
                  <a:pt x="503866" y="1055808"/>
                </a:cubicBezTo>
                <a:cubicBezTo>
                  <a:pt x="519106" y="1005008"/>
                  <a:pt x="557206" y="916108"/>
                  <a:pt x="557206" y="888168"/>
                </a:cubicBezTo>
                <a:cubicBezTo>
                  <a:pt x="557206" y="860228"/>
                  <a:pt x="527996" y="897058"/>
                  <a:pt x="503866" y="888168"/>
                </a:cubicBezTo>
                <a:cubicBezTo>
                  <a:pt x="479736" y="879278"/>
                  <a:pt x="441636" y="851338"/>
                  <a:pt x="412426" y="834828"/>
                </a:cubicBezTo>
                <a:cubicBezTo>
                  <a:pt x="383216" y="818318"/>
                  <a:pt x="354006" y="799268"/>
                  <a:pt x="328606" y="789108"/>
                </a:cubicBezTo>
                <a:cubicBezTo>
                  <a:pt x="303206" y="778948"/>
                  <a:pt x="279076" y="780218"/>
                  <a:pt x="260026" y="773868"/>
                </a:cubicBezTo>
                <a:cubicBezTo>
                  <a:pt x="240976" y="767518"/>
                  <a:pt x="214306" y="767518"/>
                  <a:pt x="214306" y="751008"/>
                </a:cubicBezTo>
                <a:cubicBezTo>
                  <a:pt x="214306" y="734498"/>
                  <a:pt x="233356" y="698938"/>
                  <a:pt x="260026" y="674808"/>
                </a:cubicBezTo>
                <a:cubicBezTo>
                  <a:pt x="286696" y="650678"/>
                  <a:pt x="324796" y="634168"/>
                  <a:pt x="374326" y="606228"/>
                </a:cubicBezTo>
                <a:cubicBezTo>
                  <a:pt x="423856" y="578288"/>
                  <a:pt x="510216" y="537648"/>
                  <a:pt x="557206" y="507168"/>
                </a:cubicBezTo>
                <a:cubicBezTo>
                  <a:pt x="604196" y="476688"/>
                  <a:pt x="600386" y="469068"/>
                  <a:pt x="656266" y="423348"/>
                </a:cubicBezTo>
                <a:cubicBezTo>
                  <a:pt x="712146" y="377628"/>
                  <a:pt x="806126" y="289998"/>
                  <a:pt x="892486" y="232848"/>
                </a:cubicBezTo>
                <a:cubicBezTo>
                  <a:pt x="978846" y="175698"/>
                  <a:pt x="1057586" y="117278"/>
                  <a:pt x="1174426" y="80448"/>
                </a:cubicBezTo>
                <a:cubicBezTo>
                  <a:pt x="1291266" y="43618"/>
                  <a:pt x="1465256" y="24568"/>
                  <a:pt x="1593526" y="11868"/>
                </a:cubicBezTo>
                <a:cubicBezTo>
                  <a:pt x="1721796" y="-832"/>
                  <a:pt x="1847526" y="5518"/>
                  <a:pt x="1944046" y="4248"/>
                </a:cubicBezTo>
                <a:cubicBezTo>
                  <a:pt x="2040566" y="2978"/>
                  <a:pt x="2097716" y="-4642"/>
                  <a:pt x="2172646" y="4248"/>
                </a:cubicBezTo>
                <a:cubicBezTo>
                  <a:pt x="2247576" y="13138"/>
                  <a:pt x="2311076" y="35998"/>
                  <a:pt x="2393626" y="57588"/>
                </a:cubicBezTo>
                <a:cubicBezTo>
                  <a:pt x="2476176" y="79178"/>
                  <a:pt x="2596826" y="109658"/>
                  <a:pt x="2667946" y="133788"/>
                </a:cubicBezTo>
                <a:cubicBezTo>
                  <a:pt x="2739066" y="157918"/>
                  <a:pt x="2747956" y="157918"/>
                  <a:pt x="2820346" y="202368"/>
                </a:cubicBezTo>
                <a:cubicBezTo>
                  <a:pt x="2892736" y="246818"/>
                  <a:pt x="3024816" y="325558"/>
                  <a:pt x="3102286" y="400488"/>
                </a:cubicBezTo>
                <a:cubicBezTo>
                  <a:pt x="3179756" y="475418"/>
                  <a:pt x="3234366" y="565588"/>
                  <a:pt x="3285166" y="651948"/>
                </a:cubicBezTo>
                <a:cubicBezTo>
                  <a:pt x="3335966" y="738308"/>
                  <a:pt x="3375336" y="820858"/>
                  <a:pt x="3407086" y="918648"/>
                </a:cubicBezTo>
                <a:cubicBezTo>
                  <a:pt x="3438836" y="1016438"/>
                  <a:pt x="3459156" y="1134548"/>
                  <a:pt x="3475666" y="1238688"/>
                </a:cubicBezTo>
                <a:cubicBezTo>
                  <a:pt x="3492176" y="1342828"/>
                  <a:pt x="3501066" y="1422838"/>
                  <a:pt x="3506146" y="1543488"/>
                </a:cubicBezTo>
                <a:cubicBezTo>
                  <a:pt x="3511226" y="1664138"/>
                  <a:pt x="3534086" y="1835588"/>
                  <a:pt x="3506146" y="1962588"/>
                </a:cubicBezTo>
                <a:cubicBezTo>
                  <a:pt x="3478206" y="2089588"/>
                  <a:pt x="3380416" y="2220398"/>
                  <a:pt x="3338506" y="2305488"/>
                </a:cubicBezTo>
                <a:cubicBezTo>
                  <a:pt x="3296596" y="2390578"/>
                  <a:pt x="3288976" y="2413438"/>
                  <a:pt x="3254686" y="2473128"/>
                </a:cubicBezTo>
                <a:cubicBezTo>
                  <a:pt x="3220396" y="2532818"/>
                  <a:pt x="3163246" y="2602668"/>
                  <a:pt x="3132766" y="2663628"/>
                </a:cubicBezTo>
                <a:cubicBezTo>
                  <a:pt x="3102286" y="2724588"/>
                  <a:pt x="3083236" y="2796978"/>
                  <a:pt x="3071806" y="2838888"/>
                </a:cubicBezTo>
                <a:cubicBezTo>
                  <a:pt x="3060376" y="2880798"/>
                  <a:pt x="3073076" y="2885878"/>
                  <a:pt x="3064186" y="2915088"/>
                </a:cubicBezTo>
                <a:cubicBezTo>
                  <a:pt x="3055296" y="2944298"/>
                  <a:pt x="3032436" y="2986208"/>
                  <a:pt x="3018466" y="3014148"/>
                </a:cubicBezTo>
                <a:cubicBezTo>
                  <a:pt x="3004496" y="3042088"/>
                  <a:pt x="2990526" y="3064948"/>
                  <a:pt x="2980366" y="3082728"/>
                </a:cubicBezTo>
                <a:cubicBezTo>
                  <a:pt x="2970206" y="3100508"/>
                  <a:pt x="2961316" y="3042088"/>
                  <a:pt x="2957506" y="3120828"/>
                </a:cubicBezTo>
                <a:cubicBezTo>
                  <a:pt x="2953696" y="3199568"/>
                  <a:pt x="2948616" y="3485318"/>
                  <a:pt x="2957506" y="3555168"/>
                </a:cubicBezTo>
                <a:cubicBezTo>
                  <a:pt x="2966396" y="3625018"/>
                  <a:pt x="2985446" y="3537388"/>
                  <a:pt x="3010846" y="3539928"/>
                </a:cubicBezTo>
                <a:cubicBezTo>
                  <a:pt x="3036246" y="3542468"/>
                  <a:pt x="3088316" y="3555168"/>
                  <a:pt x="3109906" y="3570408"/>
                </a:cubicBezTo>
                <a:cubicBezTo>
                  <a:pt x="3131496" y="3585648"/>
                  <a:pt x="3139116" y="3603428"/>
                  <a:pt x="3140386" y="3631368"/>
                </a:cubicBezTo>
                <a:cubicBezTo>
                  <a:pt x="3141656" y="3659308"/>
                  <a:pt x="3120066" y="3659308"/>
                  <a:pt x="3117526" y="3738048"/>
                </a:cubicBezTo>
                <a:cubicBezTo>
                  <a:pt x="3114986" y="3816788"/>
                  <a:pt x="3106096" y="4031418"/>
                  <a:pt x="3125146" y="4103808"/>
                </a:cubicBezTo>
                <a:cubicBezTo>
                  <a:pt x="3144196" y="4176198"/>
                  <a:pt x="3205156" y="4140638"/>
                  <a:pt x="3231826" y="4172388"/>
                </a:cubicBezTo>
                <a:cubicBezTo>
                  <a:pt x="3258496" y="4204138"/>
                  <a:pt x="3268656" y="4254938"/>
                  <a:pt x="3285166" y="4294308"/>
                </a:cubicBezTo>
                <a:cubicBezTo>
                  <a:pt x="3301676" y="4333678"/>
                  <a:pt x="3286436" y="4350188"/>
                  <a:pt x="3330886" y="4408608"/>
                </a:cubicBezTo>
                <a:cubicBezTo>
                  <a:pt x="3372796" y="4458138"/>
                  <a:pt x="3458698" y="4542875"/>
                  <a:pt x="3551866" y="4644828"/>
                </a:cubicBezTo>
                <a:cubicBezTo>
                  <a:pt x="3645035" y="4746781"/>
                  <a:pt x="3798457" y="4911106"/>
                  <a:pt x="3889897" y="5020326"/>
                </a:cubicBezTo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>
            <a:outerShdw blurRad="101600" dist="635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2092859" y="2659931"/>
            <a:ext cx="672975" cy="922942"/>
          </a:xfrm>
          <a:custGeom>
            <a:avLst/>
            <a:gdLst>
              <a:gd name="connsiteX0" fmla="*/ 1106997 w 2213994"/>
              <a:gd name="connsiteY0" fmla="*/ 432449 h 2180359"/>
              <a:gd name="connsiteX1" fmla="*/ 431357 w 2213994"/>
              <a:gd name="connsiteY1" fmla="*/ 1108089 h 2180359"/>
              <a:gd name="connsiteX2" fmla="*/ 1106997 w 2213994"/>
              <a:gd name="connsiteY2" fmla="*/ 1783729 h 2180359"/>
              <a:gd name="connsiteX3" fmla="*/ 1782637 w 2213994"/>
              <a:gd name="connsiteY3" fmla="*/ 1108089 h 2180359"/>
              <a:gd name="connsiteX4" fmla="*/ 1106997 w 2213994"/>
              <a:gd name="connsiteY4" fmla="*/ 432449 h 2180359"/>
              <a:gd name="connsiteX5" fmla="*/ 1016339 w 2213994"/>
              <a:gd name="connsiteY5" fmla="*/ 0 h 2180359"/>
              <a:gd name="connsiteX6" fmla="*/ 1197655 w 2213994"/>
              <a:gd name="connsiteY6" fmla="*/ 0 h 2180359"/>
              <a:gd name="connsiteX7" fmla="*/ 1237062 w 2213994"/>
              <a:gd name="connsiteY7" fmla="*/ 223520 h 2180359"/>
              <a:gd name="connsiteX8" fmla="*/ 1575952 w 2213994"/>
              <a:gd name="connsiteY8" fmla="*/ 346866 h 2180359"/>
              <a:gd name="connsiteX9" fmla="*/ 1749815 w 2213994"/>
              <a:gd name="connsiteY9" fmla="*/ 200970 h 2180359"/>
              <a:gd name="connsiteX10" fmla="*/ 1888711 w 2213994"/>
              <a:gd name="connsiteY10" fmla="*/ 317518 h 2180359"/>
              <a:gd name="connsiteX11" fmla="*/ 1775222 w 2213994"/>
              <a:gd name="connsiteY11" fmla="*/ 514074 h 2180359"/>
              <a:gd name="connsiteX12" fmla="*/ 1955541 w 2213994"/>
              <a:gd name="connsiteY12" fmla="*/ 826396 h 2180359"/>
              <a:gd name="connsiteX13" fmla="*/ 2182509 w 2213994"/>
              <a:gd name="connsiteY13" fmla="*/ 826390 h 2180359"/>
              <a:gd name="connsiteX14" fmla="*/ 2213994 w 2213994"/>
              <a:gd name="connsiteY14" fmla="*/ 1004952 h 2180359"/>
              <a:gd name="connsiteX15" fmla="*/ 2000713 w 2213994"/>
              <a:gd name="connsiteY15" fmla="*/ 1082574 h 2180359"/>
              <a:gd name="connsiteX16" fmla="*/ 1938089 w 2213994"/>
              <a:gd name="connsiteY16" fmla="*/ 1437734 h 2180359"/>
              <a:gd name="connsiteX17" fmla="*/ 2111959 w 2213994"/>
              <a:gd name="connsiteY17" fmla="*/ 1583621 h 2180359"/>
              <a:gd name="connsiteX18" fmla="*/ 2021301 w 2213994"/>
              <a:gd name="connsiteY18" fmla="*/ 1740646 h 2180359"/>
              <a:gd name="connsiteX19" fmla="*/ 1808024 w 2213994"/>
              <a:gd name="connsiteY19" fmla="*/ 1663013 h 2180359"/>
              <a:gd name="connsiteX20" fmla="*/ 1531759 w 2213994"/>
              <a:gd name="connsiteY20" fmla="*/ 1894827 h 2180359"/>
              <a:gd name="connsiteX21" fmla="*/ 1571177 w 2213994"/>
              <a:gd name="connsiteY21" fmla="*/ 2118345 h 2180359"/>
              <a:gd name="connsiteX22" fmla="*/ 1400795 w 2213994"/>
              <a:gd name="connsiteY22" fmla="*/ 2180359 h 2180359"/>
              <a:gd name="connsiteX23" fmla="*/ 1287316 w 2213994"/>
              <a:gd name="connsiteY23" fmla="*/ 1983797 h 2180359"/>
              <a:gd name="connsiteX24" fmla="*/ 926677 w 2213994"/>
              <a:gd name="connsiteY24" fmla="*/ 1983797 h 2180359"/>
              <a:gd name="connsiteX25" fmla="*/ 813199 w 2213994"/>
              <a:gd name="connsiteY25" fmla="*/ 2180359 h 2180359"/>
              <a:gd name="connsiteX26" fmla="*/ 642817 w 2213994"/>
              <a:gd name="connsiteY26" fmla="*/ 2118345 h 2180359"/>
              <a:gd name="connsiteX27" fmla="*/ 682236 w 2213994"/>
              <a:gd name="connsiteY27" fmla="*/ 1894827 h 2180359"/>
              <a:gd name="connsiteX28" fmla="*/ 405971 w 2213994"/>
              <a:gd name="connsiteY28" fmla="*/ 1663013 h 2180359"/>
              <a:gd name="connsiteX29" fmla="*/ 192693 w 2213994"/>
              <a:gd name="connsiteY29" fmla="*/ 1740646 h 2180359"/>
              <a:gd name="connsiteX30" fmla="*/ 102035 w 2213994"/>
              <a:gd name="connsiteY30" fmla="*/ 1583621 h 2180359"/>
              <a:gd name="connsiteX31" fmla="*/ 275905 w 2213994"/>
              <a:gd name="connsiteY31" fmla="*/ 1437734 h 2180359"/>
              <a:gd name="connsiteX32" fmla="*/ 213281 w 2213994"/>
              <a:gd name="connsiteY32" fmla="*/ 1082574 h 2180359"/>
              <a:gd name="connsiteX33" fmla="*/ 0 w 2213994"/>
              <a:gd name="connsiteY33" fmla="*/ 1004952 h 2180359"/>
              <a:gd name="connsiteX34" fmla="*/ 31485 w 2213994"/>
              <a:gd name="connsiteY34" fmla="*/ 826390 h 2180359"/>
              <a:gd name="connsiteX35" fmla="*/ 258452 w 2213994"/>
              <a:gd name="connsiteY35" fmla="*/ 826396 h 2180359"/>
              <a:gd name="connsiteX36" fmla="*/ 438771 w 2213994"/>
              <a:gd name="connsiteY36" fmla="*/ 514074 h 2180359"/>
              <a:gd name="connsiteX37" fmla="*/ 325283 w 2213994"/>
              <a:gd name="connsiteY37" fmla="*/ 317518 h 2180359"/>
              <a:gd name="connsiteX38" fmla="*/ 464179 w 2213994"/>
              <a:gd name="connsiteY38" fmla="*/ 200970 h 2180359"/>
              <a:gd name="connsiteX39" fmla="*/ 638042 w 2213994"/>
              <a:gd name="connsiteY39" fmla="*/ 346866 h 2180359"/>
              <a:gd name="connsiteX40" fmla="*/ 976932 w 2213994"/>
              <a:gd name="connsiteY40" fmla="*/ 223520 h 2180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213994" h="2180359">
                <a:moveTo>
                  <a:pt x="1106997" y="432449"/>
                </a:moveTo>
                <a:cubicBezTo>
                  <a:pt x="733851" y="432449"/>
                  <a:pt x="431357" y="734943"/>
                  <a:pt x="431357" y="1108089"/>
                </a:cubicBezTo>
                <a:cubicBezTo>
                  <a:pt x="431357" y="1481235"/>
                  <a:pt x="733851" y="1783729"/>
                  <a:pt x="1106997" y="1783729"/>
                </a:cubicBezTo>
                <a:cubicBezTo>
                  <a:pt x="1480143" y="1783729"/>
                  <a:pt x="1782637" y="1481235"/>
                  <a:pt x="1782637" y="1108089"/>
                </a:cubicBezTo>
                <a:cubicBezTo>
                  <a:pt x="1782637" y="734943"/>
                  <a:pt x="1480143" y="432449"/>
                  <a:pt x="1106997" y="432449"/>
                </a:cubicBezTo>
                <a:close/>
                <a:moveTo>
                  <a:pt x="1016339" y="0"/>
                </a:moveTo>
                <a:lnTo>
                  <a:pt x="1197655" y="0"/>
                </a:lnTo>
                <a:lnTo>
                  <a:pt x="1237062" y="223520"/>
                </a:lnTo>
                <a:cubicBezTo>
                  <a:pt x="1357231" y="241189"/>
                  <a:pt x="1472539" y="283158"/>
                  <a:pt x="1575952" y="346866"/>
                </a:cubicBezTo>
                <a:lnTo>
                  <a:pt x="1749815" y="200970"/>
                </a:lnTo>
                <a:lnTo>
                  <a:pt x="1888711" y="317518"/>
                </a:lnTo>
                <a:lnTo>
                  <a:pt x="1775222" y="514074"/>
                </a:lnTo>
                <a:cubicBezTo>
                  <a:pt x="1855919" y="604853"/>
                  <a:pt x="1917273" y="711121"/>
                  <a:pt x="1955541" y="826396"/>
                </a:cubicBezTo>
                <a:lnTo>
                  <a:pt x="2182509" y="826390"/>
                </a:lnTo>
                <a:lnTo>
                  <a:pt x="2213994" y="1004952"/>
                </a:lnTo>
                <a:lnTo>
                  <a:pt x="2000713" y="1082574"/>
                </a:lnTo>
                <a:cubicBezTo>
                  <a:pt x="2004179" y="1203985"/>
                  <a:pt x="1982871" y="1324830"/>
                  <a:pt x="1938089" y="1437734"/>
                </a:cubicBezTo>
                <a:lnTo>
                  <a:pt x="2111959" y="1583621"/>
                </a:lnTo>
                <a:lnTo>
                  <a:pt x="2021301" y="1740646"/>
                </a:lnTo>
                <a:lnTo>
                  <a:pt x="1808024" y="1663013"/>
                </a:lnTo>
                <a:cubicBezTo>
                  <a:pt x="1732638" y="1758248"/>
                  <a:pt x="1638637" y="1837123"/>
                  <a:pt x="1531759" y="1894827"/>
                </a:cubicBezTo>
                <a:lnTo>
                  <a:pt x="1571177" y="2118345"/>
                </a:lnTo>
                <a:lnTo>
                  <a:pt x="1400795" y="2180359"/>
                </a:lnTo>
                <a:lnTo>
                  <a:pt x="1287316" y="1983797"/>
                </a:lnTo>
                <a:cubicBezTo>
                  <a:pt x="1168351" y="2008293"/>
                  <a:pt x="1045642" y="2008293"/>
                  <a:pt x="926677" y="1983797"/>
                </a:cubicBezTo>
                <a:lnTo>
                  <a:pt x="813199" y="2180359"/>
                </a:lnTo>
                <a:lnTo>
                  <a:pt x="642817" y="2118345"/>
                </a:lnTo>
                <a:lnTo>
                  <a:pt x="682236" y="1894827"/>
                </a:lnTo>
                <a:cubicBezTo>
                  <a:pt x="575358" y="1837123"/>
                  <a:pt x="481357" y="1758247"/>
                  <a:pt x="405971" y="1663013"/>
                </a:cubicBezTo>
                <a:lnTo>
                  <a:pt x="192693" y="1740646"/>
                </a:lnTo>
                <a:lnTo>
                  <a:pt x="102035" y="1583621"/>
                </a:lnTo>
                <a:lnTo>
                  <a:pt x="275905" y="1437734"/>
                </a:lnTo>
                <a:cubicBezTo>
                  <a:pt x="231123" y="1324830"/>
                  <a:pt x="209814" y="1203985"/>
                  <a:pt x="213281" y="1082574"/>
                </a:cubicBezTo>
                <a:lnTo>
                  <a:pt x="0" y="1004952"/>
                </a:lnTo>
                <a:lnTo>
                  <a:pt x="31485" y="826390"/>
                </a:lnTo>
                <a:lnTo>
                  <a:pt x="258452" y="826396"/>
                </a:lnTo>
                <a:cubicBezTo>
                  <a:pt x="296720" y="711121"/>
                  <a:pt x="358074" y="604852"/>
                  <a:pt x="438771" y="514074"/>
                </a:cubicBezTo>
                <a:lnTo>
                  <a:pt x="325283" y="317518"/>
                </a:lnTo>
                <a:lnTo>
                  <a:pt x="464179" y="200970"/>
                </a:lnTo>
                <a:lnTo>
                  <a:pt x="638042" y="346866"/>
                </a:lnTo>
                <a:cubicBezTo>
                  <a:pt x="741454" y="283158"/>
                  <a:pt x="856763" y="241190"/>
                  <a:pt x="976932" y="223520"/>
                </a:cubicBezTo>
                <a:close/>
              </a:path>
            </a:pathLst>
          </a:custGeom>
          <a:solidFill>
            <a:srgbClr val="84DFFE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6" name="Freeform 6"/>
          <p:cNvSpPr/>
          <p:nvPr/>
        </p:nvSpPr>
        <p:spPr>
          <a:xfrm>
            <a:off x="2474397" y="3335342"/>
            <a:ext cx="755187" cy="1035691"/>
          </a:xfrm>
          <a:custGeom>
            <a:avLst/>
            <a:gdLst>
              <a:gd name="connsiteX0" fmla="*/ 1106997 w 2213994"/>
              <a:gd name="connsiteY0" fmla="*/ 561989 h 2180359"/>
              <a:gd name="connsiteX1" fmla="*/ 560897 w 2213994"/>
              <a:gd name="connsiteY1" fmla="*/ 1108089 h 2180359"/>
              <a:gd name="connsiteX2" fmla="*/ 1106997 w 2213994"/>
              <a:gd name="connsiteY2" fmla="*/ 1654189 h 2180359"/>
              <a:gd name="connsiteX3" fmla="*/ 1653097 w 2213994"/>
              <a:gd name="connsiteY3" fmla="*/ 1108089 h 2180359"/>
              <a:gd name="connsiteX4" fmla="*/ 1106997 w 2213994"/>
              <a:gd name="connsiteY4" fmla="*/ 561989 h 2180359"/>
              <a:gd name="connsiteX5" fmla="*/ 1016339 w 2213994"/>
              <a:gd name="connsiteY5" fmla="*/ 0 h 2180359"/>
              <a:gd name="connsiteX6" fmla="*/ 1197655 w 2213994"/>
              <a:gd name="connsiteY6" fmla="*/ 0 h 2180359"/>
              <a:gd name="connsiteX7" fmla="*/ 1237062 w 2213994"/>
              <a:gd name="connsiteY7" fmla="*/ 223520 h 2180359"/>
              <a:gd name="connsiteX8" fmla="*/ 1575952 w 2213994"/>
              <a:gd name="connsiteY8" fmla="*/ 346866 h 2180359"/>
              <a:gd name="connsiteX9" fmla="*/ 1749815 w 2213994"/>
              <a:gd name="connsiteY9" fmla="*/ 200970 h 2180359"/>
              <a:gd name="connsiteX10" fmla="*/ 1888711 w 2213994"/>
              <a:gd name="connsiteY10" fmla="*/ 317518 h 2180359"/>
              <a:gd name="connsiteX11" fmla="*/ 1775222 w 2213994"/>
              <a:gd name="connsiteY11" fmla="*/ 514074 h 2180359"/>
              <a:gd name="connsiteX12" fmla="*/ 1955541 w 2213994"/>
              <a:gd name="connsiteY12" fmla="*/ 826396 h 2180359"/>
              <a:gd name="connsiteX13" fmla="*/ 2182509 w 2213994"/>
              <a:gd name="connsiteY13" fmla="*/ 826390 h 2180359"/>
              <a:gd name="connsiteX14" fmla="*/ 2213994 w 2213994"/>
              <a:gd name="connsiteY14" fmla="*/ 1004952 h 2180359"/>
              <a:gd name="connsiteX15" fmla="*/ 2000713 w 2213994"/>
              <a:gd name="connsiteY15" fmla="*/ 1082574 h 2180359"/>
              <a:gd name="connsiteX16" fmla="*/ 1938089 w 2213994"/>
              <a:gd name="connsiteY16" fmla="*/ 1437734 h 2180359"/>
              <a:gd name="connsiteX17" fmla="*/ 2111959 w 2213994"/>
              <a:gd name="connsiteY17" fmla="*/ 1583621 h 2180359"/>
              <a:gd name="connsiteX18" fmla="*/ 2021301 w 2213994"/>
              <a:gd name="connsiteY18" fmla="*/ 1740646 h 2180359"/>
              <a:gd name="connsiteX19" fmla="*/ 1808024 w 2213994"/>
              <a:gd name="connsiteY19" fmla="*/ 1663013 h 2180359"/>
              <a:gd name="connsiteX20" fmla="*/ 1531759 w 2213994"/>
              <a:gd name="connsiteY20" fmla="*/ 1894827 h 2180359"/>
              <a:gd name="connsiteX21" fmla="*/ 1571177 w 2213994"/>
              <a:gd name="connsiteY21" fmla="*/ 2118345 h 2180359"/>
              <a:gd name="connsiteX22" fmla="*/ 1400795 w 2213994"/>
              <a:gd name="connsiteY22" fmla="*/ 2180359 h 2180359"/>
              <a:gd name="connsiteX23" fmla="*/ 1287316 w 2213994"/>
              <a:gd name="connsiteY23" fmla="*/ 1983797 h 2180359"/>
              <a:gd name="connsiteX24" fmla="*/ 926677 w 2213994"/>
              <a:gd name="connsiteY24" fmla="*/ 1983797 h 2180359"/>
              <a:gd name="connsiteX25" fmla="*/ 813199 w 2213994"/>
              <a:gd name="connsiteY25" fmla="*/ 2180359 h 2180359"/>
              <a:gd name="connsiteX26" fmla="*/ 642817 w 2213994"/>
              <a:gd name="connsiteY26" fmla="*/ 2118345 h 2180359"/>
              <a:gd name="connsiteX27" fmla="*/ 682236 w 2213994"/>
              <a:gd name="connsiteY27" fmla="*/ 1894827 h 2180359"/>
              <a:gd name="connsiteX28" fmla="*/ 405971 w 2213994"/>
              <a:gd name="connsiteY28" fmla="*/ 1663013 h 2180359"/>
              <a:gd name="connsiteX29" fmla="*/ 192693 w 2213994"/>
              <a:gd name="connsiteY29" fmla="*/ 1740646 h 2180359"/>
              <a:gd name="connsiteX30" fmla="*/ 102035 w 2213994"/>
              <a:gd name="connsiteY30" fmla="*/ 1583621 h 2180359"/>
              <a:gd name="connsiteX31" fmla="*/ 275905 w 2213994"/>
              <a:gd name="connsiteY31" fmla="*/ 1437734 h 2180359"/>
              <a:gd name="connsiteX32" fmla="*/ 213281 w 2213994"/>
              <a:gd name="connsiteY32" fmla="*/ 1082574 h 2180359"/>
              <a:gd name="connsiteX33" fmla="*/ 0 w 2213994"/>
              <a:gd name="connsiteY33" fmla="*/ 1004952 h 2180359"/>
              <a:gd name="connsiteX34" fmla="*/ 31485 w 2213994"/>
              <a:gd name="connsiteY34" fmla="*/ 826390 h 2180359"/>
              <a:gd name="connsiteX35" fmla="*/ 258452 w 2213994"/>
              <a:gd name="connsiteY35" fmla="*/ 826396 h 2180359"/>
              <a:gd name="connsiteX36" fmla="*/ 438771 w 2213994"/>
              <a:gd name="connsiteY36" fmla="*/ 514074 h 2180359"/>
              <a:gd name="connsiteX37" fmla="*/ 325283 w 2213994"/>
              <a:gd name="connsiteY37" fmla="*/ 317518 h 2180359"/>
              <a:gd name="connsiteX38" fmla="*/ 464179 w 2213994"/>
              <a:gd name="connsiteY38" fmla="*/ 200970 h 2180359"/>
              <a:gd name="connsiteX39" fmla="*/ 638042 w 2213994"/>
              <a:gd name="connsiteY39" fmla="*/ 346866 h 2180359"/>
              <a:gd name="connsiteX40" fmla="*/ 976932 w 2213994"/>
              <a:gd name="connsiteY40" fmla="*/ 223520 h 2180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213994" h="2180359">
                <a:moveTo>
                  <a:pt x="1106997" y="561989"/>
                </a:moveTo>
                <a:cubicBezTo>
                  <a:pt x="805394" y="561989"/>
                  <a:pt x="560897" y="806486"/>
                  <a:pt x="560897" y="1108089"/>
                </a:cubicBezTo>
                <a:cubicBezTo>
                  <a:pt x="560897" y="1409692"/>
                  <a:pt x="805394" y="1654189"/>
                  <a:pt x="1106997" y="1654189"/>
                </a:cubicBezTo>
                <a:cubicBezTo>
                  <a:pt x="1408600" y="1654189"/>
                  <a:pt x="1653097" y="1409692"/>
                  <a:pt x="1653097" y="1108089"/>
                </a:cubicBezTo>
                <a:cubicBezTo>
                  <a:pt x="1653097" y="806486"/>
                  <a:pt x="1408600" y="561989"/>
                  <a:pt x="1106997" y="561989"/>
                </a:cubicBezTo>
                <a:close/>
                <a:moveTo>
                  <a:pt x="1016339" y="0"/>
                </a:moveTo>
                <a:lnTo>
                  <a:pt x="1197655" y="0"/>
                </a:lnTo>
                <a:lnTo>
                  <a:pt x="1237062" y="223520"/>
                </a:lnTo>
                <a:cubicBezTo>
                  <a:pt x="1357231" y="241189"/>
                  <a:pt x="1472539" y="283158"/>
                  <a:pt x="1575952" y="346866"/>
                </a:cubicBezTo>
                <a:lnTo>
                  <a:pt x="1749815" y="200970"/>
                </a:lnTo>
                <a:lnTo>
                  <a:pt x="1888711" y="317518"/>
                </a:lnTo>
                <a:lnTo>
                  <a:pt x="1775222" y="514074"/>
                </a:lnTo>
                <a:cubicBezTo>
                  <a:pt x="1855919" y="604853"/>
                  <a:pt x="1917273" y="711121"/>
                  <a:pt x="1955541" y="826396"/>
                </a:cubicBezTo>
                <a:lnTo>
                  <a:pt x="2182509" y="826390"/>
                </a:lnTo>
                <a:lnTo>
                  <a:pt x="2213994" y="1004952"/>
                </a:lnTo>
                <a:lnTo>
                  <a:pt x="2000713" y="1082574"/>
                </a:lnTo>
                <a:cubicBezTo>
                  <a:pt x="2004179" y="1203985"/>
                  <a:pt x="1982871" y="1324830"/>
                  <a:pt x="1938089" y="1437734"/>
                </a:cubicBezTo>
                <a:lnTo>
                  <a:pt x="2111959" y="1583621"/>
                </a:lnTo>
                <a:lnTo>
                  <a:pt x="2021301" y="1740646"/>
                </a:lnTo>
                <a:lnTo>
                  <a:pt x="1808024" y="1663013"/>
                </a:lnTo>
                <a:cubicBezTo>
                  <a:pt x="1732638" y="1758248"/>
                  <a:pt x="1638637" y="1837123"/>
                  <a:pt x="1531759" y="1894827"/>
                </a:cubicBezTo>
                <a:lnTo>
                  <a:pt x="1571177" y="2118345"/>
                </a:lnTo>
                <a:lnTo>
                  <a:pt x="1400795" y="2180359"/>
                </a:lnTo>
                <a:lnTo>
                  <a:pt x="1287316" y="1983797"/>
                </a:lnTo>
                <a:cubicBezTo>
                  <a:pt x="1168351" y="2008293"/>
                  <a:pt x="1045642" y="2008293"/>
                  <a:pt x="926677" y="1983797"/>
                </a:cubicBezTo>
                <a:lnTo>
                  <a:pt x="813199" y="2180359"/>
                </a:lnTo>
                <a:lnTo>
                  <a:pt x="642817" y="2118345"/>
                </a:lnTo>
                <a:lnTo>
                  <a:pt x="682236" y="1894827"/>
                </a:lnTo>
                <a:cubicBezTo>
                  <a:pt x="575358" y="1837123"/>
                  <a:pt x="481357" y="1758247"/>
                  <a:pt x="405971" y="1663013"/>
                </a:cubicBezTo>
                <a:lnTo>
                  <a:pt x="192693" y="1740646"/>
                </a:lnTo>
                <a:lnTo>
                  <a:pt x="102035" y="1583621"/>
                </a:lnTo>
                <a:lnTo>
                  <a:pt x="275905" y="1437734"/>
                </a:lnTo>
                <a:cubicBezTo>
                  <a:pt x="231123" y="1324830"/>
                  <a:pt x="209814" y="1203985"/>
                  <a:pt x="213281" y="1082574"/>
                </a:cubicBezTo>
                <a:lnTo>
                  <a:pt x="0" y="1004952"/>
                </a:lnTo>
                <a:lnTo>
                  <a:pt x="31485" y="826390"/>
                </a:lnTo>
                <a:lnTo>
                  <a:pt x="258452" y="826396"/>
                </a:lnTo>
                <a:cubicBezTo>
                  <a:pt x="296720" y="711121"/>
                  <a:pt x="358074" y="604852"/>
                  <a:pt x="438771" y="514074"/>
                </a:cubicBezTo>
                <a:lnTo>
                  <a:pt x="325283" y="317518"/>
                </a:lnTo>
                <a:lnTo>
                  <a:pt x="464179" y="200970"/>
                </a:lnTo>
                <a:lnTo>
                  <a:pt x="638042" y="346866"/>
                </a:lnTo>
                <a:cubicBezTo>
                  <a:pt x="741454" y="283158"/>
                  <a:pt x="856763" y="241190"/>
                  <a:pt x="976932" y="223520"/>
                </a:cubicBezTo>
                <a:close/>
              </a:path>
            </a:pathLst>
          </a:custGeom>
          <a:solidFill>
            <a:srgbClr val="F5C35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" name="Freeform 7"/>
          <p:cNvSpPr/>
          <p:nvPr/>
        </p:nvSpPr>
        <p:spPr>
          <a:xfrm>
            <a:off x="2752185" y="2763716"/>
            <a:ext cx="428156" cy="646964"/>
          </a:xfrm>
          <a:custGeom>
            <a:avLst/>
            <a:gdLst>
              <a:gd name="connsiteX0" fmla="*/ 731630 w 1463260"/>
              <a:gd name="connsiteY0" fmla="*/ 406741 h 1587726"/>
              <a:gd name="connsiteX1" fmla="*/ 344508 w 1463260"/>
              <a:gd name="connsiteY1" fmla="*/ 793863 h 1587726"/>
              <a:gd name="connsiteX2" fmla="*/ 731630 w 1463260"/>
              <a:gd name="connsiteY2" fmla="*/ 1180985 h 1587726"/>
              <a:gd name="connsiteX3" fmla="*/ 1118752 w 1463260"/>
              <a:gd name="connsiteY3" fmla="*/ 793863 h 1587726"/>
              <a:gd name="connsiteX4" fmla="*/ 731630 w 1463260"/>
              <a:gd name="connsiteY4" fmla="*/ 406741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406741"/>
                </a:moveTo>
                <a:cubicBezTo>
                  <a:pt x="517828" y="406741"/>
                  <a:pt x="344508" y="580061"/>
                  <a:pt x="344508" y="793863"/>
                </a:cubicBezTo>
                <a:cubicBezTo>
                  <a:pt x="344508" y="1007665"/>
                  <a:pt x="517828" y="1180985"/>
                  <a:pt x="731630" y="1180985"/>
                </a:cubicBezTo>
                <a:cubicBezTo>
                  <a:pt x="945432" y="1180985"/>
                  <a:pt x="1118752" y="1007665"/>
                  <a:pt x="1118752" y="793863"/>
                </a:cubicBezTo>
                <a:cubicBezTo>
                  <a:pt x="1118752" y="580061"/>
                  <a:pt x="945432" y="406741"/>
                  <a:pt x="731630" y="406741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53D7C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" name="Freeform 8"/>
          <p:cNvSpPr/>
          <p:nvPr/>
        </p:nvSpPr>
        <p:spPr>
          <a:xfrm rot="20700000">
            <a:off x="2039581" y="3499094"/>
            <a:ext cx="474445" cy="716909"/>
          </a:xfrm>
          <a:custGeom>
            <a:avLst/>
            <a:gdLst>
              <a:gd name="connsiteX0" fmla="*/ 823018 w 1433696"/>
              <a:gd name="connsiteY0" fmla="*/ 381592 h 1555648"/>
              <a:gd name="connsiteX1" fmla="*/ 320616 w 1433696"/>
              <a:gd name="connsiteY1" fmla="*/ 671654 h 1555648"/>
              <a:gd name="connsiteX2" fmla="*/ 610678 w 1433696"/>
              <a:gd name="connsiteY2" fmla="*/ 1174056 h 1555648"/>
              <a:gd name="connsiteX3" fmla="*/ 1113080 w 1433696"/>
              <a:gd name="connsiteY3" fmla="*/ 883994 h 1555648"/>
              <a:gd name="connsiteX4" fmla="*/ 823018 w 1433696"/>
              <a:gd name="connsiteY4" fmla="*/ 381592 h 1555648"/>
              <a:gd name="connsiteX5" fmla="*/ 803314 w 1433696"/>
              <a:gd name="connsiteY5" fmla="*/ 0 h 1555648"/>
              <a:gd name="connsiteX6" fmla="*/ 859474 w 1433696"/>
              <a:gd name="connsiteY6" fmla="*/ 238914 h 1555648"/>
              <a:gd name="connsiteX7" fmla="*/ 1112245 w 1433696"/>
              <a:gd name="connsiteY7" fmla="*/ 384851 h 1555648"/>
              <a:gd name="connsiteX8" fmla="*/ 1347230 w 1433696"/>
              <a:gd name="connsiteY8" fmla="*/ 314030 h 1555648"/>
              <a:gd name="connsiteX9" fmla="*/ 1433696 w 1433696"/>
              <a:gd name="connsiteY9" fmla="*/ 463794 h 1555648"/>
              <a:gd name="connsiteX10" fmla="*/ 1254871 w 1433696"/>
              <a:gd name="connsiteY10" fmla="*/ 631887 h 1555648"/>
              <a:gd name="connsiteX11" fmla="*/ 1254871 w 1433696"/>
              <a:gd name="connsiteY11" fmla="*/ 923761 h 1555648"/>
              <a:gd name="connsiteX12" fmla="*/ 1433696 w 1433696"/>
              <a:gd name="connsiteY12" fmla="*/ 1091854 h 1555648"/>
              <a:gd name="connsiteX13" fmla="*/ 1347230 w 1433696"/>
              <a:gd name="connsiteY13" fmla="*/ 1241618 h 1555648"/>
              <a:gd name="connsiteX14" fmla="*/ 1112245 w 1433696"/>
              <a:gd name="connsiteY14" fmla="*/ 1170797 h 1555648"/>
              <a:gd name="connsiteX15" fmla="*/ 859474 w 1433696"/>
              <a:gd name="connsiteY15" fmla="*/ 1316734 h 1555648"/>
              <a:gd name="connsiteX16" fmla="*/ 803314 w 1433696"/>
              <a:gd name="connsiteY16" fmla="*/ 1555648 h 1555648"/>
              <a:gd name="connsiteX17" fmla="*/ 630382 w 1433696"/>
              <a:gd name="connsiteY17" fmla="*/ 1555648 h 1555648"/>
              <a:gd name="connsiteX18" fmla="*/ 574222 w 1433696"/>
              <a:gd name="connsiteY18" fmla="*/ 1316734 h 1555648"/>
              <a:gd name="connsiteX19" fmla="*/ 321451 w 1433696"/>
              <a:gd name="connsiteY19" fmla="*/ 1170797 h 1555648"/>
              <a:gd name="connsiteX20" fmla="*/ 86466 w 1433696"/>
              <a:gd name="connsiteY20" fmla="*/ 1241618 h 1555648"/>
              <a:gd name="connsiteX21" fmla="*/ 0 w 1433696"/>
              <a:gd name="connsiteY21" fmla="*/ 1091854 h 1555648"/>
              <a:gd name="connsiteX22" fmla="*/ 178825 w 1433696"/>
              <a:gd name="connsiteY22" fmla="*/ 923761 h 1555648"/>
              <a:gd name="connsiteX23" fmla="*/ 178825 w 1433696"/>
              <a:gd name="connsiteY23" fmla="*/ 631887 h 1555648"/>
              <a:gd name="connsiteX24" fmla="*/ 0 w 1433696"/>
              <a:gd name="connsiteY24" fmla="*/ 463794 h 1555648"/>
              <a:gd name="connsiteX25" fmla="*/ 86466 w 1433696"/>
              <a:gd name="connsiteY25" fmla="*/ 314030 h 1555648"/>
              <a:gd name="connsiteX26" fmla="*/ 321451 w 1433696"/>
              <a:gd name="connsiteY26" fmla="*/ 384851 h 1555648"/>
              <a:gd name="connsiteX27" fmla="*/ 574222 w 1433696"/>
              <a:gd name="connsiteY27" fmla="*/ 238914 h 1555648"/>
              <a:gd name="connsiteX28" fmla="*/ 630382 w 1433696"/>
              <a:gd name="connsiteY28" fmla="*/ 0 h 1555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433696" h="1555648">
                <a:moveTo>
                  <a:pt x="823018" y="381592"/>
                </a:moveTo>
                <a:cubicBezTo>
                  <a:pt x="604185" y="322955"/>
                  <a:pt x="379252" y="452820"/>
                  <a:pt x="320616" y="671654"/>
                </a:cubicBezTo>
                <a:cubicBezTo>
                  <a:pt x="261979" y="890487"/>
                  <a:pt x="391844" y="1115420"/>
                  <a:pt x="610678" y="1174056"/>
                </a:cubicBezTo>
                <a:cubicBezTo>
                  <a:pt x="829511" y="1232693"/>
                  <a:pt x="1054444" y="1102828"/>
                  <a:pt x="1113080" y="883994"/>
                </a:cubicBezTo>
                <a:cubicBezTo>
                  <a:pt x="1171717" y="665161"/>
                  <a:pt x="1041852" y="440228"/>
                  <a:pt x="823018" y="381592"/>
                </a:cubicBezTo>
                <a:close/>
                <a:moveTo>
                  <a:pt x="803314" y="0"/>
                </a:moveTo>
                <a:lnTo>
                  <a:pt x="859474" y="238914"/>
                </a:lnTo>
                <a:cubicBezTo>
                  <a:pt x="955196" y="264248"/>
                  <a:pt x="1042444" y="314620"/>
                  <a:pt x="1112245" y="384851"/>
                </a:cubicBezTo>
                <a:lnTo>
                  <a:pt x="1347230" y="314030"/>
                </a:lnTo>
                <a:lnTo>
                  <a:pt x="1433696" y="463794"/>
                </a:lnTo>
                <a:lnTo>
                  <a:pt x="1254871" y="631887"/>
                </a:lnTo>
                <a:cubicBezTo>
                  <a:pt x="1280793" y="727452"/>
                  <a:pt x="1280793" y="828197"/>
                  <a:pt x="1254871" y="923761"/>
                </a:cubicBezTo>
                <a:lnTo>
                  <a:pt x="1433696" y="1091854"/>
                </a:lnTo>
                <a:lnTo>
                  <a:pt x="1347230" y="1241618"/>
                </a:lnTo>
                <a:lnTo>
                  <a:pt x="1112245" y="1170797"/>
                </a:lnTo>
                <a:cubicBezTo>
                  <a:pt x="1042444" y="1241028"/>
                  <a:pt x="955197" y="1291401"/>
                  <a:pt x="859474" y="1316734"/>
                </a:cubicBezTo>
                <a:lnTo>
                  <a:pt x="803314" y="1555648"/>
                </a:lnTo>
                <a:lnTo>
                  <a:pt x="630382" y="1555648"/>
                </a:lnTo>
                <a:lnTo>
                  <a:pt x="574222" y="1316734"/>
                </a:lnTo>
                <a:cubicBezTo>
                  <a:pt x="478500" y="1291400"/>
                  <a:pt x="391252" y="1241028"/>
                  <a:pt x="321451" y="1170797"/>
                </a:cubicBezTo>
                <a:lnTo>
                  <a:pt x="86466" y="1241618"/>
                </a:lnTo>
                <a:lnTo>
                  <a:pt x="0" y="1091854"/>
                </a:lnTo>
                <a:lnTo>
                  <a:pt x="178825" y="923761"/>
                </a:lnTo>
                <a:cubicBezTo>
                  <a:pt x="152903" y="828196"/>
                  <a:pt x="152903" y="727451"/>
                  <a:pt x="178825" y="631887"/>
                </a:cubicBezTo>
                <a:lnTo>
                  <a:pt x="0" y="463794"/>
                </a:lnTo>
                <a:lnTo>
                  <a:pt x="86466" y="314030"/>
                </a:lnTo>
                <a:lnTo>
                  <a:pt x="321451" y="384851"/>
                </a:lnTo>
                <a:cubicBezTo>
                  <a:pt x="391252" y="314620"/>
                  <a:pt x="478499" y="264247"/>
                  <a:pt x="574222" y="238914"/>
                </a:cubicBezTo>
                <a:lnTo>
                  <a:pt x="630382" y="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Freeform 9"/>
          <p:cNvSpPr/>
          <p:nvPr/>
        </p:nvSpPr>
        <p:spPr>
          <a:xfrm>
            <a:off x="1860632" y="3183279"/>
            <a:ext cx="264450" cy="399597"/>
          </a:xfrm>
          <a:custGeom>
            <a:avLst/>
            <a:gdLst>
              <a:gd name="connsiteX0" fmla="*/ 731630 w 1463260"/>
              <a:gd name="connsiteY0" fmla="*/ 406741 h 1587726"/>
              <a:gd name="connsiteX1" fmla="*/ 344508 w 1463260"/>
              <a:gd name="connsiteY1" fmla="*/ 793863 h 1587726"/>
              <a:gd name="connsiteX2" fmla="*/ 731630 w 1463260"/>
              <a:gd name="connsiteY2" fmla="*/ 1180985 h 1587726"/>
              <a:gd name="connsiteX3" fmla="*/ 1118752 w 1463260"/>
              <a:gd name="connsiteY3" fmla="*/ 793863 h 1587726"/>
              <a:gd name="connsiteX4" fmla="*/ 731630 w 1463260"/>
              <a:gd name="connsiteY4" fmla="*/ 406741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406741"/>
                </a:moveTo>
                <a:cubicBezTo>
                  <a:pt x="517828" y="406741"/>
                  <a:pt x="344508" y="580061"/>
                  <a:pt x="344508" y="793863"/>
                </a:cubicBezTo>
                <a:cubicBezTo>
                  <a:pt x="344508" y="1007665"/>
                  <a:pt x="517828" y="1180985"/>
                  <a:pt x="731630" y="1180985"/>
                </a:cubicBezTo>
                <a:cubicBezTo>
                  <a:pt x="945432" y="1180985"/>
                  <a:pt x="1118752" y="1007665"/>
                  <a:pt x="1118752" y="793863"/>
                </a:cubicBezTo>
                <a:cubicBezTo>
                  <a:pt x="1118752" y="580061"/>
                  <a:pt x="945432" y="406741"/>
                  <a:pt x="731630" y="406741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D3D2D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" name="Freeform 10"/>
          <p:cNvSpPr/>
          <p:nvPr/>
        </p:nvSpPr>
        <p:spPr>
          <a:xfrm>
            <a:off x="3115670" y="3296981"/>
            <a:ext cx="264450" cy="399597"/>
          </a:xfrm>
          <a:custGeom>
            <a:avLst/>
            <a:gdLst>
              <a:gd name="connsiteX0" fmla="*/ 731630 w 1463260"/>
              <a:gd name="connsiteY0" fmla="*/ 406741 h 1587726"/>
              <a:gd name="connsiteX1" fmla="*/ 344508 w 1463260"/>
              <a:gd name="connsiteY1" fmla="*/ 793863 h 1587726"/>
              <a:gd name="connsiteX2" fmla="*/ 731630 w 1463260"/>
              <a:gd name="connsiteY2" fmla="*/ 1180985 h 1587726"/>
              <a:gd name="connsiteX3" fmla="*/ 1118752 w 1463260"/>
              <a:gd name="connsiteY3" fmla="*/ 793863 h 1587726"/>
              <a:gd name="connsiteX4" fmla="*/ 731630 w 1463260"/>
              <a:gd name="connsiteY4" fmla="*/ 406741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406741"/>
                </a:moveTo>
                <a:cubicBezTo>
                  <a:pt x="517828" y="406741"/>
                  <a:pt x="344508" y="580061"/>
                  <a:pt x="344508" y="793863"/>
                </a:cubicBezTo>
                <a:cubicBezTo>
                  <a:pt x="344508" y="1007665"/>
                  <a:pt x="517828" y="1180985"/>
                  <a:pt x="731630" y="1180985"/>
                </a:cubicBezTo>
                <a:cubicBezTo>
                  <a:pt x="945432" y="1180985"/>
                  <a:pt x="1118752" y="1007665"/>
                  <a:pt x="1118752" y="793863"/>
                </a:cubicBezTo>
                <a:cubicBezTo>
                  <a:pt x="1118752" y="580061"/>
                  <a:pt x="945432" y="406741"/>
                  <a:pt x="731630" y="406741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E6E7E9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Freeform 11"/>
          <p:cNvSpPr/>
          <p:nvPr/>
        </p:nvSpPr>
        <p:spPr>
          <a:xfrm rot="20700000">
            <a:off x="2705396" y="3631674"/>
            <a:ext cx="293192" cy="443027"/>
          </a:xfrm>
          <a:custGeom>
            <a:avLst/>
            <a:gdLst>
              <a:gd name="connsiteX0" fmla="*/ 840547 w 1433696"/>
              <a:gd name="connsiteY0" fmla="*/ 316176 h 1555648"/>
              <a:gd name="connsiteX1" fmla="*/ 255200 w 1433696"/>
              <a:gd name="connsiteY1" fmla="*/ 654127 h 1555648"/>
              <a:gd name="connsiteX2" fmla="*/ 593150 w 1433696"/>
              <a:gd name="connsiteY2" fmla="*/ 1239474 h 1555648"/>
              <a:gd name="connsiteX3" fmla="*/ 1178498 w 1433696"/>
              <a:gd name="connsiteY3" fmla="*/ 901524 h 1555648"/>
              <a:gd name="connsiteX4" fmla="*/ 840547 w 1433696"/>
              <a:gd name="connsiteY4" fmla="*/ 316176 h 1555648"/>
              <a:gd name="connsiteX5" fmla="*/ 803314 w 1433696"/>
              <a:gd name="connsiteY5" fmla="*/ 0 h 1555648"/>
              <a:gd name="connsiteX6" fmla="*/ 859474 w 1433696"/>
              <a:gd name="connsiteY6" fmla="*/ 238914 h 1555648"/>
              <a:gd name="connsiteX7" fmla="*/ 1112245 w 1433696"/>
              <a:gd name="connsiteY7" fmla="*/ 384851 h 1555648"/>
              <a:gd name="connsiteX8" fmla="*/ 1347230 w 1433696"/>
              <a:gd name="connsiteY8" fmla="*/ 314030 h 1555648"/>
              <a:gd name="connsiteX9" fmla="*/ 1433696 w 1433696"/>
              <a:gd name="connsiteY9" fmla="*/ 463794 h 1555648"/>
              <a:gd name="connsiteX10" fmla="*/ 1254871 w 1433696"/>
              <a:gd name="connsiteY10" fmla="*/ 631887 h 1555648"/>
              <a:gd name="connsiteX11" fmla="*/ 1254871 w 1433696"/>
              <a:gd name="connsiteY11" fmla="*/ 923761 h 1555648"/>
              <a:gd name="connsiteX12" fmla="*/ 1433696 w 1433696"/>
              <a:gd name="connsiteY12" fmla="*/ 1091854 h 1555648"/>
              <a:gd name="connsiteX13" fmla="*/ 1347230 w 1433696"/>
              <a:gd name="connsiteY13" fmla="*/ 1241618 h 1555648"/>
              <a:gd name="connsiteX14" fmla="*/ 1112245 w 1433696"/>
              <a:gd name="connsiteY14" fmla="*/ 1170797 h 1555648"/>
              <a:gd name="connsiteX15" fmla="*/ 859474 w 1433696"/>
              <a:gd name="connsiteY15" fmla="*/ 1316734 h 1555648"/>
              <a:gd name="connsiteX16" fmla="*/ 803314 w 1433696"/>
              <a:gd name="connsiteY16" fmla="*/ 1555648 h 1555648"/>
              <a:gd name="connsiteX17" fmla="*/ 630382 w 1433696"/>
              <a:gd name="connsiteY17" fmla="*/ 1555648 h 1555648"/>
              <a:gd name="connsiteX18" fmla="*/ 574222 w 1433696"/>
              <a:gd name="connsiteY18" fmla="*/ 1316734 h 1555648"/>
              <a:gd name="connsiteX19" fmla="*/ 321451 w 1433696"/>
              <a:gd name="connsiteY19" fmla="*/ 1170797 h 1555648"/>
              <a:gd name="connsiteX20" fmla="*/ 86466 w 1433696"/>
              <a:gd name="connsiteY20" fmla="*/ 1241618 h 1555648"/>
              <a:gd name="connsiteX21" fmla="*/ 0 w 1433696"/>
              <a:gd name="connsiteY21" fmla="*/ 1091854 h 1555648"/>
              <a:gd name="connsiteX22" fmla="*/ 178825 w 1433696"/>
              <a:gd name="connsiteY22" fmla="*/ 923761 h 1555648"/>
              <a:gd name="connsiteX23" fmla="*/ 178825 w 1433696"/>
              <a:gd name="connsiteY23" fmla="*/ 631887 h 1555648"/>
              <a:gd name="connsiteX24" fmla="*/ 0 w 1433696"/>
              <a:gd name="connsiteY24" fmla="*/ 463794 h 1555648"/>
              <a:gd name="connsiteX25" fmla="*/ 86466 w 1433696"/>
              <a:gd name="connsiteY25" fmla="*/ 314030 h 1555648"/>
              <a:gd name="connsiteX26" fmla="*/ 321451 w 1433696"/>
              <a:gd name="connsiteY26" fmla="*/ 384851 h 1555648"/>
              <a:gd name="connsiteX27" fmla="*/ 574222 w 1433696"/>
              <a:gd name="connsiteY27" fmla="*/ 238914 h 1555648"/>
              <a:gd name="connsiteX28" fmla="*/ 630382 w 1433696"/>
              <a:gd name="connsiteY28" fmla="*/ 0 h 1555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433696" h="1555648">
                <a:moveTo>
                  <a:pt x="840547" y="316176"/>
                </a:moveTo>
                <a:cubicBezTo>
                  <a:pt x="585585" y="247860"/>
                  <a:pt x="323517" y="399165"/>
                  <a:pt x="255200" y="654127"/>
                </a:cubicBezTo>
                <a:cubicBezTo>
                  <a:pt x="186883" y="909089"/>
                  <a:pt x="338188" y="1171157"/>
                  <a:pt x="593150" y="1239474"/>
                </a:cubicBezTo>
                <a:cubicBezTo>
                  <a:pt x="848112" y="1307791"/>
                  <a:pt x="1110181" y="1156486"/>
                  <a:pt x="1178498" y="901524"/>
                </a:cubicBezTo>
                <a:cubicBezTo>
                  <a:pt x="1246814" y="646562"/>
                  <a:pt x="1095509" y="384493"/>
                  <a:pt x="840547" y="316176"/>
                </a:cubicBezTo>
                <a:close/>
                <a:moveTo>
                  <a:pt x="803314" y="0"/>
                </a:moveTo>
                <a:lnTo>
                  <a:pt x="859474" y="238914"/>
                </a:lnTo>
                <a:cubicBezTo>
                  <a:pt x="955196" y="264248"/>
                  <a:pt x="1042444" y="314620"/>
                  <a:pt x="1112245" y="384851"/>
                </a:cubicBezTo>
                <a:lnTo>
                  <a:pt x="1347230" y="314030"/>
                </a:lnTo>
                <a:lnTo>
                  <a:pt x="1433696" y="463794"/>
                </a:lnTo>
                <a:lnTo>
                  <a:pt x="1254871" y="631887"/>
                </a:lnTo>
                <a:cubicBezTo>
                  <a:pt x="1280793" y="727452"/>
                  <a:pt x="1280793" y="828197"/>
                  <a:pt x="1254871" y="923761"/>
                </a:cubicBezTo>
                <a:lnTo>
                  <a:pt x="1433696" y="1091854"/>
                </a:lnTo>
                <a:lnTo>
                  <a:pt x="1347230" y="1241618"/>
                </a:lnTo>
                <a:lnTo>
                  <a:pt x="1112245" y="1170797"/>
                </a:lnTo>
                <a:cubicBezTo>
                  <a:pt x="1042444" y="1241028"/>
                  <a:pt x="955197" y="1291401"/>
                  <a:pt x="859474" y="1316734"/>
                </a:cubicBezTo>
                <a:lnTo>
                  <a:pt x="803314" y="1555648"/>
                </a:lnTo>
                <a:lnTo>
                  <a:pt x="630382" y="1555648"/>
                </a:lnTo>
                <a:lnTo>
                  <a:pt x="574222" y="1316734"/>
                </a:lnTo>
                <a:cubicBezTo>
                  <a:pt x="478500" y="1291400"/>
                  <a:pt x="391252" y="1241028"/>
                  <a:pt x="321451" y="1170797"/>
                </a:cubicBezTo>
                <a:lnTo>
                  <a:pt x="86466" y="1241618"/>
                </a:lnTo>
                <a:lnTo>
                  <a:pt x="0" y="1091854"/>
                </a:lnTo>
                <a:lnTo>
                  <a:pt x="178825" y="923761"/>
                </a:lnTo>
                <a:cubicBezTo>
                  <a:pt x="152903" y="828196"/>
                  <a:pt x="152903" y="727451"/>
                  <a:pt x="178825" y="631887"/>
                </a:cubicBezTo>
                <a:lnTo>
                  <a:pt x="0" y="463794"/>
                </a:lnTo>
                <a:lnTo>
                  <a:pt x="86466" y="314030"/>
                </a:lnTo>
                <a:lnTo>
                  <a:pt x="321451" y="384851"/>
                </a:lnTo>
                <a:cubicBezTo>
                  <a:pt x="391252" y="314620"/>
                  <a:pt x="478499" y="264247"/>
                  <a:pt x="574222" y="238914"/>
                </a:cubicBezTo>
                <a:lnTo>
                  <a:pt x="630382" y="0"/>
                </a:lnTo>
                <a:close/>
              </a:path>
            </a:pathLst>
          </a:custGeom>
          <a:solidFill>
            <a:srgbClr val="F5C35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2" name="Freeform 12"/>
          <p:cNvSpPr/>
          <p:nvPr/>
        </p:nvSpPr>
        <p:spPr>
          <a:xfrm>
            <a:off x="2279259" y="2890701"/>
            <a:ext cx="305356" cy="461407"/>
          </a:xfrm>
          <a:custGeom>
            <a:avLst/>
            <a:gdLst>
              <a:gd name="connsiteX0" fmla="*/ 731630 w 1463260"/>
              <a:gd name="connsiteY0" fmla="*/ 383653 h 1587726"/>
              <a:gd name="connsiteX1" fmla="*/ 321420 w 1463260"/>
              <a:gd name="connsiteY1" fmla="*/ 793863 h 1587726"/>
              <a:gd name="connsiteX2" fmla="*/ 731630 w 1463260"/>
              <a:gd name="connsiteY2" fmla="*/ 1204073 h 1587726"/>
              <a:gd name="connsiteX3" fmla="*/ 1141840 w 1463260"/>
              <a:gd name="connsiteY3" fmla="*/ 793863 h 1587726"/>
              <a:gd name="connsiteX4" fmla="*/ 731630 w 1463260"/>
              <a:gd name="connsiteY4" fmla="*/ 383653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383653"/>
                </a:moveTo>
                <a:cubicBezTo>
                  <a:pt x="505077" y="383653"/>
                  <a:pt x="321420" y="567310"/>
                  <a:pt x="321420" y="793863"/>
                </a:cubicBezTo>
                <a:cubicBezTo>
                  <a:pt x="321420" y="1020416"/>
                  <a:pt x="505077" y="1204073"/>
                  <a:pt x="731630" y="1204073"/>
                </a:cubicBezTo>
                <a:cubicBezTo>
                  <a:pt x="958183" y="1204073"/>
                  <a:pt x="1141840" y="1020416"/>
                  <a:pt x="1141840" y="793863"/>
                </a:cubicBezTo>
                <a:cubicBezTo>
                  <a:pt x="1141840" y="567310"/>
                  <a:pt x="958183" y="383653"/>
                  <a:pt x="731630" y="383653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84DFFE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 13"/>
          <p:cNvSpPr/>
          <p:nvPr/>
        </p:nvSpPr>
        <p:spPr>
          <a:xfrm>
            <a:off x="1861870" y="2659931"/>
            <a:ext cx="296922" cy="407210"/>
          </a:xfrm>
          <a:custGeom>
            <a:avLst/>
            <a:gdLst>
              <a:gd name="connsiteX0" fmla="*/ 1106997 w 2213994"/>
              <a:gd name="connsiteY0" fmla="*/ 561989 h 2180359"/>
              <a:gd name="connsiteX1" fmla="*/ 560897 w 2213994"/>
              <a:gd name="connsiteY1" fmla="*/ 1108089 h 2180359"/>
              <a:gd name="connsiteX2" fmla="*/ 1106997 w 2213994"/>
              <a:gd name="connsiteY2" fmla="*/ 1654189 h 2180359"/>
              <a:gd name="connsiteX3" fmla="*/ 1653097 w 2213994"/>
              <a:gd name="connsiteY3" fmla="*/ 1108089 h 2180359"/>
              <a:gd name="connsiteX4" fmla="*/ 1106997 w 2213994"/>
              <a:gd name="connsiteY4" fmla="*/ 561989 h 2180359"/>
              <a:gd name="connsiteX5" fmla="*/ 1016339 w 2213994"/>
              <a:gd name="connsiteY5" fmla="*/ 0 h 2180359"/>
              <a:gd name="connsiteX6" fmla="*/ 1197655 w 2213994"/>
              <a:gd name="connsiteY6" fmla="*/ 0 h 2180359"/>
              <a:gd name="connsiteX7" fmla="*/ 1237062 w 2213994"/>
              <a:gd name="connsiteY7" fmla="*/ 223520 h 2180359"/>
              <a:gd name="connsiteX8" fmla="*/ 1575952 w 2213994"/>
              <a:gd name="connsiteY8" fmla="*/ 346866 h 2180359"/>
              <a:gd name="connsiteX9" fmla="*/ 1749815 w 2213994"/>
              <a:gd name="connsiteY9" fmla="*/ 200970 h 2180359"/>
              <a:gd name="connsiteX10" fmla="*/ 1888711 w 2213994"/>
              <a:gd name="connsiteY10" fmla="*/ 317518 h 2180359"/>
              <a:gd name="connsiteX11" fmla="*/ 1775222 w 2213994"/>
              <a:gd name="connsiteY11" fmla="*/ 514074 h 2180359"/>
              <a:gd name="connsiteX12" fmla="*/ 1955541 w 2213994"/>
              <a:gd name="connsiteY12" fmla="*/ 826396 h 2180359"/>
              <a:gd name="connsiteX13" fmla="*/ 2182509 w 2213994"/>
              <a:gd name="connsiteY13" fmla="*/ 826390 h 2180359"/>
              <a:gd name="connsiteX14" fmla="*/ 2213994 w 2213994"/>
              <a:gd name="connsiteY14" fmla="*/ 1004952 h 2180359"/>
              <a:gd name="connsiteX15" fmla="*/ 2000713 w 2213994"/>
              <a:gd name="connsiteY15" fmla="*/ 1082574 h 2180359"/>
              <a:gd name="connsiteX16" fmla="*/ 1938089 w 2213994"/>
              <a:gd name="connsiteY16" fmla="*/ 1437734 h 2180359"/>
              <a:gd name="connsiteX17" fmla="*/ 2111959 w 2213994"/>
              <a:gd name="connsiteY17" fmla="*/ 1583621 h 2180359"/>
              <a:gd name="connsiteX18" fmla="*/ 2021301 w 2213994"/>
              <a:gd name="connsiteY18" fmla="*/ 1740646 h 2180359"/>
              <a:gd name="connsiteX19" fmla="*/ 1808024 w 2213994"/>
              <a:gd name="connsiteY19" fmla="*/ 1663013 h 2180359"/>
              <a:gd name="connsiteX20" fmla="*/ 1531759 w 2213994"/>
              <a:gd name="connsiteY20" fmla="*/ 1894827 h 2180359"/>
              <a:gd name="connsiteX21" fmla="*/ 1571177 w 2213994"/>
              <a:gd name="connsiteY21" fmla="*/ 2118345 h 2180359"/>
              <a:gd name="connsiteX22" fmla="*/ 1400795 w 2213994"/>
              <a:gd name="connsiteY22" fmla="*/ 2180359 h 2180359"/>
              <a:gd name="connsiteX23" fmla="*/ 1287316 w 2213994"/>
              <a:gd name="connsiteY23" fmla="*/ 1983797 h 2180359"/>
              <a:gd name="connsiteX24" fmla="*/ 926677 w 2213994"/>
              <a:gd name="connsiteY24" fmla="*/ 1983797 h 2180359"/>
              <a:gd name="connsiteX25" fmla="*/ 813199 w 2213994"/>
              <a:gd name="connsiteY25" fmla="*/ 2180359 h 2180359"/>
              <a:gd name="connsiteX26" fmla="*/ 642817 w 2213994"/>
              <a:gd name="connsiteY26" fmla="*/ 2118345 h 2180359"/>
              <a:gd name="connsiteX27" fmla="*/ 682236 w 2213994"/>
              <a:gd name="connsiteY27" fmla="*/ 1894827 h 2180359"/>
              <a:gd name="connsiteX28" fmla="*/ 405971 w 2213994"/>
              <a:gd name="connsiteY28" fmla="*/ 1663013 h 2180359"/>
              <a:gd name="connsiteX29" fmla="*/ 192693 w 2213994"/>
              <a:gd name="connsiteY29" fmla="*/ 1740646 h 2180359"/>
              <a:gd name="connsiteX30" fmla="*/ 102035 w 2213994"/>
              <a:gd name="connsiteY30" fmla="*/ 1583621 h 2180359"/>
              <a:gd name="connsiteX31" fmla="*/ 275905 w 2213994"/>
              <a:gd name="connsiteY31" fmla="*/ 1437734 h 2180359"/>
              <a:gd name="connsiteX32" fmla="*/ 213281 w 2213994"/>
              <a:gd name="connsiteY32" fmla="*/ 1082574 h 2180359"/>
              <a:gd name="connsiteX33" fmla="*/ 0 w 2213994"/>
              <a:gd name="connsiteY33" fmla="*/ 1004952 h 2180359"/>
              <a:gd name="connsiteX34" fmla="*/ 31485 w 2213994"/>
              <a:gd name="connsiteY34" fmla="*/ 826390 h 2180359"/>
              <a:gd name="connsiteX35" fmla="*/ 258452 w 2213994"/>
              <a:gd name="connsiteY35" fmla="*/ 826396 h 2180359"/>
              <a:gd name="connsiteX36" fmla="*/ 438771 w 2213994"/>
              <a:gd name="connsiteY36" fmla="*/ 514074 h 2180359"/>
              <a:gd name="connsiteX37" fmla="*/ 325283 w 2213994"/>
              <a:gd name="connsiteY37" fmla="*/ 317518 h 2180359"/>
              <a:gd name="connsiteX38" fmla="*/ 464179 w 2213994"/>
              <a:gd name="connsiteY38" fmla="*/ 200970 h 2180359"/>
              <a:gd name="connsiteX39" fmla="*/ 638042 w 2213994"/>
              <a:gd name="connsiteY39" fmla="*/ 346866 h 2180359"/>
              <a:gd name="connsiteX40" fmla="*/ 976932 w 2213994"/>
              <a:gd name="connsiteY40" fmla="*/ 223520 h 2180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213994" h="2180359">
                <a:moveTo>
                  <a:pt x="1106997" y="561989"/>
                </a:moveTo>
                <a:cubicBezTo>
                  <a:pt x="805394" y="561989"/>
                  <a:pt x="560897" y="806486"/>
                  <a:pt x="560897" y="1108089"/>
                </a:cubicBezTo>
                <a:cubicBezTo>
                  <a:pt x="560897" y="1409692"/>
                  <a:pt x="805394" y="1654189"/>
                  <a:pt x="1106997" y="1654189"/>
                </a:cubicBezTo>
                <a:cubicBezTo>
                  <a:pt x="1408600" y="1654189"/>
                  <a:pt x="1653097" y="1409692"/>
                  <a:pt x="1653097" y="1108089"/>
                </a:cubicBezTo>
                <a:cubicBezTo>
                  <a:pt x="1653097" y="806486"/>
                  <a:pt x="1408600" y="561989"/>
                  <a:pt x="1106997" y="561989"/>
                </a:cubicBezTo>
                <a:close/>
                <a:moveTo>
                  <a:pt x="1016339" y="0"/>
                </a:moveTo>
                <a:lnTo>
                  <a:pt x="1197655" y="0"/>
                </a:lnTo>
                <a:lnTo>
                  <a:pt x="1237062" y="223520"/>
                </a:lnTo>
                <a:cubicBezTo>
                  <a:pt x="1357231" y="241189"/>
                  <a:pt x="1472539" y="283158"/>
                  <a:pt x="1575952" y="346866"/>
                </a:cubicBezTo>
                <a:lnTo>
                  <a:pt x="1749815" y="200970"/>
                </a:lnTo>
                <a:lnTo>
                  <a:pt x="1888711" y="317518"/>
                </a:lnTo>
                <a:lnTo>
                  <a:pt x="1775222" y="514074"/>
                </a:lnTo>
                <a:cubicBezTo>
                  <a:pt x="1855919" y="604853"/>
                  <a:pt x="1917273" y="711121"/>
                  <a:pt x="1955541" y="826396"/>
                </a:cubicBezTo>
                <a:lnTo>
                  <a:pt x="2182509" y="826390"/>
                </a:lnTo>
                <a:lnTo>
                  <a:pt x="2213994" y="1004952"/>
                </a:lnTo>
                <a:lnTo>
                  <a:pt x="2000713" y="1082574"/>
                </a:lnTo>
                <a:cubicBezTo>
                  <a:pt x="2004179" y="1203985"/>
                  <a:pt x="1982871" y="1324830"/>
                  <a:pt x="1938089" y="1437734"/>
                </a:cubicBezTo>
                <a:lnTo>
                  <a:pt x="2111959" y="1583621"/>
                </a:lnTo>
                <a:lnTo>
                  <a:pt x="2021301" y="1740646"/>
                </a:lnTo>
                <a:lnTo>
                  <a:pt x="1808024" y="1663013"/>
                </a:lnTo>
                <a:cubicBezTo>
                  <a:pt x="1732638" y="1758248"/>
                  <a:pt x="1638637" y="1837123"/>
                  <a:pt x="1531759" y="1894827"/>
                </a:cubicBezTo>
                <a:lnTo>
                  <a:pt x="1571177" y="2118345"/>
                </a:lnTo>
                <a:lnTo>
                  <a:pt x="1400795" y="2180359"/>
                </a:lnTo>
                <a:lnTo>
                  <a:pt x="1287316" y="1983797"/>
                </a:lnTo>
                <a:cubicBezTo>
                  <a:pt x="1168351" y="2008293"/>
                  <a:pt x="1045642" y="2008293"/>
                  <a:pt x="926677" y="1983797"/>
                </a:cubicBezTo>
                <a:lnTo>
                  <a:pt x="813199" y="2180359"/>
                </a:lnTo>
                <a:lnTo>
                  <a:pt x="642817" y="2118345"/>
                </a:lnTo>
                <a:lnTo>
                  <a:pt x="682236" y="1894827"/>
                </a:lnTo>
                <a:cubicBezTo>
                  <a:pt x="575358" y="1837123"/>
                  <a:pt x="481357" y="1758247"/>
                  <a:pt x="405971" y="1663013"/>
                </a:cubicBezTo>
                <a:lnTo>
                  <a:pt x="192693" y="1740646"/>
                </a:lnTo>
                <a:lnTo>
                  <a:pt x="102035" y="1583621"/>
                </a:lnTo>
                <a:lnTo>
                  <a:pt x="275905" y="1437734"/>
                </a:lnTo>
                <a:cubicBezTo>
                  <a:pt x="231123" y="1324830"/>
                  <a:pt x="209814" y="1203985"/>
                  <a:pt x="213281" y="1082574"/>
                </a:cubicBezTo>
                <a:lnTo>
                  <a:pt x="0" y="1004952"/>
                </a:lnTo>
                <a:lnTo>
                  <a:pt x="31485" y="826390"/>
                </a:lnTo>
                <a:lnTo>
                  <a:pt x="258452" y="826396"/>
                </a:lnTo>
                <a:cubicBezTo>
                  <a:pt x="296720" y="711121"/>
                  <a:pt x="358074" y="604852"/>
                  <a:pt x="438771" y="514074"/>
                </a:cubicBezTo>
                <a:lnTo>
                  <a:pt x="325283" y="317518"/>
                </a:lnTo>
                <a:lnTo>
                  <a:pt x="464179" y="200970"/>
                </a:lnTo>
                <a:lnTo>
                  <a:pt x="638042" y="346866"/>
                </a:lnTo>
                <a:cubicBezTo>
                  <a:pt x="741454" y="283158"/>
                  <a:pt x="856763" y="241190"/>
                  <a:pt x="976932" y="22352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4" name="Freeform 14"/>
          <p:cNvSpPr/>
          <p:nvPr/>
        </p:nvSpPr>
        <p:spPr>
          <a:xfrm>
            <a:off x="2170744" y="3709849"/>
            <a:ext cx="212120" cy="295397"/>
          </a:xfrm>
          <a:custGeom>
            <a:avLst/>
            <a:gdLst>
              <a:gd name="connsiteX0" fmla="*/ 675641 w 1351280"/>
              <a:gd name="connsiteY0" fmla="*/ 436140 h 1351280"/>
              <a:gd name="connsiteX1" fmla="*/ 436140 w 1351280"/>
              <a:gd name="connsiteY1" fmla="*/ 675641 h 1351280"/>
              <a:gd name="connsiteX2" fmla="*/ 675641 w 1351280"/>
              <a:gd name="connsiteY2" fmla="*/ 915142 h 1351280"/>
              <a:gd name="connsiteX3" fmla="*/ 915142 w 1351280"/>
              <a:gd name="connsiteY3" fmla="*/ 675641 h 1351280"/>
              <a:gd name="connsiteX4" fmla="*/ 675641 w 1351280"/>
              <a:gd name="connsiteY4" fmla="*/ 436140 h 1351280"/>
              <a:gd name="connsiteX5" fmla="*/ 675640 w 1351280"/>
              <a:gd name="connsiteY5" fmla="*/ 0 h 1351280"/>
              <a:gd name="connsiteX6" fmla="*/ 1351280 w 1351280"/>
              <a:gd name="connsiteY6" fmla="*/ 675640 h 1351280"/>
              <a:gd name="connsiteX7" fmla="*/ 675640 w 1351280"/>
              <a:gd name="connsiteY7" fmla="*/ 1351280 h 1351280"/>
              <a:gd name="connsiteX8" fmla="*/ 0 w 1351280"/>
              <a:gd name="connsiteY8" fmla="*/ 675640 h 1351280"/>
              <a:gd name="connsiteX9" fmla="*/ 675640 w 1351280"/>
              <a:gd name="connsiteY9" fmla="*/ 0 h 13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51280" h="1351280">
                <a:moveTo>
                  <a:pt x="675641" y="436140"/>
                </a:moveTo>
                <a:cubicBezTo>
                  <a:pt x="543368" y="436140"/>
                  <a:pt x="436140" y="543368"/>
                  <a:pt x="436140" y="675641"/>
                </a:cubicBezTo>
                <a:cubicBezTo>
                  <a:pt x="436140" y="807914"/>
                  <a:pt x="543368" y="915142"/>
                  <a:pt x="675641" y="915142"/>
                </a:cubicBezTo>
                <a:cubicBezTo>
                  <a:pt x="807914" y="915142"/>
                  <a:pt x="915142" y="807914"/>
                  <a:pt x="915142" y="675641"/>
                </a:cubicBezTo>
                <a:cubicBezTo>
                  <a:pt x="915142" y="543368"/>
                  <a:pt x="807914" y="436140"/>
                  <a:pt x="675641" y="436140"/>
                </a:cubicBezTo>
                <a:close/>
                <a:moveTo>
                  <a:pt x="675640" y="0"/>
                </a:moveTo>
                <a:cubicBezTo>
                  <a:pt x="1048786" y="0"/>
                  <a:pt x="1351280" y="302494"/>
                  <a:pt x="1351280" y="675640"/>
                </a:cubicBezTo>
                <a:cubicBezTo>
                  <a:pt x="1351280" y="1048786"/>
                  <a:pt x="1048786" y="1351280"/>
                  <a:pt x="675640" y="1351280"/>
                </a:cubicBezTo>
                <a:cubicBezTo>
                  <a:pt x="302494" y="1351280"/>
                  <a:pt x="0" y="1048786"/>
                  <a:pt x="0" y="675640"/>
                </a:cubicBezTo>
                <a:cubicBezTo>
                  <a:pt x="0" y="302494"/>
                  <a:pt x="302494" y="0"/>
                  <a:pt x="675640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 15"/>
          <p:cNvSpPr/>
          <p:nvPr/>
        </p:nvSpPr>
        <p:spPr>
          <a:xfrm>
            <a:off x="2881839" y="2966922"/>
            <a:ext cx="174560" cy="243092"/>
          </a:xfrm>
          <a:custGeom>
            <a:avLst/>
            <a:gdLst>
              <a:gd name="connsiteX0" fmla="*/ 675641 w 1351280"/>
              <a:gd name="connsiteY0" fmla="*/ 436140 h 1351280"/>
              <a:gd name="connsiteX1" fmla="*/ 436140 w 1351280"/>
              <a:gd name="connsiteY1" fmla="*/ 675641 h 1351280"/>
              <a:gd name="connsiteX2" fmla="*/ 675641 w 1351280"/>
              <a:gd name="connsiteY2" fmla="*/ 915142 h 1351280"/>
              <a:gd name="connsiteX3" fmla="*/ 915142 w 1351280"/>
              <a:gd name="connsiteY3" fmla="*/ 675641 h 1351280"/>
              <a:gd name="connsiteX4" fmla="*/ 675641 w 1351280"/>
              <a:gd name="connsiteY4" fmla="*/ 436140 h 1351280"/>
              <a:gd name="connsiteX5" fmla="*/ 675640 w 1351280"/>
              <a:gd name="connsiteY5" fmla="*/ 0 h 1351280"/>
              <a:gd name="connsiteX6" fmla="*/ 1351280 w 1351280"/>
              <a:gd name="connsiteY6" fmla="*/ 675640 h 1351280"/>
              <a:gd name="connsiteX7" fmla="*/ 675640 w 1351280"/>
              <a:gd name="connsiteY7" fmla="*/ 1351280 h 1351280"/>
              <a:gd name="connsiteX8" fmla="*/ 0 w 1351280"/>
              <a:gd name="connsiteY8" fmla="*/ 675640 h 1351280"/>
              <a:gd name="connsiteX9" fmla="*/ 675640 w 1351280"/>
              <a:gd name="connsiteY9" fmla="*/ 0 h 13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51280" h="1351280">
                <a:moveTo>
                  <a:pt x="675641" y="436140"/>
                </a:moveTo>
                <a:cubicBezTo>
                  <a:pt x="543368" y="436140"/>
                  <a:pt x="436140" y="543368"/>
                  <a:pt x="436140" y="675641"/>
                </a:cubicBezTo>
                <a:cubicBezTo>
                  <a:pt x="436140" y="807914"/>
                  <a:pt x="543368" y="915142"/>
                  <a:pt x="675641" y="915142"/>
                </a:cubicBezTo>
                <a:cubicBezTo>
                  <a:pt x="807914" y="915142"/>
                  <a:pt x="915142" y="807914"/>
                  <a:pt x="915142" y="675641"/>
                </a:cubicBezTo>
                <a:cubicBezTo>
                  <a:pt x="915142" y="543368"/>
                  <a:pt x="807914" y="436140"/>
                  <a:pt x="675641" y="436140"/>
                </a:cubicBezTo>
                <a:close/>
                <a:moveTo>
                  <a:pt x="675640" y="0"/>
                </a:moveTo>
                <a:cubicBezTo>
                  <a:pt x="1048786" y="0"/>
                  <a:pt x="1351280" y="302494"/>
                  <a:pt x="1351280" y="675640"/>
                </a:cubicBezTo>
                <a:cubicBezTo>
                  <a:pt x="1351280" y="1048786"/>
                  <a:pt x="1048786" y="1351280"/>
                  <a:pt x="675640" y="1351280"/>
                </a:cubicBezTo>
                <a:cubicBezTo>
                  <a:pt x="302494" y="1351280"/>
                  <a:pt x="0" y="1048786"/>
                  <a:pt x="0" y="675640"/>
                </a:cubicBezTo>
                <a:cubicBezTo>
                  <a:pt x="0" y="302494"/>
                  <a:pt x="302494" y="0"/>
                  <a:pt x="675640" y="0"/>
                </a:cubicBezTo>
                <a:close/>
              </a:path>
            </a:pathLst>
          </a:custGeom>
          <a:solidFill>
            <a:srgbClr val="53D7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Agrupar 17"/>
          <p:cNvGrpSpPr/>
          <p:nvPr/>
        </p:nvGrpSpPr>
        <p:grpSpPr>
          <a:xfrm>
            <a:off x="5245569" y="444908"/>
            <a:ext cx="3538900" cy="2738370"/>
            <a:chOff x="5148064" y="662667"/>
            <a:chExt cx="3073519" cy="1955520"/>
          </a:xfrm>
        </p:grpSpPr>
        <p:sp>
          <p:nvSpPr>
            <p:cNvPr id="16" name="Line Callout 2 3"/>
            <p:cNvSpPr/>
            <p:nvPr/>
          </p:nvSpPr>
          <p:spPr>
            <a:xfrm>
              <a:off x="5148064" y="662667"/>
              <a:ext cx="3073519" cy="1955520"/>
            </a:xfrm>
            <a:prstGeom prst="borderCallout2">
              <a:avLst>
                <a:gd name="adj1" fmla="val 52340"/>
                <a:gd name="adj2" fmla="val -246"/>
                <a:gd name="adj3" fmla="val 52332"/>
                <a:gd name="adj4" fmla="val -19899"/>
                <a:gd name="adj5" fmla="val 91152"/>
                <a:gd name="adj6" fmla="val -72433"/>
              </a:avLst>
            </a:prstGeom>
            <a:solidFill>
              <a:schemeClr val="tx2"/>
            </a:solidFill>
            <a:ln w="3175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7" name="Retângulo 16"/>
            <p:cNvSpPr/>
            <p:nvPr/>
          </p:nvSpPr>
          <p:spPr>
            <a:xfrm>
              <a:off x="5276275" y="859224"/>
              <a:ext cx="2945308" cy="16484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bg-BG" sz="2400" b="1" dirty="0">
                  <a:solidFill>
                    <a:schemeClr val="bg1"/>
                  </a:solidFill>
                </a:rPr>
                <a:t>Qual seria a ferramenta mais facil para o desenvolvimento de pequenos e médios municípios?</a:t>
              </a:r>
            </a:p>
            <a:p>
              <a:pPr algn="ctr">
                <a:defRPr/>
              </a:pPr>
              <a:r>
                <a:rPr lang="bg-BG" sz="2400" b="1" dirty="0">
                  <a:solidFill>
                    <a:schemeClr val="bg1"/>
                  </a:solidFill>
                </a:rPr>
                <a:t>5</a:t>
              </a:r>
              <a:r>
                <a:rPr lang="bg-BG" sz="2400" b="1" dirty="0" smtClean="0">
                  <a:solidFill>
                    <a:schemeClr val="bg1"/>
                  </a:solidFill>
                </a:rPr>
                <a:t> </a:t>
              </a:r>
              <a:r>
                <a:rPr lang="bg-BG" sz="2400" b="1" dirty="0">
                  <a:solidFill>
                    <a:schemeClr val="bg1"/>
                  </a:solidFill>
                </a:rPr>
                <a:t>casos </a:t>
              </a:r>
              <a:endParaRPr lang="pt-BR" sz="24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34157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2516" y="919014"/>
            <a:ext cx="7327094" cy="5462314"/>
          </a:xfrm>
          <a:prstGeom prst="rect">
            <a:avLst/>
          </a:prstGeom>
        </p:spPr>
      </p:pic>
      <p:pic>
        <p:nvPicPr>
          <p:cNvPr id="5" name="Picture 4" descr="Screen Shot 2013-06-26 at 9.31.00 AM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9672" y="1340768"/>
            <a:ext cx="4166801" cy="3928840"/>
          </a:xfrm>
          <a:prstGeom prst="rect">
            <a:avLst/>
          </a:prstGeom>
        </p:spPr>
      </p:pic>
      <p:sp>
        <p:nvSpPr>
          <p:cNvPr id="6" name="Título 1"/>
          <p:cNvSpPr txBox="1">
            <a:spLocks/>
          </p:cNvSpPr>
          <p:nvPr/>
        </p:nvSpPr>
        <p:spPr>
          <a:xfrm>
            <a:off x="539552" y="4108415"/>
            <a:ext cx="6388782" cy="1494306"/>
          </a:xfrm>
          <a:prstGeom prst="rect">
            <a:avLst/>
          </a:prstGeom>
        </p:spPr>
        <p:txBody>
          <a:bodyPr/>
          <a:lstStyle>
            <a:lvl1pPr marL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pt-BR" sz="2800" b="1" kern="1200" dirty="0">
                <a:solidFill>
                  <a:srgbClr val="2F3573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GB" sz="48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Quirinópolis</a:t>
            </a:r>
            <a:r>
              <a:rPr lang="en-GB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, GO</a:t>
            </a:r>
          </a:p>
        </p:txBody>
      </p:sp>
      <p:pic>
        <p:nvPicPr>
          <p:cNvPr id="7" name="Picture 6" descr="IMG_4664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5821" y="389975"/>
            <a:ext cx="2545436" cy="22626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09033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bg-BG" sz="3600" dirty="0"/>
              <a:t>Impactos da Instalação de 2 Usinas em Quirinópolis ao redor de 2005</a:t>
            </a:r>
            <a:endParaRPr lang="en-US" sz="3600" dirty="0"/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579248"/>
              </p:ext>
            </p:extLst>
          </p:nvPr>
        </p:nvGraphicFramePr>
        <p:xfrm>
          <a:off x="286689" y="1608296"/>
          <a:ext cx="8570623" cy="435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7107"/>
                <a:gridCol w="746859"/>
                <a:gridCol w="693512"/>
                <a:gridCol w="800207"/>
                <a:gridCol w="693512"/>
                <a:gridCol w="746859"/>
                <a:gridCol w="746859"/>
                <a:gridCol w="640165"/>
                <a:gridCol w="586818"/>
                <a:gridCol w="533471"/>
                <a:gridCol w="675254"/>
              </a:tblGrid>
              <a:tr h="0">
                <a:tc gridSpan="10">
                  <a:txBody>
                    <a:bodyPr/>
                    <a:lstStyle/>
                    <a:p>
                      <a:pPr algn="ctr"/>
                      <a:r>
                        <a:rPr lang="en-US" dirty="0" err="1" smtClean="0"/>
                        <a:t>Quirinopólis</a:t>
                      </a:r>
                      <a:r>
                        <a:rPr lang="en-US" dirty="0" smtClean="0"/>
                        <a:t>: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Evolução</a:t>
                      </a:r>
                      <a:r>
                        <a:rPr lang="en-US" baseline="0" dirty="0" smtClean="0"/>
                        <a:t> dos </a:t>
                      </a:r>
                      <a:r>
                        <a:rPr lang="en-US" baseline="0" dirty="0" err="1" smtClean="0"/>
                        <a:t>Indicadores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Socieconômicos</a:t>
                      </a:r>
                      <a:endParaRPr lang="en-US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2002</a:t>
                      </a:r>
                      <a:endParaRPr lang="en-US" sz="14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2003</a:t>
                      </a:r>
                      <a:endParaRPr lang="en-US" sz="14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2004</a:t>
                      </a:r>
                      <a:endParaRPr lang="en-US" sz="14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2005</a:t>
                      </a:r>
                      <a:endParaRPr lang="en-US" sz="14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2006</a:t>
                      </a:r>
                      <a:endParaRPr lang="en-US" sz="14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2007</a:t>
                      </a:r>
                      <a:endParaRPr lang="en-US" sz="14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2008</a:t>
                      </a:r>
                      <a:endParaRPr lang="en-US" sz="14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2009</a:t>
                      </a:r>
                      <a:endParaRPr lang="en-US" sz="14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2010</a:t>
                      </a:r>
                      <a:endParaRPr lang="en-US" sz="14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2011</a:t>
                      </a:r>
                      <a:endParaRPr lang="en-US" sz="14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err="1" smtClean="0"/>
                        <a:t>Empregos</a:t>
                      </a:r>
                      <a:r>
                        <a:rPr lang="en-US" sz="1200" b="1" dirty="0" smtClean="0"/>
                        <a:t>  (</a:t>
                      </a:r>
                      <a:r>
                        <a:rPr lang="en-US" sz="1200" b="1" dirty="0" err="1" smtClean="0"/>
                        <a:t>unidades</a:t>
                      </a:r>
                      <a:r>
                        <a:rPr lang="en-US" sz="1200" b="1" dirty="0" smtClean="0"/>
                        <a:t>)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4.074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4.332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4.123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5.128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6.826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8.901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8.775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9.311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9.957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0.971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 b="1" baseline="0" dirty="0" err="1" smtClean="0"/>
                        <a:t>Veículos</a:t>
                      </a:r>
                      <a:r>
                        <a:rPr lang="en-US" sz="1200" b="1" baseline="0" dirty="0" smtClean="0"/>
                        <a:t> (mil </a:t>
                      </a:r>
                      <a:r>
                        <a:rPr lang="en-US" sz="1200" b="1" baseline="0" dirty="0" err="1" smtClean="0"/>
                        <a:t>unidades</a:t>
                      </a:r>
                      <a:r>
                        <a:rPr lang="en-US" sz="1200" b="1" baseline="0" dirty="0" smtClean="0"/>
                        <a:t>)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8,65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8,88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9,82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0,70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1,46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2,55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4,25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6,90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8,96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23,43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ICMS (MILHÕES R$)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8,2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0,2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7,8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8,1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4,5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3,5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4,9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22,2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21,5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24,3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ISS (MIL R$)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-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-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-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-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2.767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4.728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8.211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4.393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5.726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9.040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err="1" smtClean="0"/>
                        <a:t>Empresas</a:t>
                      </a:r>
                      <a:r>
                        <a:rPr lang="en-US" sz="1200" b="1" baseline="0" dirty="0" smtClean="0"/>
                        <a:t> (</a:t>
                      </a:r>
                      <a:r>
                        <a:rPr lang="en-US" sz="1200" b="1" baseline="0" dirty="0" err="1" smtClean="0"/>
                        <a:t>unidades</a:t>
                      </a:r>
                      <a:r>
                        <a:rPr lang="en-US" sz="1200" b="1" baseline="0" dirty="0" smtClean="0"/>
                        <a:t>)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722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839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988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.272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.546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.875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2.202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2.753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3.102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3.324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err="1" smtClean="0"/>
                        <a:t>População</a:t>
                      </a:r>
                      <a:r>
                        <a:rPr lang="en-US" sz="1200" b="1" dirty="0" smtClean="0"/>
                        <a:t> (</a:t>
                      </a:r>
                      <a:r>
                        <a:rPr lang="en-US" sz="1200" b="1" dirty="0" err="1" smtClean="0"/>
                        <a:t>unidades</a:t>
                      </a:r>
                      <a:r>
                        <a:rPr lang="en-US" sz="1200" b="1" dirty="0" smtClean="0"/>
                        <a:t>)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36.982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37.201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37.659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37.913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38.165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38.064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39.485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39.756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43.220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-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err="1" smtClean="0"/>
                        <a:t>Receitas</a:t>
                      </a:r>
                      <a:r>
                        <a:rPr lang="en-US" sz="1200" b="1" dirty="0" smtClean="0"/>
                        <a:t> (MIL</a:t>
                      </a:r>
                      <a:r>
                        <a:rPr lang="en-US" sz="1200" b="1" baseline="0" dirty="0" smtClean="0"/>
                        <a:t> R$)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33.849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28.225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28.219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31.643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40.426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50.366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61.350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60.595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65.875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-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Renda per</a:t>
                      </a:r>
                      <a:r>
                        <a:rPr lang="en-US" sz="1200" b="1" baseline="0" dirty="0" smtClean="0"/>
                        <a:t> Capita (R$)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-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-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7.593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7.572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8.359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9.678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3.401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4.971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-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err="1" smtClean="0"/>
                        <a:t>Salário</a:t>
                      </a:r>
                      <a:r>
                        <a:rPr lang="en-US" sz="1200" b="1" dirty="0" smtClean="0"/>
                        <a:t> </a:t>
                      </a:r>
                      <a:r>
                        <a:rPr lang="en-US" sz="1200" b="1" dirty="0" err="1" smtClean="0"/>
                        <a:t>Médio</a:t>
                      </a:r>
                      <a:r>
                        <a:rPr lang="en-US" sz="1200" b="1" dirty="0" smtClean="0"/>
                        <a:t> (R$)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416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485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528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628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704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827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014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.124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.238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.483</a:t>
                      </a:r>
                      <a:endParaRPr lang="en-US" sz="1200" b="1" dirty="0"/>
                    </a:p>
                  </a:txBody>
                  <a:tcPr marL="68580" marR="6858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7" name="Picture 4" descr="Screen Shot 2013-06-26 at 9.24.40 AM.png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6689" y="6093296"/>
            <a:ext cx="6858000" cy="28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621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8453" y="908719"/>
            <a:ext cx="7327094" cy="5462314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9D28448-CE98-43DA-B32A-0C3F7CAEADC0}" type="slidenum">
              <a:rPr lang="pt-BR" smtClean="0">
                <a:solidFill>
                  <a:prstClr val="white"/>
                </a:solidFill>
              </a:rPr>
              <a:pPr/>
              <a:t>16</a:t>
            </a:fld>
            <a:endParaRPr lang="pt-BR" dirty="0">
              <a:solidFill>
                <a:prstClr val="white"/>
              </a:solidFill>
            </a:endParaRPr>
          </a:p>
        </p:txBody>
      </p:sp>
      <p:pic>
        <p:nvPicPr>
          <p:cNvPr id="4" name="Picture 3" descr="Screen Shot 2014-12-16 at 10.13.42 A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7784" y="1340768"/>
            <a:ext cx="4050450" cy="388843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2818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9D28448-CE98-43DA-B32A-0C3F7CAEADC0}" type="slidenum">
              <a:rPr lang="pt-BR" smtClean="0">
                <a:solidFill>
                  <a:prstClr val="white"/>
                </a:solidFill>
              </a:rPr>
              <a:pPr/>
              <a:t>17</a:t>
            </a:fld>
            <a:endParaRPr lang="pt-BR" dirty="0">
              <a:solidFill>
                <a:prstClr val="white"/>
              </a:solidFill>
            </a:endParaRPr>
          </a:p>
        </p:txBody>
      </p:sp>
      <p:pic>
        <p:nvPicPr>
          <p:cNvPr id="4" name="Picture 3" descr="image.jpg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82803" y="0"/>
            <a:ext cx="9745313" cy="7461448"/>
          </a:xfrm>
          <a:prstGeom prst="rect">
            <a:avLst/>
          </a:prstGeom>
        </p:spPr>
      </p:pic>
      <p:sp>
        <p:nvSpPr>
          <p:cNvPr id="5" name="Content Placeholder 7"/>
          <p:cNvSpPr txBox="1">
            <a:spLocks/>
          </p:cNvSpPr>
          <p:nvPr/>
        </p:nvSpPr>
        <p:spPr>
          <a:xfrm>
            <a:off x="0" y="44625"/>
            <a:ext cx="9123666" cy="3666035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rgbClr val="58595B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rgbClr val="58595B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58595B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rgbClr val="58595B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rgbClr val="58595B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b="1" dirty="0" err="1">
                <a:solidFill>
                  <a:srgbClr val="00382E"/>
                </a:solidFill>
                <a:latin typeface="Franklin Gothic Book"/>
                <a:ea typeface="+mj-ea"/>
                <a:cs typeface="+mj-cs"/>
              </a:rPr>
              <a:t>Aroeira</a:t>
            </a:r>
            <a:r>
              <a:rPr lang="en-US" sz="2400" b="1" dirty="0">
                <a:solidFill>
                  <a:srgbClr val="00382E"/>
                </a:solidFill>
                <a:latin typeface="Franklin Gothic Book"/>
                <a:ea typeface="+mj-ea"/>
                <a:cs typeface="+mj-cs"/>
              </a:rPr>
              <a:t>… Um </a:t>
            </a:r>
            <a:r>
              <a:rPr lang="en-US" sz="2400" b="1" dirty="0" err="1">
                <a:solidFill>
                  <a:srgbClr val="00382E"/>
                </a:solidFill>
                <a:latin typeface="Franklin Gothic Book"/>
                <a:ea typeface="+mj-ea"/>
                <a:cs typeface="+mj-cs"/>
              </a:rPr>
              <a:t>Modelo</a:t>
            </a:r>
            <a:r>
              <a:rPr lang="en-US" sz="2400" b="1" dirty="0">
                <a:solidFill>
                  <a:srgbClr val="00382E"/>
                </a:solidFill>
                <a:latin typeface="Franklin Gothic Book"/>
                <a:ea typeface="+mj-ea"/>
                <a:cs typeface="+mj-cs"/>
              </a:rPr>
              <a:t> de </a:t>
            </a:r>
            <a:r>
              <a:rPr lang="en-US" sz="2400" b="1" dirty="0" err="1">
                <a:solidFill>
                  <a:srgbClr val="00382E"/>
                </a:solidFill>
                <a:latin typeface="Franklin Gothic Book"/>
                <a:ea typeface="+mj-ea"/>
                <a:cs typeface="+mj-cs"/>
              </a:rPr>
              <a:t>Geração</a:t>
            </a:r>
            <a:r>
              <a:rPr lang="en-US" sz="2400" b="1" dirty="0">
                <a:solidFill>
                  <a:srgbClr val="00382E"/>
                </a:solidFill>
                <a:latin typeface="Franklin Gothic Book"/>
                <a:ea typeface="+mj-ea"/>
                <a:cs typeface="+mj-cs"/>
              </a:rPr>
              <a:t> e </a:t>
            </a:r>
            <a:r>
              <a:rPr lang="en-US" sz="2400" b="1" dirty="0" err="1">
                <a:solidFill>
                  <a:srgbClr val="00382E"/>
                </a:solidFill>
                <a:latin typeface="Franklin Gothic Book"/>
                <a:ea typeface="+mj-ea"/>
                <a:cs typeface="+mj-cs"/>
              </a:rPr>
              <a:t>Distribuição</a:t>
            </a:r>
            <a:r>
              <a:rPr lang="en-US" sz="2400" b="1" dirty="0">
                <a:solidFill>
                  <a:srgbClr val="00382E"/>
                </a:solidFill>
                <a:latin typeface="Franklin Gothic Book"/>
                <a:ea typeface="+mj-ea"/>
                <a:cs typeface="+mj-cs"/>
              </a:rPr>
              <a:t> de </a:t>
            </a:r>
            <a:r>
              <a:rPr lang="en-US" sz="2400" b="1" dirty="0" err="1">
                <a:solidFill>
                  <a:srgbClr val="00382E"/>
                </a:solidFill>
                <a:latin typeface="Franklin Gothic Book"/>
                <a:ea typeface="+mj-ea"/>
                <a:cs typeface="+mj-cs"/>
              </a:rPr>
              <a:t>Renda</a:t>
            </a:r>
            <a:r>
              <a:rPr lang="en-US" sz="2400" b="1" dirty="0">
                <a:solidFill>
                  <a:srgbClr val="00382E"/>
                </a:solidFill>
                <a:latin typeface="Franklin Gothic Book"/>
                <a:ea typeface="+mj-ea"/>
                <a:cs typeface="+mj-cs"/>
              </a:rPr>
              <a:t> em </a:t>
            </a:r>
            <a:r>
              <a:rPr lang="en-US" sz="2400" b="1" dirty="0" err="1">
                <a:solidFill>
                  <a:srgbClr val="00382E"/>
                </a:solidFill>
                <a:latin typeface="Franklin Gothic Book"/>
                <a:ea typeface="+mj-ea"/>
                <a:cs typeface="+mj-cs"/>
              </a:rPr>
              <a:t>Tupaciguara</a:t>
            </a:r>
            <a:r>
              <a:rPr lang="en-US" sz="2400" b="1" dirty="0">
                <a:solidFill>
                  <a:srgbClr val="00382E"/>
                </a:solidFill>
                <a:latin typeface="Franklin Gothic Book"/>
                <a:ea typeface="+mj-ea"/>
                <a:cs typeface="+mj-cs"/>
              </a:rPr>
              <a:t> (MG</a:t>
            </a:r>
            <a:r>
              <a:rPr lang="en-US" sz="2400" b="1" dirty="0" smtClean="0">
                <a:solidFill>
                  <a:srgbClr val="00382E"/>
                </a:solidFill>
                <a:latin typeface="Franklin Gothic Book"/>
                <a:ea typeface="+mj-ea"/>
                <a:cs typeface="+mj-cs"/>
              </a:rPr>
              <a:t>)</a:t>
            </a:r>
            <a:endParaRPr lang="bg-BG" sz="2400" b="1" dirty="0" smtClean="0">
              <a:solidFill>
                <a:srgbClr val="00382E"/>
              </a:solidFill>
              <a:latin typeface="Franklin Gothic Book"/>
              <a:ea typeface="+mj-ea"/>
              <a:cs typeface="+mj-cs"/>
            </a:endParaRPr>
          </a:p>
          <a:p>
            <a:pPr marL="0" indent="0" algn="ctr">
              <a:buNone/>
            </a:pPr>
            <a:endParaRPr lang="en-US" sz="1600" dirty="0">
              <a:solidFill>
                <a:srgbClr val="002B24"/>
              </a:solidFill>
            </a:endParaRPr>
          </a:p>
          <a:p>
            <a:r>
              <a:rPr lang="en-US" sz="1800" b="1" dirty="0" err="1">
                <a:solidFill>
                  <a:schemeClr val="tx1"/>
                </a:solidFill>
              </a:rPr>
              <a:t>Investimento</a:t>
            </a:r>
            <a:r>
              <a:rPr lang="en-US" sz="1800" b="1" dirty="0">
                <a:solidFill>
                  <a:schemeClr val="tx1"/>
                </a:solidFill>
              </a:rPr>
              <a:t> de R$ 300 </a:t>
            </a:r>
            <a:r>
              <a:rPr lang="en-US" sz="1800" b="1" dirty="0" err="1" smtClean="0">
                <a:solidFill>
                  <a:schemeClr val="tx1"/>
                </a:solidFill>
              </a:rPr>
              <a:t>milhões</a:t>
            </a:r>
            <a:r>
              <a:rPr lang="bg-BG" sz="1800" b="1" dirty="0">
                <a:solidFill>
                  <a:schemeClr val="tx1"/>
                </a:solidFill>
              </a:rPr>
              <a:t> </a:t>
            </a:r>
            <a:r>
              <a:rPr lang="bg-BG" sz="1800" b="1" dirty="0" smtClean="0">
                <a:solidFill>
                  <a:schemeClr val="tx1"/>
                </a:solidFill>
              </a:rPr>
              <a:t>e </a:t>
            </a:r>
            <a:r>
              <a:rPr lang="bg-BG" sz="1800" b="1" dirty="0">
                <a:solidFill>
                  <a:schemeClr val="tx1"/>
                </a:solidFill>
              </a:rPr>
              <a:t>p</a:t>
            </a:r>
            <a:r>
              <a:rPr lang="en-US" sz="1800" b="1" dirty="0" err="1" smtClean="0">
                <a:solidFill>
                  <a:schemeClr val="tx1"/>
                </a:solidFill>
              </a:rPr>
              <a:t>roduzindo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>
                <a:solidFill>
                  <a:schemeClr val="tx1"/>
                </a:solidFill>
              </a:rPr>
              <a:t>100 t/</a:t>
            </a:r>
            <a:r>
              <a:rPr lang="en-US" sz="1800" b="1" dirty="0" smtClean="0">
                <a:solidFill>
                  <a:schemeClr val="tx1"/>
                </a:solidFill>
              </a:rPr>
              <a:t>ha</a:t>
            </a:r>
            <a:r>
              <a:rPr lang="bg-BG" sz="1800" b="1" dirty="0" smtClean="0">
                <a:solidFill>
                  <a:schemeClr val="tx1"/>
                </a:solidFill>
              </a:rPr>
              <a:t> em 15 mil ha (primeira safra em 2010);</a:t>
            </a:r>
            <a:endParaRPr lang="en-US" sz="1800" b="1" dirty="0">
              <a:solidFill>
                <a:schemeClr val="tx1"/>
              </a:solidFill>
            </a:endParaRPr>
          </a:p>
          <a:p>
            <a:r>
              <a:rPr lang="en-US" sz="1800" b="1" dirty="0" err="1">
                <a:solidFill>
                  <a:srgbClr val="002B24"/>
                </a:solidFill>
              </a:rPr>
              <a:t>Moendo</a:t>
            </a:r>
            <a:r>
              <a:rPr lang="en-US" sz="1800" b="1" dirty="0">
                <a:solidFill>
                  <a:srgbClr val="002B24"/>
                </a:solidFill>
              </a:rPr>
              <a:t> 1.360.000 t de </a:t>
            </a:r>
            <a:r>
              <a:rPr lang="en-US" sz="1800" b="1" dirty="0" err="1">
                <a:solidFill>
                  <a:srgbClr val="002B24"/>
                </a:solidFill>
              </a:rPr>
              <a:t>cana</a:t>
            </a:r>
            <a:r>
              <a:rPr lang="en-US" sz="1800" b="1" dirty="0">
                <a:solidFill>
                  <a:srgbClr val="002B24"/>
                </a:solidFill>
              </a:rPr>
              <a:t>, </a:t>
            </a:r>
            <a:r>
              <a:rPr lang="en-US" sz="1800" b="1" dirty="0" err="1">
                <a:solidFill>
                  <a:srgbClr val="002B24"/>
                </a:solidFill>
              </a:rPr>
              <a:t>sendo</a:t>
            </a:r>
            <a:r>
              <a:rPr lang="en-US" sz="1800" b="1" dirty="0">
                <a:solidFill>
                  <a:srgbClr val="002B24"/>
                </a:solidFill>
              </a:rPr>
              <a:t> 70% </a:t>
            </a:r>
            <a:r>
              <a:rPr lang="en-US" sz="1800" b="1" dirty="0" err="1">
                <a:solidFill>
                  <a:srgbClr val="002B24"/>
                </a:solidFill>
              </a:rPr>
              <a:t>vindo</a:t>
            </a:r>
            <a:r>
              <a:rPr lang="en-US" sz="1800" b="1" dirty="0">
                <a:solidFill>
                  <a:srgbClr val="002B24"/>
                </a:solidFill>
              </a:rPr>
              <a:t> de 30 </a:t>
            </a:r>
            <a:r>
              <a:rPr lang="en-US" sz="1800" b="1" dirty="0" err="1">
                <a:solidFill>
                  <a:srgbClr val="002B24"/>
                </a:solidFill>
              </a:rPr>
              <a:t>produtores</a:t>
            </a:r>
            <a:r>
              <a:rPr lang="en-US" sz="1800" b="1" dirty="0">
                <a:solidFill>
                  <a:srgbClr val="002B24"/>
                </a:solidFill>
              </a:rPr>
              <a:t> </a:t>
            </a:r>
            <a:r>
              <a:rPr lang="en-US" sz="1800" b="1" dirty="0" err="1">
                <a:solidFill>
                  <a:srgbClr val="002B24"/>
                </a:solidFill>
              </a:rPr>
              <a:t>integrados</a:t>
            </a:r>
            <a:r>
              <a:rPr lang="en-US" sz="1800" b="1" dirty="0">
                <a:solidFill>
                  <a:srgbClr val="002B24"/>
                </a:solidFill>
              </a:rPr>
              <a:t> e 30% de </a:t>
            </a:r>
            <a:r>
              <a:rPr lang="en-US" sz="1800" b="1" dirty="0" err="1">
                <a:solidFill>
                  <a:srgbClr val="002B24"/>
                </a:solidFill>
              </a:rPr>
              <a:t>cana</a:t>
            </a:r>
            <a:r>
              <a:rPr lang="en-US" sz="1800" b="1" dirty="0">
                <a:solidFill>
                  <a:srgbClr val="002B24"/>
                </a:solidFill>
              </a:rPr>
              <a:t> </a:t>
            </a:r>
            <a:r>
              <a:rPr lang="en-US" sz="1800" b="1" dirty="0" err="1">
                <a:solidFill>
                  <a:srgbClr val="002B24"/>
                </a:solidFill>
              </a:rPr>
              <a:t>própria</a:t>
            </a:r>
            <a:r>
              <a:rPr lang="en-US" sz="1800" b="1" dirty="0">
                <a:solidFill>
                  <a:srgbClr val="002B24"/>
                </a:solidFill>
              </a:rPr>
              <a:t>;</a:t>
            </a:r>
          </a:p>
          <a:p>
            <a:r>
              <a:rPr lang="en-US" sz="1800" b="1" dirty="0" smtClean="0">
                <a:solidFill>
                  <a:srgbClr val="002B24"/>
                </a:solidFill>
              </a:rPr>
              <a:t>50</a:t>
            </a:r>
            <a:r>
              <a:rPr lang="en-US" sz="1800" b="1" dirty="0">
                <a:solidFill>
                  <a:srgbClr val="002B24"/>
                </a:solidFill>
              </a:rPr>
              <a:t>% </a:t>
            </a:r>
            <a:r>
              <a:rPr lang="en-US" sz="1800" b="1" dirty="0" err="1">
                <a:solidFill>
                  <a:srgbClr val="002B24"/>
                </a:solidFill>
              </a:rPr>
              <a:t>anidro</a:t>
            </a:r>
            <a:r>
              <a:rPr lang="en-US" sz="1800" b="1" dirty="0">
                <a:solidFill>
                  <a:srgbClr val="002B24"/>
                </a:solidFill>
              </a:rPr>
              <a:t> e 50% </a:t>
            </a:r>
            <a:r>
              <a:rPr lang="en-US" sz="1800" b="1" dirty="0" err="1">
                <a:solidFill>
                  <a:srgbClr val="002B24"/>
                </a:solidFill>
              </a:rPr>
              <a:t>hidratado</a:t>
            </a:r>
            <a:r>
              <a:rPr lang="en-US" sz="1800" b="1" dirty="0">
                <a:solidFill>
                  <a:srgbClr val="002B24"/>
                </a:solidFill>
              </a:rPr>
              <a:t>, </a:t>
            </a:r>
            <a:r>
              <a:rPr lang="en-US" sz="1800" b="1" dirty="0" err="1">
                <a:solidFill>
                  <a:srgbClr val="002B24"/>
                </a:solidFill>
              </a:rPr>
              <a:t>além</a:t>
            </a:r>
            <a:r>
              <a:rPr lang="en-US" sz="1800" b="1" dirty="0">
                <a:solidFill>
                  <a:srgbClr val="002B24"/>
                </a:solidFill>
              </a:rPr>
              <a:t> de co-</a:t>
            </a:r>
            <a:r>
              <a:rPr lang="en-US" sz="1800" b="1" dirty="0" err="1" smtClean="0">
                <a:solidFill>
                  <a:srgbClr val="002B24"/>
                </a:solidFill>
              </a:rPr>
              <a:t>geração</a:t>
            </a:r>
            <a:r>
              <a:rPr lang="bg-BG" sz="1800" b="1" dirty="0">
                <a:solidFill>
                  <a:srgbClr val="002B24"/>
                </a:solidFill>
              </a:rPr>
              <a:t> </a:t>
            </a:r>
            <a:r>
              <a:rPr lang="bg-BG" sz="1800" b="1" dirty="0" smtClean="0">
                <a:solidFill>
                  <a:srgbClr val="002B24"/>
                </a:solidFill>
              </a:rPr>
              <a:t>com </a:t>
            </a:r>
            <a:r>
              <a:rPr lang="bg-BG" sz="1800" b="1" dirty="0">
                <a:solidFill>
                  <a:srgbClr val="002B24"/>
                </a:solidFill>
              </a:rPr>
              <a:t>f</a:t>
            </a:r>
            <a:r>
              <a:rPr lang="en-US" sz="1800" b="1" dirty="0" err="1" smtClean="0">
                <a:solidFill>
                  <a:srgbClr val="002B24"/>
                </a:solidFill>
              </a:rPr>
              <a:t>aturamento</a:t>
            </a:r>
            <a:r>
              <a:rPr lang="en-US" sz="1800" b="1" dirty="0" smtClean="0">
                <a:solidFill>
                  <a:srgbClr val="002B24"/>
                </a:solidFill>
              </a:rPr>
              <a:t> </a:t>
            </a:r>
            <a:r>
              <a:rPr lang="en-US" sz="1800" b="1" dirty="0">
                <a:solidFill>
                  <a:srgbClr val="002B24"/>
                </a:solidFill>
              </a:rPr>
              <a:t>de R$ 160 </a:t>
            </a:r>
            <a:r>
              <a:rPr lang="en-US" sz="1800" b="1" dirty="0" err="1">
                <a:solidFill>
                  <a:srgbClr val="002B24"/>
                </a:solidFill>
              </a:rPr>
              <a:t>milhões</a:t>
            </a:r>
            <a:r>
              <a:rPr lang="en-US" sz="1800" b="1" dirty="0">
                <a:solidFill>
                  <a:srgbClr val="002B24"/>
                </a:solidFill>
              </a:rPr>
              <a:t> em 2014;</a:t>
            </a:r>
          </a:p>
          <a:p>
            <a:r>
              <a:rPr lang="en-US" sz="1800" b="1" dirty="0" smtClean="0">
                <a:solidFill>
                  <a:srgbClr val="002B24"/>
                </a:solidFill>
              </a:rPr>
              <a:t>700 </a:t>
            </a:r>
            <a:r>
              <a:rPr lang="en-US" sz="1800" b="1" dirty="0" err="1" smtClean="0">
                <a:solidFill>
                  <a:srgbClr val="002B24"/>
                </a:solidFill>
              </a:rPr>
              <a:t>empregos</a:t>
            </a:r>
            <a:r>
              <a:rPr lang="en-US" sz="1800" b="1" dirty="0" smtClean="0">
                <a:solidFill>
                  <a:srgbClr val="002B24"/>
                </a:solidFill>
              </a:rPr>
              <a:t> </a:t>
            </a:r>
            <a:r>
              <a:rPr lang="bg-BG" sz="1800" b="1" dirty="0" smtClean="0">
                <a:solidFill>
                  <a:srgbClr val="002B24"/>
                </a:solidFill>
              </a:rPr>
              <a:t>(</a:t>
            </a:r>
            <a:r>
              <a:rPr lang="en-US" sz="1800" b="1" dirty="0" smtClean="0">
                <a:solidFill>
                  <a:srgbClr val="002B24"/>
                </a:solidFill>
              </a:rPr>
              <a:t>180 </a:t>
            </a:r>
            <a:r>
              <a:rPr lang="en-US" sz="1800" b="1" dirty="0" err="1">
                <a:solidFill>
                  <a:srgbClr val="002B24"/>
                </a:solidFill>
              </a:rPr>
              <a:t>na</a:t>
            </a:r>
            <a:r>
              <a:rPr lang="en-US" sz="1800" b="1" dirty="0">
                <a:solidFill>
                  <a:srgbClr val="002B24"/>
                </a:solidFill>
              </a:rPr>
              <a:t> </a:t>
            </a:r>
            <a:r>
              <a:rPr lang="en-US" sz="1800" b="1" dirty="0" err="1">
                <a:solidFill>
                  <a:srgbClr val="002B24"/>
                </a:solidFill>
              </a:rPr>
              <a:t>indústria</a:t>
            </a:r>
            <a:r>
              <a:rPr lang="en-US" sz="1800" b="1" dirty="0">
                <a:solidFill>
                  <a:srgbClr val="002B24"/>
                </a:solidFill>
              </a:rPr>
              <a:t>, 70 </a:t>
            </a:r>
            <a:r>
              <a:rPr lang="en-US" sz="1800" b="1" dirty="0" err="1">
                <a:solidFill>
                  <a:srgbClr val="002B24"/>
                </a:solidFill>
              </a:rPr>
              <a:t>na</a:t>
            </a:r>
            <a:r>
              <a:rPr lang="en-US" sz="1800" b="1" dirty="0">
                <a:solidFill>
                  <a:srgbClr val="002B24"/>
                </a:solidFill>
              </a:rPr>
              <a:t> </a:t>
            </a:r>
            <a:r>
              <a:rPr lang="en-US" sz="1800" b="1" dirty="0" err="1">
                <a:solidFill>
                  <a:srgbClr val="002B24"/>
                </a:solidFill>
              </a:rPr>
              <a:t>administração</a:t>
            </a:r>
            <a:r>
              <a:rPr lang="en-US" sz="1800" b="1" dirty="0">
                <a:solidFill>
                  <a:srgbClr val="002B24"/>
                </a:solidFill>
              </a:rPr>
              <a:t> e 450 no </a:t>
            </a:r>
            <a:r>
              <a:rPr lang="en-US" sz="1800" b="1" dirty="0" smtClean="0">
                <a:solidFill>
                  <a:srgbClr val="002B24"/>
                </a:solidFill>
              </a:rPr>
              <a:t>campo</a:t>
            </a:r>
            <a:r>
              <a:rPr lang="bg-BG" sz="1800" b="1" dirty="0" smtClean="0">
                <a:solidFill>
                  <a:srgbClr val="002B24"/>
                </a:solidFill>
              </a:rPr>
              <a:t>)</a:t>
            </a:r>
            <a:r>
              <a:rPr lang="en-US" sz="1800" b="1" dirty="0" smtClean="0">
                <a:solidFill>
                  <a:srgbClr val="002B24"/>
                </a:solidFill>
              </a:rPr>
              <a:t>;</a:t>
            </a:r>
            <a:endParaRPr lang="en-US" sz="1800" b="1" dirty="0">
              <a:solidFill>
                <a:srgbClr val="002B24"/>
              </a:solidFill>
            </a:endParaRPr>
          </a:p>
          <a:p>
            <a:r>
              <a:rPr lang="en-US" sz="1800" b="1" dirty="0" smtClean="0">
                <a:solidFill>
                  <a:srgbClr val="002B24"/>
                </a:solidFill>
              </a:rPr>
              <a:t>R</a:t>
            </a:r>
            <a:r>
              <a:rPr lang="en-US" sz="1800" b="1" dirty="0">
                <a:solidFill>
                  <a:srgbClr val="002B24"/>
                </a:solidFill>
              </a:rPr>
              <a:t>$ 18 </a:t>
            </a:r>
            <a:r>
              <a:rPr lang="en-US" sz="1800" b="1" dirty="0" err="1">
                <a:solidFill>
                  <a:srgbClr val="002B24"/>
                </a:solidFill>
              </a:rPr>
              <a:t>milhões</a:t>
            </a:r>
            <a:r>
              <a:rPr lang="en-US" sz="1800" b="1" dirty="0">
                <a:solidFill>
                  <a:srgbClr val="002B24"/>
                </a:solidFill>
              </a:rPr>
              <a:t>/</a:t>
            </a:r>
            <a:r>
              <a:rPr lang="en-US" sz="1800" b="1" dirty="0" err="1">
                <a:solidFill>
                  <a:srgbClr val="002B24"/>
                </a:solidFill>
              </a:rPr>
              <a:t>ano</a:t>
            </a:r>
            <a:r>
              <a:rPr lang="en-US" sz="1800" b="1" dirty="0">
                <a:solidFill>
                  <a:srgbClr val="002B24"/>
                </a:solidFill>
              </a:rPr>
              <a:t> em </a:t>
            </a:r>
            <a:r>
              <a:rPr lang="en-US" sz="1800" b="1" dirty="0" err="1">
                <a:solidFill>
                  <a:srgbClr val="002B24"/>
                </a:solidFill>
              </a:rPr>
              <a:t>salários</a:t>
            </a:r>
            <a:r>
              <a:rPr lang="en-US" sz="1800" b="1" dirty="0">
                <a:solidFill>
                  <a:srgbClr val="002B24"/>
                </a:solidFill>
              </a:rPr>
              <a:t> </a:t>
            </a:r>
            <a:r>
              <a:rPr lang="en-US" sz="1800" b="1" dirty="0" err="1">
                <a:solidFill>
                  <a:srgbClr val="002B24"/>
                </a:solidFill>
              </a:rPr>
              <a:t>que</a:t>
            </a:r>
            <a:r>
              <a:rPr lang="en-US" sz="1800" b="1" dirty="0">
                <a:solidFill>
                  <a:srgbClr val="002B24"/>
                </a:solidFill>
              </a:rPr>
              <a:t> </a:t>
            </a:r>
            <a:r>
              <a:rPr lang="en-US" sz="1800" b="1" dirty="0" err="1">
                <a:solidFill>
                  <a:srgbClr val="002B24"/>
                </a:solidFill>
              </a:rPr>
              <a:t>são</a:t>
            </a:r>
            <a:r>
              <a:rPr lang="en-US" sz="1800" b="1" dirty="0">
                <a:solidFill>
                  <a:srgbClr val="002B24"/>
                </a:solidFill>
              </a:rPr>
              <a:t> </a:t>
            </a:r>
            <a:r>
              <a:rPr lang="en-US" sz="1800" b="1" dirty="0" err="1">
                <a:solidFill>
                  <a:srgbClr val="002B24"/>
                </a:solidFill>
              </a:rPr>
              <a:t>gastos</a:t>
            </a:r>
            <a:r>
              <a:rPr lang="en-US" sz="1800" b="1" dirty="0">
                <a:solidFill>
                  <a:srgbClr val="002B24"/>
                </a:solidFill>
              </a:rPr>
              <a:t> </a:t>
            </a:r>
            <a:r>
              <a:rPr lang="en-US" sz="1800" b="1" dirty="0" err="1">
                <a:solidFill>
                  <a:srgbClr val="002B24"/>
                </a:solidFill>
              </a:rPr>
              <a:t>na</a:t>
            </a:r>
            <a:r>
              <a:rPr lang="en-US" sz="1800" b="1" dirty="0">
                <a:solidFill>
                  <a:srgbClr val="002B24"/>
                </a:solidFill>
              </a:rPr>
              <a:t> </a:t>
            </a:r>
            <a:r>
              <a:rPr lang="en-US" sz="1800" b="1" dirty="0" err="1">
                <a:solidFill>
                  <a:srgbClr val="002B24"/>
                </a:solidFill>
              </a:rPr>
              <a:t>região</a:t>
            </a:r>
            <a:r>
              <a:rPr lang="en-US" sz="1800" b="1" dirty="0" smtClean="0">
                <a:solidFill>
                  <a:srgbClr val="002B24"/>
                </a:solidFill>
              </a:rPr>
              <a:t>;</a:t>
            </a:r>
            <a:endParaRPr lang="bg-BG" sz="1800" b="1" dirty="0" smtClean="0">
              <a:solidFill>
                <a:srgbClr val="002B24"/>
              </a:solidFill>
            </a:endParaRPr>
          </a:p>
          <a:p>
            <a:r>
              <a:rPr lang="en-US" sz="1800" b="1" dirty="0" smtClean="0">
                <a:solidFill>
                  <a:srgbClr val="002B24"/>
                </a:solidFill>
              </a:rPr>
              <a:t>R</a:t>
            </a:r>
            <a:r>
              <a:rPr lang="en-US" sz="1800" b="1" dirty="0">
                <a:solidFill>
                  <a:srgbClr val="002B24"/>
                </a:solidFill>
              </a:rPr>
              <a:t>$ 20 </a:t>
            </a:r>
            <a:r>
              <a:rPr lang="en-US" sz="1800" b="1" dirty="0" err="1" smtClean="0">
                <a:solidFill>
                  <a:srgbClr val="002B24"/>
                </a:solidFill>
              </a:rPr>
              <a:t>milhões</a:t>
            </a:r>
            <a:r>
              <a:rPr lang="bg-BG" sz="1800" b="1" dirty="0" smtClean="0">
                <a:solidFill>
                  <a:srgbClr val="002B24"/>
                </a:solidFill>
              </a:rPr>
              <a:t>/ano</a:t>
            </a:r>
            <a:r>
              <a:rPr lang="en-US" sz="1800" b="1" dirty="0" smtClean="0">
                <a:solidFill>
                  <a:srgbClr val="002B24"/>
                </a:solidFill>
              </a:rPr>
              <a:t> </a:t>
            </a:r>
            <a:r>
              <a:rPr lang="en-US" sz="1800" b="1" dirty="0">
                <a:solidFill>
                  <a:srgbClr val="002B24"/>
                </a:solidFill>
              </a:rPr>
              <a:t>em </a:t>
            </a:r>
            <a:r>
              <a:rPr lang="en-US" sz="1800" b="1" dirty="0" err="1">
                <a:solidFill>
                  <a:srgbClr val="002B24"/>
                </a:solidFill>
              </a:rPr>
              <a:t>impostos</a:t>
            </a:r>
            <a:r>
              <a:rPr lang="en-US" sz="1800" b="1" dirty="0">
                <a:solidFill>
                  <a:srgbClr val="002B24"/>
                </a:solidFill>
              </a:rPr>
              <a:t> </a:t>
            </a:r>
            <a:r>
              <a:rPr lang="en-US" sz="1800" b="1" dirty="0" err="1">
                <a:solidFill>
                  <a:srgbClr val="002B24"/>
                </a:solidFill>
              </a:rPr>
              <a:t>ao</a:t>
            </a:r>
            <a:r>
              <a:rPr lang="en-US" sz="1800" b="1" dirty="0">
                <a:solidFill>
                  <a:srgbClr val="002B24"/>
                </a:solidFill>
              </a:rPr>
              <a:t> </a:t>
            </a:r>
            <a:r>
              <a:rPr lang="en-US" sz="1800" b="1" dirty="0" err="1">
                <a:solidFill>
                  <a:srgbClr val="002B24"/>
                </a:solidFill>
              </a:rPr>
              <a:t>Governo</a:t>
            </a:r>
            <a:r>
              <a:rPr lang="en-US" sz="1800" b="1" dirty="0">
                <a:solidFill>
                  <a:srgbClr val="002B24"/>
                </a:solidFill>
              </a:rPr>
              <a:t>;</a:t>
            </a:r>
          </a:p>
          <a:p>
            <a:r>
              <a:rPr lang="en-US" sz="1800" b="1" dirty="0" err="1">
                <a:solidFill>
                  <a:srgbClr val="002B24"/>
                </a:solidFill>
              </a:rPr>
              <a:t>Compra</a:t>
            </a:r>
            <a:r>
              <a:rPr lang="en-US" sz="1800" b="1" dirty="0">
                <a:solidFill>
                  <a:srgbClr val="002B24"/>
                </a:solidFill>
              </a:rPr>
              <a:t> </a:t>
            </a:r>
            <a:r>
              <a:rPr lang="en-US" sz="1800" b="1" dirty="0" err="1">
                <a:solidFill>
                  <a:srgbClr val="002B24"/>
                </a:solidFill>
              </a:rPr>
              <a:t>cerca</a:t>
            </a:r>
            <a:r>
              <a:rPr lang="en-US" sz="1800" b="1" dirty="0">
                <a:solidFill>
                  <a:srgbClr val="002B24"/>
                </a:solidFill>
              </a:rPr>
              <a:t> de R$ 30 </a:t>
            </a:r>
            <a:r>
              <a:rPr lang="en-US" sz="1800" b="1" dirty="0" err="1">
                <a:solidFill>
                  <a:srgbClr val="002B24"/>
                </a:solidFill>
              </a:rPr>
              <a:t>milhões</a:t>
            </a:r>
            <a:r>
              <a:rPr lang="en-US" sz="1800" b="1" dirty="0">
                <a:solidFill>
                  <a:srgbClr val="002B24"/>
                </a:solidFill>
              </a:rPr>
              <a:t> em outros </a:t>
            </a:r>
            <a:r>
              <a:rPr lang="en-US" sz="1800" b="1" dirty="0" err="1">
                <a:solidFill>
                  <a:srgbClr val="002B24"/>
                </a:solidFill>
              </a:rPr>
              <a:t>produtos</a:t>
            </a:r>
            <a:r>
              <a:rPr lang="en-US" sz="1800" b="1" dirty="0">
                <a:solidFill>
                  <a:srgbClr val="002B24"/>
                </a:solidFill>
              </a:rPr>
              <a:t>, </a:t>
            </a:r>
            <a:r>
              <a:rPr lang="en-US" sz="1800" b="1" dirty="0" err="1">
                <a:solidFill>
                  <a:srgbClr val="002B24"/>
                </a:solidFill>
              </a:rPr>
              <a:t>movimentando</a:t>
            </a:r>
            <a:r>
              <a:rPr lang="en-US" sz="1800" b="1" dirty="0">
                <a:solidFill>
                  <a:srgbClr val="002B24"/>
                </a:solidFill>
              </a:rPr>
              <a:t> </a:t>
            </a:r>
            <a:r>
              <a:rPr lang="en-US" sz="1800" b="1" dirty="0" err="1">
                <a:solidFill>
                  <a:srgbClr val="002B24"/>
                </a:solidFill>
              </a:rPr>
              <a:t>fornecedores</a:t>
            </a:r>
            <a:r>
              <a:rPr lang="en-US" sz="1800" b="1" dirty="0">
                <a:solidFill>
                  <a:srgbClr val="002B24"/>
                </a:solidFill>
              </a:rPr>
              <a:t>;</a:t>
            </a:r>
            <a:endParaRPr lang="en-US" sz="1800" b="1" dirty="0"/>
          </a:p>
          <a:p>
            <a:endParaRPr lang="en-US" sz="1800" dirty="0"/>
          </a:p>
        </p:txBody>
      </p:sp>
      <p:sp>
        <p:nvSpPr>
          <p:cNvPr id="6" name="TextBox 5"/>
          <p:cNvSpPr txBox="1"/>
          <p:nvPr/>
        </p:nvSpPr>
        <p:spPr>
          <a:xfrm>
            <a:off x="599886" y="6391244"/>
            <a:ext cx="3972114" cy="58477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Fonte: </a:t>
            </a:r>
            <a:r>
              <a:rPr lang="en-US" sz="1400" dirty="0" err="1">
                <a:solidFill>
                  <a:schemeClr val="bg1"/>
                </a:solidFill>
              </a:rPr>
              <a:t>Análise</a:t>
            </a:r>
            <a:r>
              <a:rPr lang="en-US" sz="1400" dirty="0">
                <a:solidFill>
                  <a:schemeClr val="bg1"/>
                </a:solidFill>
              </a:rPr>
              <a:t> do Prof. Marcos Fava Nev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913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/>
          <p:cNvSpPr>
            <a:spLocks noGrp="1"/>
          </p:cNvSpPr>
          <p:nvPr>
            <p:ph type="body" sz="quarter" idx="10"/>
          </p:nvPr>
        </p:nvSpPr>
        <p:spPr>
          <a:xfrm>
            <a:off x="827088" y="692150"/>
            <a:ext cx="7489825" cy="3960813"/>
          </a:xfrm>
        </p:spPr>
        <p:txBody>
          <a:bodyPr>
            <a:noAutofit/>
          </a:bodyPr>
          <a:lstStyle/>
          <a:p>
            <a:r>
              <a:rPr lang="pt-BR" altLang="pt-BR" sz="4000" b="1" dirty="0"/>
              <a:t>Obrigado!</a:t>
            </a:r>
          </a:p>
          <a:p>
            <a:endParaRPr lang="pt-BR" altLang="pt-BR" sz="2000" b="1" dirty="0"/>
          </a:p>
          <a:p>
            <a:r>
              <a:rPr lang="pt-BR" altLang="pt-BR" sz="2000" b="1" dirty="0"/>
              <a:t>Ribeirão Preto</a:t>
            </a:r>
          </a:p>
          <a:p>
            <a:r>
              <a:rPr lang="pt-BR" altLang="pt-BR" sz="2000" b="1" dirty="0"/>
              <a:t>+55 16 3456-5555</a:t>
            </a:r>
            <a:r>
              <a:rPr lang="pt-BR" altLang="pt-BR" sz="2000" dirty="0"/>
              <a:t> </a:t>
            </a:r>
          </a:p>
          <a:p>
            <a:r>
              <a:rPr lang="pt-BR" altLang="pt-BR" sz="2000" dirty="0"/>
              <a:t>Av. Alice de Moura Braghetto nº 691</a:t>
            </a:r>
          </a:p>
          <a:p>
            <a:r>
              <a:rPr lang="pt-BR" altLang="pt-BR" sz="2000" dirty="0"/>
              <a:t>City Ribeirão  |  14021-140</a:t>
            </a:r>
          </a:p>
          <a:p>
            <a:endParaRPr lang="pt-BR" altLang="pt-BR" sz="2000" b="1" dirty="0"/>
          </a:p>
          <a:p>
            <a:r>
              <a:rPr lang="pt-BR" altLang="pt-BR" sz="2000" b="1" dirty="0"/>
              <a:t>São Paulo</a:t>
            </a:r>
          </a:p>
          <a:p>
            <a:r>
              <a:rPr lang="pt-BR" altLang="pt-BR" sz="2000" dirty="0"/>
              <a:t>Rua Claudio Soares, 72 . Sala 1417</a:t>
            </a:r>
          </a:p>
          <a:p>
            <a:r>
              <a:rPr lang="pt-BR" altLang="pt-BR" sz="2000" dirty="0"/>
              <a:t>Pinheiros | 05422-030</a:t>
            </a:r>
          </a:p>
          <a:p>
            <a:endParaRPr lang="pt-BR" altLang="pt-BR" sz="2000" dirty="0"/>
          </a:p>
          <a:p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2327317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Agrupar 3"/>
          <p:cNvGrpSpPr/>
          <p:nvPr/>
        </p:nvGrpSpPr>
        <p:grpSpPr>
          <a:xfrm>
            <a:off x="354949" y="1412776"/>
            <a:ext cx="8434103" cy="4752528"/>
            <a:chOff x="479376" y="2279309"/>
            <a:chExt cx="10969661" cy="3895999"/>
          </a:xfrm>
        </p:grpSpPr>
        <p:sp>
          <p:nvSpPr>
            <p:cNvPr id="5" name="Retângulo 4"/>
            <p:cNvSpPr/>
            <p:nvPr/>
          </p:nvSpPr>
          <p:spPr>
            <a:xfrm>
              <a:off x="10811414" y="5590532"/>
              <a:ext cx="384255" cy="584776"/>
            </a:xfrm>
            <a:prstGeom prst="rect">
              <a:avLst/>
            </a:prstGeom>
            <a:noFill/>
          </p:spPr>
          <p:txBody>
            <a:bodyPr wrap="square" lIns="68580" tIns="34290" rIns="68580" bIns="34290">
              <a:spAutoFit/>
            </a:bodyPr>
            <a:lstStyle/>
            <a:p>
              <a:pPr algn="ctr"/>
              <a:r>
                <a:rPr lang="pt-BR" sz="2400" dirty="0">
                  <a:ln w="0"/>
                  <a:solidFill>
                    <a:schemeClr val="bg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D</a:t>
              </a:r>
            </a:p>
          </p:txBody>
        </p:sp>
        <p:sp>
          <p:nvSpPr>
            <p:cNvPr id="6" name="Rectangle 30175"/>
            <p:cNvSpPr>
              <a:spLocks noChangeArrowheads="1"/>
            </p:cNvSpPr>
            <p:nvPr/>
          </p:nvSpPr>
          <p:spPr bwMode="auto">
            <a:xfrm>
              <a:off x="502292" y="5019716"/>
              <a:ext cx="10936092" cy="11555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pPr lvl="2"/>
              <a:endParaRPr lang="pt-BR" sz="1350" dirty="0">
                <a:solidFill>
                  <a:srgbClr val="000000"/>
                </a:solidFill>
              </a:endParaRPr>
            </a:p>
          </p:txBody>
        </p:sp>
        <p:sp>
          <p:nvSpPr>
            <p:cNvPr id="7" name="Rectangle 30175"/>
            <p:cNvSpPr>
              <a:spLocks noChangeArrowheads="1"/>
            </p:cNvSpPr>
            <p:nvPr/>
          </p:nvSpPr>
          <p:spPr bwMode="auto">
            <a:xfrm>
              <a:off x="479376" y="2279309"/>
              <a:ext cx="10936092" cy="11555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lvl="2"/>
              <a:endParaRPr lang="pt-BR" sz="1350" dirty="0">
                <a:solidFill>
                  <a:srgbClr val="000000"/>
                </a:solidFill>
              </a:endParaRPr>
            </a:p>
          </p:txBody>
        </p:sp>
        <p:sp>
          <p:nvSpPr>
            <p:cNvPr id="8" name="AutoShape 30173"/>
            <p:cNvSpPr>
              <a:spLocks noChangeAspect="1" noChangeArrowheads="1" noTextEdit="1"/>
            </p:cNvSpPr>
            <p:nvPr/>
          </p:nvSpPr>
          <p:spPr bwMode="auto">
            <a:xfrm>
              <a:off x="1169237" y="3786933"/>
              <a:ext cx="10075652" cy="1048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pt-BR" sz="1350" dirty="0"/>
            </a:p>
          </p:txBody>
        </p:sp>
        <p:sp>
          <p:nvSpPr>
            <p:cNvPr id="9" name="Rectangle 30175"/>
            <p:cNvSpPr>
              <a:spLocks noChangeArrowheads="1"/>
            </p:cNvSpPr>
            <p:nvPr/>
          </p:nvSpPr>
          <p:spPr bwMode="auto">
            <a:xfrm>
              <a:off x="512945" y="3638787"/>
              <a:ext cx="10936092" cy="11555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lvl="2"/>
              <a:endParaRPr lang="pt-PT" sz="1350" dirty="0">
                <a:solidFill>
                  <a:srgbClr val="000000"/>
                </a:solidFill>
              </a:endParaRPr>
            </a:p>
          </p:txBody>
        </p:sp>
        <p:sp>
          <p:nvSpPr>
            <p:cNvPr id="10" name="Rectangle 30176"/>
            <p:cNvSpPr>
              <a:spLocks noChangeArrowheads="1"/>
            </p:cNvSpPr>
            <p:nvPr/>
          </p:nvSpPr>
          <p:spPr bwMode="auto">
            <a:xfrm>
              <a:off x="1174122" y="3856799"/>
              <a:ext cx="9970621" cy="9013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pt-BR" sz="1350" dirty="0"/>
            </a:p>
          </p:txBody>
        </p:sp>
        <p:grpSp>
          <p:nvGrpSpPr>
            <p:cNvPr id="11" name="Agrupar 10"/>
            <p:cNvGrpSpPr/>
            <p:nvPr/>
          </p:nvGrpSpPr>
          <p:grpSpPr>
            <a:xfrm>
              <a:off x="502291" y="2638752"/>
              <a:ext cx="1330731" cy="3536554"/>
              <a:chOff x="11053174" y="2638751"/>
              <a:chExt cx="1330731" cy="3536554"/>
            </a:xfrm>
          </p:grpSpPr>
          <p:sp>
            <p:nvSpPr>
              <p:cNvPr id="12" name="Freeform 30181"/>
              <p:cNvSpPr>
                <a:spLocks/>
              </p:cNvSpPr>
              <p:nvPr/>
            </p:nvSpPr>
            <p:spPr bwMode="auto">
              <a:xfrm flipH="1">
                <a:off x="11059255" y="5378222"/>
                <a:ext cx="1315151" cy="797083"/>
              </a:xfrm>
              <a:custGeom>
                <a:avLst/>
                <a:gdLst>
                  <a:gd name="T0" fmla="*/ 1135 w 1135"/>
                  <a:gd name="T1" fmla="*/ 0 h 810"/>
                  <a:gd name="T2" fmla="*/ 429 w 1135"/>
                  <a:gd name="T3" fmla="*/ 0 h 810"/>
                  <a:gd name="T4" fmla="*/ 0 w 1135"/>
                  <a:gd name="T5" fmla="*/ 810 h 810"/>
                  <a:gd name="T6" fmla="*/ 1135 w 1135"/>
                  <a:gd name="T7" fmla="*/ 810 h 810"/>
                  <a:gd name="T8" fmla="*/ 1135 w 1135"/>
                  <a:gd name="T9" fmla="*/ 0 h 8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5" h="810">
                    <a:moveTo>
                      <a:pt x="1135" y="0"/>
                    </a:moveTo>
                    <a:lnTo>
                      <a:pt x="429" y="0"/>
                    </a:lnTo>
                    <a:lnTo>
                      <a:pt x="0" y="810"/>
                    </a:lnTo>
                    <a:lnTo>
                      <a:pt x="1135" y="810"/>
                    </a:lnTo>
                    <a:lnTo>
                      <a:pt x="1135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350" dirty="0"/>
              </a:p>
            </p:txBody>
          </p:sp>
          <p:sp>
            <p:nvSpPr>
              <p:cNvPr id="13" name="Freeform 30181"/>
              <p:cNvSpPr>
                <a:spLocks/>
              </p:cNvSpPr>
              <p:nvPr/>
            </p:nvSpPr>
            <p:spPr bwMode="auto">
              <a:xfrm flipH="1">
                <a:off x="11053174" y="4026716"/>
                <a:ext cx="1330731" cy="797083"/>
              </a:xfrm>
              <a:custGeom>
                <a:avLst/>
                <a:gdLst>
                  <a:gd name="T0" fmla="*/ 1135 w 1135"/>
                  <a:gd name="T1" fmla="*/ 0 h 810"/>
                  <a:gd name="T2" fmla="*/ 429 w 1135"/>
                  <a:gd name="T3" fmla="*/ 0 h 810"/>
                  <a:gd name="T4" fmla="*/ 0 w 1135"/>
                  <a:gd name="T5" fmla="*/ 810 h 810"/>
                  <a:gd name="T6" fmla="*/ 1135 w 1135"/>
                  <a:gd name="T7" fmla="*/ 810 h 810"/>
                  <a:gd name="T8" fmla="*/ 1135 w 1135"/>
                  <a:gd name="T9" fmla="*/ 0 h 8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5" h="810">
                    <a:moveTo>
                      <a:pt x="1135" y="0"/>
                    </a:moveTo>
                    <a:lnTo>
                      <a:pt x="429" y="0"/>
                    </a:lnTo>
                    <a:lnTo>
                      <a:pt x="0" y="810"/>
                    </a:lnTo>
                    <a:lnTo>
                      <a:pt x="1135" y="810"/>
                    </a:lnTo>
                    <a:lnTo>
                      <a:pt x="1135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350" dirty="0"/>
              </a:p>
            </p:txBody>
          </p:sp>
          <p:sp>
            <p:nvSpPr>
              <p:cNvPr id="14" name="Retângulo 13"/>
              <p:cNvSpPr/>
              <p:nvPr/>
            </p:nvSpPr>
            <p:spPr>
              <a:xfrm flipH="1">
                <a:off x="11298914" y="4274747"/>
                <a:ext cx="384255" cy="409999"/>
              </a:xfrm>
              <a:prstGeom prst="rect">
                <a:avLst/>
              </a:prstGeom>
              <a:noFill/>
            </p:spPr>
            <p:txBody>
              <a:bodyPr wrap="square" lIns="68580" tIns="34290" rIns="68580" bIns="34290">
                <a:spAutoFit/>
              </a:bodyPr>
              <a:lstStyle/>
              <a:p>
                <a:pPr algn="ctr"/>
                <a:r>
                  <a:rPr lang="pt-BR" sz="2800" dirty="0">
                    <a:ln w="0"/>
                    <a:solidFill>
                      <a:schemeClr val="bg1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</a:rPr>
                  <a:t>2</a:t>
                </a:r>
              </a:p>
            </p:txBody>
          </p:sp>
          <p:sp>
            <p:nvSpPr>
              <p:cNvPr id="15" name="Retângulo 14"/>
              <p:cNvSpPr/>
              <p:nvPr/>
            </p:nvSpPr>
            <p:spPr>
              <a:xfrm flipH="1">
                <a:off x="11318079" y="5652086"/>
                <a:ext cx="384255" cy="409999"/>
              </a:xfrm>
              <a:prstGeom prst="rect">
                <a:avLst/>
              </a:prstGeom>
              <a:noFill/>
            </p:spPr>
            <p:txBody>
              <a:bodyPr wrap="square" lIns="68580" tIns="34290" rIns="68580" bIns="34290">
                <a:spAutoFit/>
              </a:bodyPr>
              <a:lstStyle/>
              <a:p>
                <a:pPr algn="ctr"/>
                <a:r>
                  <a:rPr lang="pt-BR" sz="2800" dirty="0">
                    <a:ln w="0"/>
                    <a:solidFill>
                      <a:schemeClr val="bg1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</a:rPr>
                  <a:t>3</a:t>
                </a:r>
              </a:p>
            </p:txBody>
          </p:sp>
          <p:sp>
            <p:nvSpPr>
              <p:cNvPr id="16" name="Freeform 30181"/>
              <p:cNvSpPr>
                <a:spLocks/>
              </p:cNvSpPr>
              <p:nvPr/>
            </p:nvSpPr>
            <p:spPr bwMode="auto">
              <a:xfrm flipH="1">
                <a:off x="11053174" y="2638751"/>
                <a:ext cx="1259990" cy="797083"/>
              </a:xfrm>
              <a:custGeom>
                <a:avLst/>
                <a:gdLst>
                  <a:gd name="T0" fmla="*/ 1135 w 1135"/>
                  <a:gd name="T1" fmla="*/ 0 h 810"/>
                  <a:gd name="T2" fmla="*/ 429 w 1135"/>
                  <a:gd name="T3" fmla="*/ 0 h 810"/>
                  <a:gd name="T4" fmla="*/ 0 w 1135"/>
                  <a:gd name="T5" fmla="*/ 810 h 810"/>
                  <a:gd name="T6" fmla="*/ 1135 w 1135"/>
                  <a:gd name="T7" fmla="*/ 810 h 810"/>
                  <a:gd name="T8" fmla="*/ 1135 w 1135"/>
                  <a:gd name="T9" fmla="*/ 0 h 8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5" h="810">
                    <a:moveTo>
                      <a:pt x="1135" y="0"/>
                    </a:moveTo>
                    <a:lnTo>
                      <a:pt x="429" y="0"/>
                    </a:lnTo>
                    <a:lnTo>
                      <a:pt x="0" y="810"/>
                    </a:lnTo>
                    <a:lnTo>
                      <a:pt x="1135" y="810"/>
                    </a:lnTo>
                    <a:lnTo>
                      <a:pt x="1135" y="0"/>
                    </a:lnTo>
                    <a:close/>
                  </a:path>
                </a:pathLst>
              </a:cu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350" dirty="0"/>
              </a:p>
            </p:txBody>
          </p:sp>
          <p:sp>
            <p:nvSpPr>
              <p:cNvPr id="17" name="Retângulo 16"/>
              <p:cNvSpPr/>
              <p:nvPr/>
            </p:nvSpPr>
            <p:spPr>
              <a:xfrm flipH="1">
                <a:off x="11298913" y="2857103"/>
                <a:ext cx="384255" cy="409999"/>
              </a:xfrm>
              <a:prstGeom prst="rect">
                <a:avLst/>
              </a:prstGeom>
              <a:noFill/>
            </p:spPr>
            <p:txBody>
              <a:bodyPr wrap="square" lIns="68580" tIns="34290" rIns="68580" bIns="34290">
                <a:spAutoFit/>
              </a:bodyPr>
              <a:lstStyle/>
              <a:p>
                <a:pPr algn="ctr"/>
                <a:r>
                  <a:rPr lang="pt-BR" sz="2800" dirty="0">
                    <a:ln w="0"/>
                    <a:solidFill>
                      <a:schemeClr val="bg1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</a:rPr>
                  <a:t>1</a:t>
                </a:r>
              </a:p>
            </p:txBody>
          </p:sp>
        </p:grpSp>
      </p:grp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pt-BR" dirty="0"/>
              <a:t>Projeto</a:t>
            </a:r>
          </a:p>
        </p:txBody>
      </p:sp>
      <p:sp>
        <p:nvSpPr>
          <p:cNvPr id="18" name="Retângulo 17"/>
          <p:cNvSpPr/>
          <p:nvPr/>
        </p:nvSpPr>
        <p:spPr>
          <a:xfrm>
            <a:off x="1371436" y="1818522"/>
            <a:ext cx="340036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000" dirty="0">
                <a:solidFill>
                  <a:srgbClr val="000000"/>
                </a:solidFill>
              </a:rPr>
              <a:t>SPONSOR: Confederação Nacional da Indústria – CNI;</a:t>
            </a:r>
          </a:p>
        </p:txBody>
      </p:sp>
      <p:sp>
        <p:nvSpPr>
          <p:cNvPr id="19" name="Retângulo 18"/>
          <p:cNvSpPr/>
          <p:nvPr/>
        </p:nvSpPr>
        <p:spPr>
          <a:xfrm>
            <a:off x="1371614" y="3339077"/>
            <a:ext cx="738355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000" dirty="0">
                <a:solidFill>
                  <a:srgbClr val="000000"/>
                </a:solidFill>
              </a:rPr>
              <a:t>SUPERVISÃO: Gerência Executiva de Meio Ambiente e Sustentabilidade da Confederação Nacional da Indústria (GEMAS/CNI);</a:t>
            </a:r>
          </a:p>
        </p:txBody>
      </p:sp>
      <p:sp>
        <p:nvSpPr>
          <p:cNvPr id="20" name="Retângulo 19"/>
          <p:cNvSpPr/>
          <p:nvPr/>
        </p:nvSpPr>
        <p:spPr>
          <a:xfrm>
            <a:off x="1329377" y="4840129"/>
            <a:ext cx="743386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000" dirty="0">
                <a:solidFill>
                  <a:srgbClr val="000000"/>
                </a:solidFill>
              </a:rPr>
              <a:t>CONTEXTUALIZAÇÃO: analisar os gargalos do setor e os desafios que o setor sucroenergético enfrentará, considerando o compromisso assumido pelo governo brasileiro na COP 21 (Paris, dez/2015), visando soluções aos problemas identificados. </a:t>
            </a: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788285" y="1487771"/>
            <a:ext cx="2843807" cy="1246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445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pt-BR" dirty="0"/>
              <a:t>Escopo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60001" y="1844644"/>
            <a:ext cx="8424000" cy="3997909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pt-BR" sz="1800" dirty="0"/>
              <a:t>1. Introdução</a:t>
            </a:r>
          </a:p>
          <a:p>
            <a:pPr marL="0" indent="0">
              <a:spcBef>
                <a:spcPts val="0"/>
              </a:spcBef>
              <a:buNone/>
            </a:pPr>
            <a:r>
              <a:rPr lang="pt-BR" sz="1800" dirty="0"/>
              <a:t>2. Histórico do setor sucronergético no Brasil</a:t>
            </a:r>
          </a:p>
          <a:p>
            <a:pPr marL="0" indent="0">
              <a:spcBef>
                <a:spcPts val="0"/>
              </a:spcBef>
              <a:buNone/>
            </a:pPr>
            <a:r>
              <a:rPr lang="pt-BR" sz="1800" dirty="0"/>
              <a:t>3. A importância do setor sucroenergético para o Brasil (econômico, social e ambiental)</a:t>
            </a:r>
          </a:p>
          <a:p>
            <a:pPr marL="0" indent="0">
              <a:spcBef>
                <a:spcPts val="0"/>
              </a:spcBef>
              <a:buNone/>
            </a:pPr>
            <a:r>
              <a:rPr lang="pt-BR" sz="1800" dirty="0"/>
              <a:t>4. Um retrato do setor sucroenergético e seus produtos (açúcar, etanol, bioenergia e outros produtos)</a:t>
            </a:r>
          </a:p>
          <a:p>
            <a:pPr marL="0" indent="0">
              <a:spcBef>
                <a:spcPts val="0"/>
              </a:spcBef>
              <a:buNone/>
            </a:pPr>
            <a:r>
              <a:rPr lang="pt-BR" sz="1800" dirty="0"/>
              <a:t>5. A competitividade do etanol frentes outros biocombustíveis</a:t>
            </a:r>
          </a:p>
          <a:p>
            <a:pPr marL="0" indent="0">
              <a:spcBef>
                <a:spcPts val="0"/>
              </a:spcBef>
              <a:buNone/>
            </a:pPr>
            <a:r>
              <a:rPr lang="pt-BR" sz="1800" dirty="0"/>
              <a:t>6. Os problemas enfrentados pelo setor (problemas na produção agrícola e agroindústrias)</a:t>
            </a:r>
          </a:p>
          <a:p>
            <a:pPr marL="0" indent="0">
              <a:spcBef>
                <a:spcPts val="0"/>
              </a:spcBef>
              <a:buNone/>
            </a:pPr>
            <a:r>
              <a:rPr lang="pt-BR" sz="1800" dirty="0"/>
              <a:t>7. Perspectivas dos setor sucronergético e cenários futuros</a:t>
            </a:r>
          </a:p>
          <a:p>
            <a:pPr marL="0" indent="0">
              <a:spcBef>
                <a:spcPts val="0"/>
              </a:spcBef>
              <a:buNone/>
            </a:pPr>
            <a:r>
              <a:rPr lang="pt-BR" sz="1800" dirty="0"/>
              <a:t>8. Os impactos das perspectivas do setor sucroenergético na meta brasileira estabelecida na COP 21</a:t>
            </a:r>
          </a:p>
          <a:p>
            <a:pPr marL="0" indent="0">
              <a:spcBef>
                <a:spcPts val="0"/>
              </a:spcBef>
              <a:buNone/>
            </a:pPr>
            <a:r>
              <a:rPr lang="pt-BR" sz="1800" dirty="0"/>
              <a:t>9. Uma agenda para o setor sucroenergético</a:t>
            </a:r>
          </a:p>
          <a:p>
            <a:pPr marL="0" indent="0">
              <a:spcBef>
                <a:spcPts val="0"/>
              </a:spcBef>
              <a:buNone/>
            </a:pPr>
            <a:r>
              <a:rPr lang="pt-BR" sz="1800" dirty="0" err="1" smtClean="0"/>
              <a:t>Refer</a:t>
            </a:r>
            <a:r>
              <a:rPr lang="bg-BG" sz="1800" dirty="0" smtClean="0"/>
              <a:t>ê</a:t>
            </a:r>
            <a:r>
              <a:rPr lang="pt-BR" sz="1800" dirty="0" err="1" smtClean="0"/>
              <a:t>ncias</a:t>
            </a:r>
            <a:endParaRPr lang="pt-BR" sz="1800" dirty="0"/>
          </a:p>
          <a:p>
            <a:pPr marL="0" indent="0">
              <a:spcBef>
                <a:spcPts val="0"/>
              </a:spcBef>
              <a:buNone/>
            </a:pPr>
            <a:r>
              <a:rPr lang="pt-BR" sz="1800" dirty="0"/>
              <a:t>Anexos</a:t>
            </a:r>
          </a:p>
        </p:txBody>
      </p:sp>
      <p:sp>
        <p:nvSpPr>
          <p:cNvPr id="4" name="Retângulo 3"/>
          <p:cNvSpPr/>
          <p:nvPr/>
        </p:nvSpPr>
        <p:spPr>
          <a:xfrm>
            <a:off x="343523" y="1268580"/>
            <a:ext cx="8116910" cy="57606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rgbClr val="000000"/>
                </a:solidFill>
              </a:rPr>
              <a:t>“Gargalos e Desafios para o Desenvolvimento do Setor Sucroenergético”</a:t>
            </a: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0637" y="1052736"/>
            <a:ext cx="899592" cy="89959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33499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9"/>
          <p:cNvSpPr/>
          <p:nvPr/>
        </p:nvSpPr>
        <p:spPr>
          <a:xfrm>
            <a:off x="1662375" y="2472183"/>
            <a:ext cx="7484785" cy="3960440"/>
          </a:xfrm>
          <a:custGeom>
            <a:avLst/>
            <a:gdLst>
              <a:gd name="connsiteX0" fmla="*/ 0 w 3765837"/>
              <a:gd name="connsiteY0" fmla="*/ 0 h 5331668"/>
              <a:gd name="connsiteX1" fmla="*/ 308040 w 3765837"/>
              <a:gd name="connsiteY1" fmla="*/ 0 h 5331668"/>
              <a:gd name="connsiteX2" fmla="*/ 3765837 w 3765837"/>
              <a:gd name="connsiteY2" fmla="*/ 3457797 h 5331668"/>
              <a:gd name="connsiteX3" fmla="*/ 3765837 w 3765837"/>
              <a:gd name="connsiteY3" fmla="*/ 5331668 h 5331668"/>
              <a:gd name="connsiteX4" fmla="*/ 0 w 3765837"/>
              <a:gd name="connsiteY4" fmla="*/ 5331668 h 5331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65837" h="5331668">
                <a:moveTo>
                  <a:pt x="0" y="0"/>
                </a:moveTo>
                <a:lnTo>
                  <a:pt x="308040" y="0"/>
                </a:lnTo>
                <a:lnTo>
                  <a:pt x="3765837" y="3457797"/>
                </a:lnTo>
                <a:lnTo>
                  <a:pt x="3765837" y="5331668"/>
                </a:lnTo>
                <a:lnTo>
                  <a:pt x="0" y="5331668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Freeform 4"/>
          <p:cNvSpPr/>
          <p:nvPr/>
        </p:nvSpPr>
        <p:spPr>
          <a:xfrm>
            <a:off x="311931" y="2395806"/>
            <a:ext cx="2996181" cy="4036817"/>
          </a:xfrm>
          <a:custGeom>
            <a:avLst/>
            <a:gdLst>
              <a:gd name="connsiteX0" fmla="*/ 323604 w 4522224"/>
              <a:gd name="connsiteY0" fmla="*/ 6062148 h 6062148"/>
              <a:gd name="connsiteX1" fmla="*/ 376944 w 4522224"/>
              <a:gd name="connsiteY1" fmla="*/ 5924988 h 6062148"/>
              <a:gd name="connsiteX2" fmla="*/ 437904 w 4522224"/>
              <a:gd name="connsiteY2" fmla="*/ 5780208 h 6062148"/>
              <a:gd name="connsiteX3" fmla="*/ 468384 w 4522224"/>
              <a:gd name="connsiteY3" fmla="*/ 5665908 h 6062148"/>
              <a:gd name="connsiteX4" fmla="*/ 506484 w 4522224"/>
              <a:gd name="connsiteY4" fmla="*/ 5612568 h 6062148"/>
              <a:gd name="connsiteX5" fmla="*/ 536964 w 4522224"/>
              <a:gd name="connsiteY5" fmla="*/ 5521128 h 6062148"/>
              <a:gd name="connsiteX6" fmla="*/ 559824 w 4522224"/>
              <a:gd name="connsiteY6" fmla="*/ 5353488 h 6062148"/>
              <a:gd name="connsiteX7" fmla="*/ 597924 w 4522224"/>
              <a:gd name="connsiteY7" fmla="*/ 5223948 h 6062148"/>
              <a:gd name="connsiteX8" fmla="*/ 620784 w 4522224"/>
              <a:gd name="connsiteY8" fmla="*/ 5178228 h 6062148"/>
              <a:gd name="connsiteX9" fmla="*/ 696984 w 4522224"/>
              <a:gd name="connsiteY9" fmla="*/ 5071548 h 6062148"/>
              <a:gd name="connsiteX10" fmla="*/ 712224 w 4522224"/>
              <a:gd name="connsiteY10" fmla="*/ 5063928 h 6062148"/>
              <a:gd name="connsiteX11" fmla="*/ 704604 w 4522224"/>
              <a:gd name="connsiteY11" fmla="*/ 5025828 h 6062148"/>
              <a:gd name="connsiteX12" fmla="*/ 696984 w 4522224"/>
              <a:gd name="connsiteY12" fmla="*/ 5002968 h 6062148"/>
              <a:gd name="connsiteX13" fmla="*/ 963684 w 4522224"/>
              <a:gd name="connsiteY13" fmla="*/ 4682928 h 6062148"/>
              <a:gd name="connsiteX14" fmla="*/ 956064 w 4522224"/>
              <a:gd name="connsiteY14" fmla="*/ 4644828 h 6062148"/>
              <a:gd name="connsiteX15" fmla="*/ 1337064 w 4522224"/>
              <a:gd name="connsiteY15" fmla="*/ 4172388 h 6062148"/>
              <a:gd name="connsiteX16" fmla="*/ 1253244 w 4522224"/>
              <a:gd name="connsiteY16" fmla="*/ 4012368 h 6062148"/>
              <a:gd name="connsiteX17" fmla="*/ 1199904 w 4522224"/>
              <a:gd name="connsiteY17" fmla="*/ 3928548 h 6062148"/>
              <a:gd name="connsiteX18" fmla="*/ 1169424 w 4522224"/>
              <a:gd name="connsiteY18" fmla="*/ 3768528 h 6062148"/>
              <a:gd name="connsiteX19" fmla="*/ 1146564 w 4522224"/>
              <a:gd name="connsiteY19" fmla="*/ 3699948 h 6062148"/>
              <a:gd name="connsiteX20" fmla="*/ 1138944 w 4522224"/>
              <a:gd name="connsiteY20" fmla="*/ 3669468 h 6062148"/>
              <a:gd name="connsiteX21" fmla="*/ 1062744 w 4522224"/>
              <a:gd name="connsiteY21" fmla="*/ 3661848 h 6062148"/>
              <a:gd name="connsiteX22" fmla="*/ 933204 w 4522224"/>
              <a:gd name="connsiteY22" fmla="*/ 3669468 h 6062148"/>
              <a:gd name="connsiteX23" fmla="*/ 826524 w 4522224"/>
              <a:gd name="connsiteY23" fmla="*/ 3692328 h 6062148"/>
              <a:gd name="connsiteX24" fmla="*/ 605544 w 4522224"/>
              <a:gd name="connsiteY24" fmla="*/ 3738048 h 6062148"/>
              <a:gd name="connsiteX25" fmla="*/ 384564 w 4522224"/>
              <a:gd name="connsiteY25" fmla="*/ 3638988 h 6062148"/>
              <a:gd name="connsiteX26" fmla="*/ 376944 w 4522224"/>
              <a:gd name="connsiteY26" fmla="*/ 3326568 h 6062148"/>
              <a:gd name="connsiteX27" fmla="*/ 415044 w 4522224"/>
              <a:gd name="connsiteY27" fmla="*/ 3250368 h 6062148"/>
              <a:gd name="connsiteX28" fmla="*/ 415044 w 4522224"/>
              <a:gd name="connsiteY28" fmla="*/ 3227508 h 6062148"/>
              <a:gd name="connsiteX29" fmla="*/ 384564 w 4522224"/>
              <a:gd name="connsiteY29" fmla="*/ 3166548 h 6062148"/>
              <a:gd name="connsiteX30" fmla="*/ 361704 w 4522224"/>
              <a:gd name="connsiteY30" fmla="*/ 3166548 h 6062148"/>
              <a:gd name="connsiteX31" fmla="*/ 346464 w 4522224"/>
              <a:gd name="connsiteY31" fmla="*/ 3105588 h 6062148"/>
              <a:gd name="connsiteX32" fmla="*/ 392184 w 4522224"/>
              <a:gd name="connsiteY32" fmla="*/ 3021768 h 6062148"/>
              <a:gd name="connsiteX33" fmla="*/ 483624 w 4522224"/>
              <a:gd name="connsiteY33" fmla="*/ 2998908 h 6062148"/>
              <a:gd name="connsiteX34" fmla="*/ 460764 w 4522224"/>
              <a:gd name="connsiteY34" fmla="*/ 2930328 h 6062148"/>
              <a:gd name="connsiteX35" fmla="*/ 430284 w 4522224"/>
              <a:gd name="connsiteY35" fmla="*/ 2930328 h 6062148"/>
              <a:gd name="connsiteX36" fmla="*/ 384564 w 4522224"/>
              <a:gd name="connsiteY36" fmla="*/ 2930328 h 6062148"/>
              <a:gd name="connsiteX37" fmla="*/ 300744 w 4522224"/>
              <a:gd name="connsiteY37" fmla="*/ 2876988 h 6062148"/>
              <a:gd name="connsiteX38" fmla="*/ 315984 w 4522224"/>
              <a:gd name="connsiteY38" fmla="*/ 2846508 h 6062148"/>
              <a:gd name="connsiteX39" fmla="*/ 323604 w 4522224"/>
              <a:gd name="connsiteY39" fmla="*/ 2793168 h 6062148"/>
              <a:gd name="connsiteX40" fmla="*/ 308364 w 4522224"/>
              <a:gd name="connsiteY40" fmla="*/ 2732208 h 6062148"/>
              <a:gd name="connsiteX41" fmla="*/ 262644 w 4522224"/>
              <a:gd name="connsiteY41" fmla="*/ 2671248 h 6062148"/>
              <a:gd name="connsiteX42" fmla="*/ 171204 w 4522224"/>
              <a:gd name="connsiteY42" fmla="*/ 2656008 h 6062148"/>
              <a:gd name="connsiteX43" fmla="*/ 49284 w 4522224"/>
              <a:gd name="connsiteY43" fmla="*/ 2610288 h 6062148"/>
              <a:gd name="connsiteX44" fmla="*/ 18804 w 4522224"/>
              <a:gd name="connsiteY44" fmla="*/ 2556948 h 6062148"/>
              <a:gd name="connsiteX45" fmla="*/ 3564 w 4522224"/>
              <a:gd name="connsiteY45" fmla="*/ 2488368 h 6062148"/>
              <a:gd name="connsiteX46" fmla="*/ 87384 w 4522224"/>
              <a:gd name="connsiteY46" fmla="*/ 2335968 h 6062148"/>
              <a:gd name="connsiteX47" fmla="*/ 216924 w 4522224"/>
              <a:gd name="connsiteY47" fmla="*/ 2175948 h 6062148"/>
              <a:gd name="connsiteX48" fmla="*/ 277884 w 4522224"/>
              <a:gd name="connsiteY48" fmla="*/ 2084508 h 6062148"/>
              <a:gd name="connsiteX49" fmla="*/ 323604 w 4522224"/>
              <a:gd name="connsiteY49" fmla="*/ 1977828 h 6062148"/>
              <a:gd name="connsiteX50" fmla="*/ 354084 w 4522224"/>
              <a:gd name="connsiteY50" fmla="*/ 1871148 h 6062148"/>
              <a:gd name="connsiteX51" fmla="*/ 369324 w 4522224"/>
              <a:gd name="connsiteY51" fmla="*/ 1810188 h 6062148"/>
              <a:gd name="connsiteX52" fmla="*/ 338844 w 4522224"/>
              <a:gd name="connsiteY52" fmla="*/ 1756848 h 6062148"/>
              <a:gd name="connsiteX53" fmla="*/ 323604 w 4522224"/>
              <a:gd name="connsiteY53" fmla="*/ 1680648 h 6062148"/>
              <a:gd name="connsiteX54" fmla="*/ 407424 w 4522224"/>
              <a:gd name="connsiteY54" fmla="*/ 1474908 h 6062148"/>
              <a:gd name="connsiteX55" fmla="*/ 437904 w 4522224"/>
              <a:gd name="connsiteY55" fmla="*/ 1307268 h 6062148"/>
              <a:gd name="connsiteX56" fmla="*/ 460764 w 4522224"/>
              <a:gd name="connsiteY56" fmla="*/ 1192968 h 6062148"/>
              <a:gd name="connsiteX57" fmla="*/ 498864 w 4522224"/>
              <a:gd name="connsiteY57" fmla="*/ 1055808 h 6062148"/>
              <a:gd name="connsiteX58" fmla="*/ 552204 w 4522224"/>
              <a:gd name="connsiteY58" fmla="*/ 888168 h 6062148"/>
              <a:gd name="connsiteX59" fmla="*/ 498864 w 4522224"/>
              <a:gd name="connsiteY59" fmla="*/ 888168 h 6062148"/>
              <a:gd name="connsiteX60" fmla="*/ 407424 w 4522224"/>
              <a:gd name="connsiteY60" fmla="*/ 834828 h 6062148"/>
              <a:gd name="connsiteX61" fmla="*/ 323604 w 4522224"/>
              <a:gd name="connsiteY61" fmla="*/ 789108 h 6062148"/>
              <a:gd name="connsiteX62" fmla="*/ 255024 w 4522224"/>
              <a:gd name="connsiteY62" fmla="*/ 773868 h 6062148"/>
              <a:gd name="connsiteX63" fmla="*/ 209304 w 4522224"/>
              <a:gd name="connsiteY63" fmla="*/ 751008 h 6062148"/>
              <a:gd name="connsiteX64" fmla="*/ 255024 w 4522224"/>
              <a:gd name="connsiteY64" fmla="*/ 674808 h 6062148"/>
              <a:gd name="connsiteX65" fmla="*/ 369324 w 4522224"/>
              <a:gd name="connsiteY65" fmla="*/ 606228 h 6062148"/>
              <a:gd name="connsiteX66" fmla="*/ 552204 w 4522224"/>
              <a:gd name="connsiteY66" fmla="*/ 507168 h 6062148"/>
              <a:gd name="connsiteX67" fmla="*/ 651264 w 4522224"/>
              <a:gd name="connsiteY67" fmla="*/ 423348 h 6062148"/>
              <a:gd name="connsiteX68" fmla="*/ 887484 w 4522224"/>
              <a:gd name="connsiteY68" fmla="*/ 232848 h 6062148"/>
              <a:gd name="connsiteX69" fmla="*/ 1169424 w 4522224"/>
              <a:gd name="connsiteY69" fmla="*/ 80448 h 6062148"/>
              <a:gd name="connsiteX70" fmla="*/ 1588524 w 4522224"/>
              <a:gd name="connsiteY70" fmla="*/ 11868 h 6062148"/>
              <a:gd name="connsiteX71" fmla="*/ 1939044 w 4522224"/>
              <a:gd name="connsiteY71" fmla="*/ 4248 h 6062148"/>
              <a:gd name="connsiteX72" fmla="*/ 2167644 w 4522224"/>
              <a:gd name="connsiteY72" fmla="*/ 4248 h 6062148"/>
              <a:gd name="connsiteX73" fmla="*/ 2388624 w 4522224"/>
              <a:gd name="connsiteY73" fmla="*/ 57588 h 6062148"/>
              <a:gd name="connsiteX74" fmla="*/ 2662944 w 4522224"/>
              <a:gd name="connsiteY74" fmla="*/ 133788 h 6062148"/>
              <a:gd name="connsiteX75" fmla="*/ 2815344 w 4522224"/>
              <a:gd name="connsiteY75" fmla="*/ 202368 h 6062148"/>
              <a:gd name="connsiteX76" fmla="*/ 3097284 w 4522224"/>
              <a:gd name="connsiteY76" fmla="*/ 400488 h 6062148"/>
              <a:gd name="connsiteX77" fmla="*/ 3280164 w 4522224"/>
              <a:gd name="connsiteY77" fmla="*/ 651948 h 6062148"/>
              <a:gd name="connsiteX78" fmla="*/ 3402084 w 4522224"/>
              <a:gd name="connsiteY78" fmla="*/ 918648 h 6062148"/>
              <a:gd name="connsiteX79" fmla="*/ 3470664 w 4522224"/>
              <a:gd name="connsiteY79" fmla="*/ 1238688 h 6062148"/>
              <a:gd name="connsiteX80" fmla="*/ 3501144 w 4522224"/>
              <a:gd name="connsiteY80" fmla="*/ 1543488 h 6062148"/>
              <a:gd name="connsiteX81" fmla="*/ 3501144 w 4522224"/>
              <a:gd name="connsiteY81" fmla="*/ 1962588 h 6062148"/>
              <a:gd name="connsiteX82" fmla="*/ 3333504 w 4522224"/>
              <a:gd name="connsiteY82" fmla="*/ 2305488 h 6062148"/>
              <a:gd name="connsiteX83" fmla="*/ 3249684 w 4522224"/>
              <a:gd name="connsiteY83" fmla="*/ 2473128 h 6062148"/>
              <a:gd name="connsiteX84" fmla="*/ 3127764 w 4522224"/>
              <a:gd name="connsiteY84" fmla="*/ 2663628 h 6062148"/>
              <a:gd name="connsiteX85" fmla="*/ 3066804 w 4522224"/>
              <a:gd name="connsiteY85" fmla="*/ 2838888 h 6062148"/>
              <a:gd name="connsiteX86" fmla="*/ 3059184 w 4522224"/>
              <a:gd name="connsiteY86" fmla="*/ 2915088 h 6062148"/>
              <a:gd name="connsiteX87" fmla="*/ 3013464 w 4522224"/>
              <a:gd name="connsiteY87" fmla="*/ 3014148 h 6062148"/>
              <a:gd name="connsiteX88" fmla="*/ 2975364 w 4522224"/>
              <a:gd name="connsiteY88" fmla="*/ 3082728 h 6062148"/>
              <a:gd name="connsiteX89" fmla="*/ 2952504 w 4522224"/>
              <a:gd name="connsiteY89" fmla="*/ 3120828 h 6062148"/>
              <a:gd name="connsiteX90" fmla="*/ 2952504 w 4522224"/>
              <a:gd name="connsiteY90" fmla="*/ 3555168 h 6062148"/>
              <a:gd name="connsiteX91" fmla="*/ 2952504 w 4522224"/>
              <a:gd name="connsiteY91" fmla="*/ 3562788 h 6062148"/>
              <a:gd name="connsiteX92" fmla="*/ 3005844 w 4522224"/>
              <a:gd name="connsiteY92" fmla="*/ 3539928 h 6062148"/>
              <a:gd name="connsiteX93" fmla="*/ 3059184 w 4522224"/>
              <a:gd name="connsiteY93" fmla="*/ 3562788 h 6062148"/>
              <a:gd name="connsiteX94" fmla="*/ 3104904 w 4522224"/>
              <a:gd name="connsiteY94" fmla="*/ 3570408 h 6062148"/>
              <a:gd name="connsiteX95" fmla="*/ 3135384 w 4522224"/>
              <a:gd name="connsiteY95" fmla="*/ 3631368 h 6062148"/>
              <a:gd name="connsiteX96" fmla="*/ 3112524 w 4522224"/>
              <a:gd name="connsiteY96" fmla="*/ 3738048 h 6062148"/>
              <a:gd name="connsiteX97" fmla="*/ 3120144 w 4522224"/>
              <a:gd name="connsiteY97" fmla="*/ 4103808 h 6062148"/>
              <a:gd name="connsiteX98" fmla="*/ 3112524 w 4522224"/>
              <a:gd name="connsiteY98" fmla="*/ 4119048 h 6062148"/>
              <a:gd name="connsiteX99" fmla="*/ 3158244 w 4522224"/>
              <a:gd name="connsiteY99" fmla="*/ 4157148 h 6062148"/>
              <a:gd name="connsiteX100" fmla="*/ 3196344 w 4522224"/>
              <a:gd name="connsiteY100" fmla="*/ 4164768 h 6062148"/>
              <a:gd name="connsiteX101" fmla="*/ 3226824 w 4522224"/>
              <a:gd name="connsiteY101" fmla="*/ 4172388 h 6062148"/>
              <a:gd name="connsiteX102" fmla="*/ 3280164 w 4522224"/>
              <a:gd name="connsiteY102" fmla="*/ 4294308 h 6062148"/>
              <a:gd name="connsiteX103" fmla="*/ 3295404 w 4522224"/>
              <a:gd name="connsiteY103" fmla="*/ 4347648 h 6062148"/>
              <a:gd name="connsiteX104" fmla="*/ 3325884 w 4522224"/>
              <a:gd name="connsiteY104" fmla="*/ 4408608 h 6062148"/>
              <a:gd name="connsiteX105" fmla="*/ 3546864 w 4522224"/>
              <a:gd name="connsiteY105" fmla="*/ 4644828 h 6062148"/>
              <a:gd name="connsiteX106" fmla="*/ 3882144 w 4522224"/>
              <a:gd name="connsiteY106" fmla="*/ 5025828 h 6062148"/>
              <a:gd name="connsiteX107" fmla="*/ 4095504 w 4522224"/>
              <a:gd name="connsiteY107" fmla="*/ 5300148 h 6062148"/>
              <a:gd name="connsiteX108" fmla="*/ 4362204 w 4522224"/>
              <a:gd name="connsiteY108" fmla="*/ 5726868 h 6062148"/>
              <a:gd name="connsiteX109" fmla="*/ 4522224 w 4522224"/>
              <a:gd name="connsiteY109" fmla="*/ 6046908 h 6062148"/>
              <a:gd name="connsiteX0" fmla="*/ 323604 w 4522224"/>
              <a:gd name="connsiteY0" fmla="*/ 6062148 h 6062148"/>
              <a:gd name="connsiteX1" fmla="*/ 376944 w 4522224"/>
              <a:gd name="connsiteY1" fmla="*/ 5924988 h 6062148"/>
              <a:gd name="connsiteX2" fmla="*/ 437904 w 4522224"/>
              <a:gd name="connsiteY2" fmla="*/ 5780208 h 6062148"/>
              <a:gd name="connsiteX3" fmla="*/ 468384 w 4522224"/>
              <a:gd name="connsiteY3" fmla="*/ 5665908 h 6062148"/>
              <a:gd name="connsiteX4" fmla="*/ 506484 w 4522224"/>
              <a:gd name="connsiteY4" fmla="*/ 5612568 h 6062148"/>
              <a:gd name="connsiteX5" fmla="*/ 536964 w 4522224"/>
              <a:gd name="connsiteY5" fmla="*/ 5521128 h 6062148"/>
              <a:gd name="connsiteX6" fmla="*/ 559824 w 4522224"/>
              <a:gd name="connsiteY6" fmla="*/ 5353488 h 6062148"/>
              <a:gd name="connsiteX7" fmla="*/ 597924 w 4522224"/>
              <a:gd name="connsiteY7" fmla="*/ 5223948 h 6062148"/>
              <a:gd name="connsiteX8" fmla="*/ 620784 w 4522224"/>
              <a:gd name="connsiteY8" fmla="*/ 5178228 h 6062148"/>
              <a:gd name="connsiteX9" fmla="*/ 696984 w 4522224"/>
              <a:gd name="connsiteY9" fmla="*/ 5071548 h 6062148"/>
              <a:gd name="connsiteX10" fmla="*/ 712224 w 4522224"/>
              <a:gd name="connsiteY10" fmla="*/ 5063928 h 6062148"/>
              <a:gd name="connsiteX11" fmla="*/ 704604 w 4522224"/>
              <a:gd name="connsiteY11" fmla="*/ 5025828 h 6062148"/>
              <a:gd name="connsiteX12" fmla="*/ 696984 w 4522224"/>
              <a:gd name="connsiteY12" fmla="*/ 5002968 h 6062148"/>
              <a:gd name="connsiteX13" fmla="*/ 963684 w 4522224"/>
              <a:gd name="connsiteY13" fmla="*/ 4682928 h 6062148"/>
              <a:gd name="connsiteX14" fmla="*/ 956064 w 4522224"/>
              <a:gd name="connsiteY14" fmla="*/ 4644828 h 6062148"/>
              <a:gd name="connsiteX15" fmla="*/ 1337064 w 4522224"/>
              <a:gd name="connsiteY15" fmla="*/ 4172388 h 6062148"/>
              <a:gd name="connsiteX16" fmla="*/ 1253244 w 4522224"/>
              <a:gd name="connsiteY16" fmla="*/ 4012368 h 6062148"/>
              <a:gd name="connsiteX17" fmla="*/ 1199904 w 4522224"/>
              <a:gd name="connsiteY17" fmla="*/ 3928548 h 6062148"/>
              <a:gd name="connsiteX18" fmla="*/ 1169424 w 4522224"/>
              <a:gd name="connsiteY18" fmla="*/ 3768528 h 6062148"/>
              <a:gd name="connsiteX19" fmla="*/ 1146564 w 4522224"/>
              <a:gd name="connsiteY19" fmla="*/ 3699948 h 6062148"/>
              <a:gd name="connsiteX20" fmla="*/ 1138944 w 4522224"/>
              <a:gd name="connsiteY20" fmla="*/ 3669468 h 6062148"/>
              <a:gd name="connsiteX21" fmla="*/ 1062744 w 4522224"/>
              <a:gd name="connsiteY21" fmla="*/ 3661848 h 6062148"/>
              <a:gd name="connsiteX22" fmla="*/ 933204 w 4522224"/>
              <a:gd name="connsiteY22" fmla="*/ 3669468 h 6062148"/>
              <a:gd name="connsiteX23" fmla="*/ 826524 w 4522224"/>
              <a:gd name="connsiteY23" fmla="*/ 3692328 h 6062148"/>
              <a:gd name="connsiteX24" fmla="*/ 605544 w 4522224"/>
              <a:gd name="connsiteY24" fmla="*/ 3738048 h 6062148"/>
              <a:gd name="connsiteX25" fmla="*/ 384564 w 4522224"/>
              <a:gd name="connsiteY25" fmla="*/ 3638988 h 6062148"/>
              <a:gd name="connsiteX26" fmla="*/ 376944 w 4522224"/>
              <a:gd name="connsiteY26" fmla="*/ 3326568 h 6062148"/>
              <a:gd name="connsiteX27" fmla="*/ 415044 w 4522224"/>
              <a:gd name="connsiteY27" fmla="*/ 3250368 h 6062148"/>
              <a:gd name="connsiteX28" fmla="*/ 415044 w 4522224"/>
              <a:gd name="connsiteY28" fmla="*/ 3227508 h 6062148"/>
              <a:gd name="connsiteX29" fmla="*/ 384564 w 4522224"/>
              <a:gd name="connsiteY29" fmla="*/ 3166548 h 6062148"/>
              <a:gd name="connsiteX30" fmla="*/ 361704 w 4522224"/>
              <a:gd name="connsiteY30" fmla="*/ 3166548 h 6062148"/>
              <a:gd name="connsiteX31" fmla="*/ 346464 w 4522224"/>
              <a:gd name="connsiteY31" fmla="*/ 3105588 h 6062148"/>
              <a:gd name="connsiteX32" fmla="*/ 392184 w 4522224"/>
              <a:gd name="connsiteY32" fmla="*/ 3021768 h 6062148"/>
              <a:gd name="connsiteX33" fmla="*/ 483624 w 4522224"/>
              <a:gd name="connsiteY33" fmla="*/ 2998908 h 6062148"/>
              <a:gd name="connsiteX34" fmla="*/ 460764 w 4522224"/>
              <a:gd name="connsiteY34" fmla="*/ 2930328 h 6062148"/>
              <a:gd name="connsiteX35" fmla="*/ 430284 w 4522224"/>
              <a:gd name="connsiteY35" fmla="*/ 2930328 h 6062148"/>
              <a:gd name="connsiteX36" fmla="*/ 384564 w 4522224"/>
              <a:gd name="connsiteY36" fmla="*/ 2930328 h 6062148"/>
              <a:gd name="connsiteX37" fmla="*/ 300744 w 4522224"/>
              <a:gd name="connsiteY37" fmla="*/ 2876988 h 6062148"/>
              <a:gd name="connsiteX38" fmla="*/ 315984 w 4522224"/>
              <a:gd name="connsiteY38" fmla="*/ 2846508 h 6062148"/>
              <a:gd name="connsiteX39" fmla="*/ 323604 w 4522224"/>
              <a:gd name="connsiteY39" fmla="*/ 2793168 h 6062148"/>
              <a:gd name="connsiteX40" fmla="*/ 308364 w 4522224"/>
              <a:gd name="connsiteY40" fmla="*/ 2732208 h 6062148"/>
              <a:gd name="connsiteX41" fmla="*/ 262644 w 4522224"/>
              <a:gd name="connsiteY41" fmla="*/ 2671248 h 6062148"/>
              <a:gd name="connsiteX42" fmla="*/ 171204 w 4522224"/>
              <a:gd name="connsiteY42" fmla="*/ 2656008 h 6062148"/>
              <a:gd name="connsiteX43" fmla="*/ 49284 w 4522224"/>
              <a:gd name="connsiteY43" fmla="*/ 2610288 h 6062148"/>
              <a:gd name="connsiteX44" fmla="*/ 18804 w 4522224"/>
              <a:gd name="connsiteY44" fmla="*/ 2556948 h 6062148"/>
              <a:gd name="connsiteX45" fmla="*/ 3564 w 4522224"/>
              <a:gd name="connsiteY45" fmla="*/ 2488368 h 6062148"/>
              <a:gd name="connsiteX46" fmla="*/ 87384 w 4522224"/>
              <a:gd name="connsiteY46" fmla="*/ 2335968 h 6062148"/>
              <a:gd name="connsiteX47" fmla="*/ 216924 w 4522224"/>
              <a:gd name="connsiteY47" fmla="*/ 2175948 h 6062148"/>
              <a:gd name="connsiteX48" fmla="*/ 277884 w 4522224"/>
              <a:gd name="connsiteY48" fmla="*/ 2084508 h 6062148"/>
              <a:gd name="connsiteX49" fmla="*/ 323604 w 4522224"/>
              <a:gd name="connsiteY49" fmla="*/ 1977828 h 6062148"/>
              <a:gd name="connsiteX50" fmla="*/ 354084 w 4522224"/>
              <a:gd name="connsiteY50" fmla="*/ 1871148 h 6062148"/>
              <a:gd name="connsiteX51" fmla="*/ 369324 w 4522224"/>
              <a:gd name="connsiteY51" fmla="*/ 1810188 h 6062148"/>
              <a:gd name="connsiteX52" fmla="*/ 338844 w 4522224"/>
              <a:gd name="connsiteY52" fmla="*/ 1756848 h 6062148"/>
              <a:gd name="connsiteX53" fmla="*/ 323604 w 4522224"/>
              <a:gd name="connsiteY53" fmla="*/ 1680648 h 6062148"/>
              <a:gd name="connsiteX54" fmla="*/ 407424 w 4522224"/>
              <a:gd name="connsiteY54" fmla="*/ 1474908 h 6062148"/>
              <a:gd name="connsiteX55" fmla="*/ 437904 w 4522224"/>
              <a:gd name="connsiteY55" fmla="*/ 1307268 h 6062148"/>
              <a:gd name="connsiteX56" fmla="*/ 460764 w 4522224"/>
              <a:gd name="connsiteY56" fmla="*/ 1192968 h 6062148"/>
              <a:gd name="connsiteX57" fmla="*/ 498864 w 4522224"/>
              <a:gd name="connsiteY57" fmla="*/ 1055808 h 6062148"/>
              <a:gd name="connsiteX58" fmla="*/ 552204 w 4522224"/>
              <a:gd name="connsiteY58" fmla="*/ 888168 h 6062148"/>
              <a:gd name="connsiteX59" fmla="*/ 498864 w 4522224"/>
              <a:gd name="connsiteY59" fmla="*/ 888168 h 6062148"/>
              <a:gd name="connsiteX60" fmla="*/ 407424 w 4522224"/>
              <a:gd name="connsiteY60" fmla="*/ 834828 h 6062148"/>
              <a:gd name="connsiteX61" fmla="*/ 323604 w 4522224"/>
              <a:gd name="connsiteY61" fmla="*/ 789108 h 6062148"/>
              <a:gd name="connsiteX62" fmla="*/ 255024 w 4522224"/>
              <a:gd name="connsiteY62" fmla="*/ 773868 h 6062148"/>
              <a:gd name="connsiteX63" fmla="*/ 209304 w 4522224"/>
              <a:gd name="connsiteY63" fmla="*/ 751008 h 6062148"/>
              <a:gd name="connsiteX64" fmla="*/ 255024 w 4522224"/>
              <a:gd name="connsiteY64" fmla="*/ 674808 h 6062148"/>
              <a:gd name="connsiteX65" fmla="*/ 369324 w 4522224"/>
              <a:gd name="connsiteY65" fmla="*/ 606228 h 6062148"/>
              <a:gd name="connsiteX66" fmla="*/ 552204 w 4522224"/>
              <a:gd name="connsiteY66" fmla="*/ 507168 h 6062148"/>
              <a:gd name="connsiteX67" fmla="*/ 651264 w 4522224"/>
              <a:gd name="connsiteY67" fmla="*/ 423348 h 6062148"/>
              <a:gd name="connsiteX68" fmla="*/ 887484 w 4522224"/>
              <a:gd name="connsiteY68" fmla="*/ 232848 h 6062148"/>
              <a:gd name="connsiteX69" fmla="*/ 1169424 w 4522224"/>
              <a:gd name="connsiteY69" fmla="*/ 80448 h 6062148"/>
              <a:gd name="connsiteX70" fmla="*/ 1588524 w 4522224"/>
              <a:gd name="connsiteY70" fmla="*/ 11868 h 6062148"/>
              <a:gd name="connsiteX71" fmla="*/ 1939044 w 4522224"/>
              <a:gd name="connsiteY71" fmla="*/ 4248 h 6062148"/>
              <a:gd name="connsiteX72" fmla="*/ 2167644 w 4522224"/>
              <a:gd name="connsiteY72" fmla="*/ 4248 h 6062148"/>
              <a:gd name="connsiteX73" fmla="*/ 2388624 w 4522224"/>
              <a:gd name="connsiteY73" fmla="*/ 57588 h 6062148"/>
              <a:gd name="connsiteX74" fmla="*/ 2662944 w 4522224"/>
              <a:gd name="connsiteY74" fmla="*/ 133788 h 6062148"/>
              <a:gd name="connsiteX75" fmla="*/ 2815344 w 4522224"/>
              <a:gd name="connsiteY75" fmla="*/ 202368 h 6062148"/>
              <a:gd name="connsiteX76" fmla="*/ 3097284 w 4522224"/>
              <a:gd name="connsiteY76" fmla="*/ 400488 h 6062148"/>
              <a:gd name="connsiteX77" fmla="*/ 3280164 w 4522224"/>
              <a:gd name="connsiteY77" fmla="*/ 651948 h 6062148"/>
              <a:gd name="connsiteX78" fmla="*/ 3402084 w 4522224"/>
              <a:gd name="connsiteY78" fmla="*/ 918648 h 6062148"/>
              <a:gd name="connsiteX79" fmla="*/ 3470664 w 4522224"/>
              <a:gd name="connsiteY79" fmla="*/ 1238688 h 6062148"/>
              <a:gd name="connsiteX80" fmla="*/ 3501144 w 4522224"/>
              <a:gd name="connsiteY80" fmla="*/ 1543488 h 6062148"/>
              <a:gd name="connsiteX81" fmla="*/ 3501144 w 4522224"/>
              <a:gd name="connsiteY81" fmla="*/ 1962588 h 6062148"/>
              <a:gd name="connsiteX82" fmla="*/ 3333504 w 4522224"/>
              <a:gd name="connsiteY82" fmla="*/ 2305488 h 6062148"/>
              <a:gd name="connsiteX83" fmla="*/ 3249684 w 4522224"/>
              <a:gd name="connsiteY83" fmla="*/ 2473128 h 6062148"/>
              <a:gd name="connsiteX84" fmla="*/ 3127764 w 4522224"/>
              <a:gd name="connsiteY84" fmla="*/ 2663628 h 6062148"/>
              <a:gd name="connsiteX85" fmla="*/ 3066804 w 4522224"/>
              <a:gd name="connsiteY85" fmla="*/ 2838888 h 6062148"/>
              <a:gd name="connsiteX86" fmla="*/ 3059184 w 4522224"/>
              <a:gd name="connsiteY86" fmla="*/ 2915088 h 6062148"/>
              <a:gd name="connsiteX87" fmla="*/ 3013464 w 4522224"/>
              <a:gd name="connsiteY87" fmla="*/ 3014148 h 6062148"/>
              <a:gd name="connsiteX88" fmla="*/ 2975364 w 4522224"/>
              <a:gd name="connsiteY88" fmla="*/ 3082728 h 6062148"/>
              <a:gd name="connsiteX89" fmla="*/ 2952504 w 4522224"/>
              <a:gd name="connsiteY89" fmla="*/ 3120828 h 6062148"/>
              <a:gd name="connsiteX90" fmla="*/ 2952504 w 4522224"/>
              <a:gd name="connsiteY90" fmla="*/ 3555168 h 6062148"/>
              <a:gd name="connsiteX91" fmla="*/ 2952504 w 4522224"/>
              <a:gd name="connsiteY91" fmla="*/ 3562788 h 6062148"/>
              <a:gd name="connsiteX92" fmla="*/ 3005844 w 4522224"/>
              <a:gd name="connsiteY92" fmla="*/ 3539928 h 6062148"/>
              <a:gd name="connsiteX93" fmla="*/ 3059184 w 4522224"/>
              <a:gd name="connsiteY93" fmla="*/ 3562788 h 6062148"/>
              <a:gd name="connsiteX94" fmla="*/ 3104904 w 4522224"/>
              <a:gd name="connsiteY94" fmla="*/ 3570408 h 6062148"/>
              <a:gd name="connsiteX95" fmla="*/ 3135384 w 4522224"/>
              <a:gd name="connsiteY95" fmla="*/ 3631368 h 6062148"/>
              <a:gd name="connsiteX96" fmla="*/ 3112524 w 4522224"/>
              <a:gd name="connsiteY96" fmla="*/ 3738048 h 6062148"/>
              <a:gd name="connsiteX97" fmla="*/ 3120144 w 4522224"/>
              <a:gd name="connsiteY97" fmla="*/ 4103808 h 6062148"/>
              <a:gd name="connsiteX98" fmla="*/ 3112524 w 4522224"/>
              <a:gd name="connsiteY98" fmla="*/ 4119048 h 6062148"/>
              <a:gd name="connsiteX99" fmla="*/ 3158244 w 4522224"/>
              <a:gd name="connsiteY99" fmla="*/ 4157148 h 6062148"/>
              <a:gd name="connsiteX100" fmla="*/ 3196344 w 4522224"/>
              <a:gd name="connsiteY100" fmla="*/ 4164768 h 6062148"/>
              <a:gd name="connsiteX101" fmla="*/ 3226824 w 4522224"/>
              <a:gd name="connsiteY101" fmla="*/ 4172388 h 6062148"/>
              <a:gd name="connsiteX102" fmla="*/ 3280164 w 4522224"/>
              <a:gd name="connsiteY102" fmla="*/ 4294308 h 6062148"/>
              <a:gd name="connsiteX103" fmla="*/ 3295404 w 4522224"/>
              <a:gd name="connsiteY103" fmla="*/ 4347648 h 6062148"/>
              <a:gd name="connsiteX104" fmla="*/ 3325884 w 4522224"/>
              <a:gd name="connsiteY104" fmla="*/ 4408608 h 6062148"/>
              <a:gd name="connsiteX105" fmla="*/ 3546864 w 4522224"/>
              <a:gd name="connsiteY105" fmla="*/ 4644828 h 6062148"/>
              <a:gd name="connsiteX106" fmla="*/ 3882144 w 4522224"/>
              <a:gd name="connsiteY106" fmla="*/ 5025828 h 6062148"/>
              <a:gd name="connsiteX107" fmla="*/ 4095504 w 4522224"/>
              <a:gd name="connsiteY107" fmla="*/ 5300148 h 6062148"/>
              <a:gd name="connsiteX108" fmla="*/ 4362204 w 4522224"/>
              <a:gd name="connsiteY108" fmla="*/ 5726868 h 6062148"/>
              <a:gd name="connsiteX109" fmla="*/ 4522224 w 4522224"/>
              <a:gd name="connsiteY109" fmla="*/ 6046908 h 6062148"/>
              <a:gd name="connsiteX0" fmla="*/ 323604 w 4522224"/>
              <a:gd name="connsiteY0" fmla="*/ 6062148 h 6062148"/>
              <a:gd name="connsiteX1" fmla="*/ 376944 w 4522224"/>
              <a:gd name="connsiteY1" fmla="*/ 5924988 h 6062148"/>
              <a:gd name="connsiteX2" fmla="*/ 437904 w 4522224"/>
              <a:gd name="connsiteY2" fmla="*/ 5780208 h 6062148"/>
              <a:gd name="connsiteX3" fmla="*/ 468384 w 4522224"/>
              <a:gd name="connsiteY3" fmla="*/ 5665908 h 6062148"/>
              <a:gd name="connsiteX4" fmla="*/ 506484 w 4522224"/>
              <a:gd name="connsiteY4" fmla="*/ 5612568 h 6062148"/>
              <a:gd name="connsiteX5" fmla="*/ 536964 w 4522224"/>
              <a:gd name="connsiteY5" fmla="*/ 5521128 h 6062148"/>
              <a:gd name="connsiteX6" fmla="*/ 559824 w 4522224"/>
              <a:gd name="connsiteY6" fmla="*/ 5353488 h 6062148"/>
              <a:gd name="connsiteX7" fmla="*/ 597924 w 4522224"/>
              <a:gd name="connsiteY7" fmla="*/ 5223948 h 6062148"/>
              <a:gd name="connsiteX8" fmla="*/ 620784 w 4522224"/>
              <a:gd name="connsiteY8" fmla="*/ 5178228 h 6062148"/>
              <a:gd name="connsiteX9" fmla="*/ 696984 w 4522224"/>
              <a:gd name="connsiteY9" fmla="*/ 5071548 h 6062148"/>
              <a:gd name="connsiteX10" fmla="*/ 712224 w 4522224"/>
              <a:gd name="connsiteY10" fmla="*/ 5063928 h 6062148"/>
              <a:gd name="connsiteX11" fmla="*/ 704604 w 4522224"/>
              <a:gd name="connsiteY11" fmla="*/ 5025828 h 6062148"/>
              <a:gd name="connsiteX12" fmla="*/ 696984 w 4522224"/>
              <a:gd name="connsiteY12" fmla="*/ 5002968 h 6062148"/>
              <a:gd name="connsiteX13" fmla="*/ 963684 w 4522224"/>
              <a:gd name="connsiteY13" fmla="*/ 4682928 h 6062148"/>
              <a:gd name="connsiteX14" fmla="*/ 956064 w 4522224"/>
              <a:gd name="connsiteY14" fmla="*/ 4644828 h 6062148"/>
              <a:gd name="connsiteX15" fmla="*/ 1337064 w 4522224"/>
              <a:gd name="connsiteY15" fmla="*/ 4172388 h 6062148"/>
              <a:gd name="connsiteX16" fmla="*/ 1253244 w 4522224"/>
              <a:gd name="connsiteY16" fmla="*/ 4012368 h 6062148"/>
              <a:gd name="connsiteX17" fmla="*/ 1199904 w 4522224"/>
              <a:gd name="connsiteY17" fmla="*/ 3928548 h 6062148"/>
              <a:gd name="connsiteX18" fmla="*/ 1169424 w 4522224"/>
              <a:gd name="connsiteY18" fmla="*/ 3768528 h 6062148"/>
              <a:gd name="connsiteX19" fmla="*/ 1146564 w 4522224"/>
              <a:gd name="connsiteY19" fmla="*/ 3699948 h 6062148"/>
              <a:gd name="connsiteX20" fmla="*/ 1138944 w 4522224"/>
              <a:gd name="connsiteY20" fmla="*/ 3669468 h 6062148"/>
              <a:gd name="connsiteX21" fmla="*/ 1062744 w 4522224"/>
              <a:gd name="connsiteY21" fmla="*/ 3661848 h 6062148"/>
              <a:gd name="connsiteX22" fmla="*/ 933204 w 4522224"/>
              <a:gd name="connsiteY22" fmla="*/ 3669468 h 6062148"/>
              <a:gd name="connsiteX23" fmla="*/ 826524 w 4522224"/>
              <a:gd name="connsiteY23" fmla="*/ 3692328 h 6062148"/>
              <a:gd name="connsiteX24" fmla="*/ 605544 w 4522224"/>
              <a:gd name="connsiteY24" fmla="*/ 3738048 h 6062148"/>
              <a:gd name="connsiteX25" fmla="*/ 384564 w 4522224"/>
              <a:gd name="connsiteY25" fmla="*/ 3638988 h 6062148"/>
              <a:gd name="connsiteX26" fmla="*/ 376944 w 4522224"/>
              <a:gd name="connsiteY26" fmla="*/ 3326568 h 6062148"/>
              <a:gd name="connsiteX27" fmla="*/ 415044 w 4522224"/>
              <a:gd name="connsiteY27" fmla="*/ 3227508 h 6062148"/>
              <a:gd name="connsiteX28" fmla="*/ 384564 w 4522224"/>
              <a:gd name="connsiteY28" fmla="*/ 3166548 h 6062148"/>
              <a:gd name="connsiteX29" fmla="*/ 361704 w 4522224"/>
              <a:gd name="connsiteY29" fmla="*/ 3166548 h 6062148"/>
              <a:gd name="connsiteX30" fmla="*/ 346464 w 4522224"/>
              <a:gd name="connsiteY30" fmla="*/ 3105588 h 6062148"/>
              <a:gd name="connsiteX31" fmla="*/ 392184 w 4522224"/>
              <a:gd name="connsiteY31" fmla="*/ 3021768 h 6062148"/>
              <a:gd name="connsiteX32" fmla="*/ 483624 w 4522224"/>
              <a:gd name="connsiteY32" fmla="*/ 2998908 h 6062148"/>
              <a:gd name="connsiteX33" fmla="*/ 460764 w 4522224"/>
              <a:gd name="connsiteY33" fmla="*/ 2930328 h 6062148"/>
              <a:gd name="connsiteX34" fmla="*/ 430284 w 4522224"/>
              <a:gd name="connsiteY34" fmla="*/ 2930328 h 6062148"/>
              <a:gd name="connsiteX35" fmla="*/ 384564 w 4522224"/>
              <a:gd name="connsiteY35" fmla="*/ 2930328 h 6062148"/>
              <a:gd name="connsiteX36" fmla="*/ 300744 w 4522224"/>
              <a:gd name="connsiteY36" fmla="*/ 2876988 h 6062148"/>
              <a:gd name="connsiteX37" fmla="*/ 315984 w 4522224"/>
              <a:gd name="connsiteY37" fmla="*/ 2846508 h 6062148"/>
              <a:gd name="connsiteX38" fmla="*/ 323604 w 4522224"/>
              <a:gd name="connsiteY38" fmla="*/ 2793168 h 6062148"/>
              <a:gd name="connsiteX39" fmla="*/ 308364 w 4522224"/>
              <a:gd name="connsiteY39" fmla="*/ 2732208 h 6062148"/>
              <a:gd name="connsiteX40" fmla="*/ 262644 w 4522224"/>
              <a:gd name="connsiteY40" fmla="*/ 2671248 h 6062148"/>
              <a:gd name="connsiteX41" fmla="*/ 171204 w 4522224"/>
              <a:gd name="connsiteY41" fmla="*/ 2656008 h 6062148"/>
              <a:gd name="connsiteX42" fmla="*/ 49284 w 4522224"/>
              <a:gd name="connsiteY42" fmla="*/ 2610288 h 6062148"/>
              <a:gd name="connsiteX43" fmla="*/ 18804 w 4522224"/>
              <a:gd name="connsiteY43" fmla="*/ 2556948 h 6062148"/>
              <a:gd name="connsiteX44" fmla="*/ 3564 w 4522224"/>
              <a:gd name="connsiteY44" fmla="*/ 2488368 h 6062148"/>
              <a:gd name="connsiteX45" fmla="*/ 87384 w 4522224"/>
              <a:gd name="connsiteY45" fmla="*/ 2335968 h 6062148"/>
              <a:gd name="connsiteX46" fmla="*/ 216924 w 4522224"/>
              <a:gd name="connsiteY46" fmla="*/ 2175948 h 6062148"/>
              <a:gd name="connsiteX47" fmla="*/ 277884 w 4522224"/>
              <a:gd name="connsiteY47" fmla="*/ 2084508 h 6062148"/>
              <a:gd name="connsiteX48" fmla="*/ 323604 w 4522224"/>
              <a:gd name="connsiteY48" fmla="*/ 1977828 h 6062148"/>
              <a:gd name="connsiteX49" fmla="*/ 354084 w 4522224"/>
              <a:gd name="connsiteY49" fmla="*/ 1871148 h 6062148"/>
              <a:gd name="connsiteX50" fmla="*/ 369324 w 4522224"/>
              <a:gd name="connsiteY50" fmla="*/ 1810188 h 6062148"/>
              <a:gd name="connsiteX51" fmla="*/ 338844 w 4522224"/>
              <a:gd name="connsiteY51" fmla="*/ 1756848 h 6062148"/>
              <a:gd name="connsiteX52" fmla="*/ 323604 w 4522224"/>
              <a:gd name="connsiteY52" fmla="*/ 1680648 h 6062148"/>
              <a:gd name="connsiteX53" fmla="*/ 407424 w 4522224"/>
              <a:gd name="connsiteY53" fmla="*/ 1474908 h 6062148"/>
              <a:gd name="connsiteX54" fmla="*/ 437904 w 4522224"/>
              <a:gd name="connsiteY54" fmla="*/ 1307268 h 6062148"/>
              <a:gd name="connsiteX55" fmla="*/ 460764 w 4522224"/>
              <a:gd name="connsiteY55" fmla="*/ 1192968 h 6062148"/>
              <a:gd name="connsiteX56" fmla="*/ 498864 w 4522224"/>
              <a:gd name="connsiteY56" fmla="*/ 1055808 h 6062148"/>
              <a:gd name="connsiteX57" fmla="*/ 552204 w 4522224"/>
              <a:gd name="connsiteY57" fmla="*/ 888168 h 6062148"/>
              <a:gd name="connsiteX58" fmla="*/ 498864 w 4522224"/>
              <a:gd name="connsiteY58" fmla="*/ 888168 h 6062148"/>
              <a:gd name="connsiteX59" fmla="*/ 407424 w 4522224"/>
              <a:gd name="connsiteY59" fmla="*/ 834828 h 6062148"/>
              <a:gd name="connsiteX60" fmla="*/ 323604 w 4522224"/>
              <a:gd name="connsiteY60" fmla="*/ 789108 h 6062148"/>
              <a:gd name="connsiteX61" fmla="*/ 255024 w 4522224"/>
              <a:gd name="connsiteY61" fmla="*/ 773868 h 6062148"/>
              <a:gd name="connsiteX62" fmla="*/ 209304 w 4522224"/>
              <a:gd name="connsiteY62" fmla="*/ 751008 h 6062148"/>
              <a:gd name="connsiteX63" fmla="*/ 255024 w 4522224"/>
              <a:gd name="connsiteY63" fmla="*/ 674808 h 6062148"/>
              <a:gd name="connsiteX64" fmla="*/ 369324 w 4522224"/>
              <a:gd name="connsiteY64" fmla="*/ 606228 h 6062148"/>
              <a:gd name="connsiteX65" fmla="*/ 552204 w 4522224"/>
              <a:gd name="connsiteY65" fmla="*/ 507168 h 6062148"/>
              <a:gd name="connsiteX66" fmla="*/ 651264 w 4522224"/>
              <a:gd name="connsiteY66" fmla="*/ 423348 h 6062148"/>
              <a:gd name="connsiteX67" fmla="*/ 887484 w 4522224"/>
              <a:gd name="connsiteY67" fmla="*/ 232848 h 6062148"/>
              <a:gd name="connsiteX68" fmla="*/ 1169424 w 4522224"/>
              <a:gd name="connsiteY68" fmla="*/ 80448 h 6062148"/>
              <a:gd name="connsiteX69" fmla="*/ 1588524 w 4522224"/>
              <a:gd name="connsiteY69" fmla="*/ 11868 h 6062148"/>
              <a:gd name="connsiteX70" fmla="*/ 1939044 w 4522224"/>
              <a:gd name="connsiteY70" fmla="*/ 4248 h 6062148"/>
              <a:gd name="connsiteX71" fmla="*/ 2167644 w 4522224"/>
              <a:gd name="connsiteY71" fmla="*/ 4248 h 6062148"/>
              <a:gd name="connsiteX72" fmla="*/ 2388624 w 4522224"/>
              <a:gd name="connsiteY72" fmla="*/ 57588 h 6062148"/>
              <a:gd name="connsiteX73" fmla="*/ 2662944 w 4522224"/>
              <a:gd name="connsiteY73" fmla="*/ 133788 h 6062148"/>
              <a:gd name="connsiteX74" fmla="*/ 2815344 w 4522224"/>
              <a:gd name="connsiteY74" fmla="*/ 202368 h 6062148"/>
              <a:gd name="connsiteX75" fmla="*/ 3097284 w 4522224"/>
              <a:gd name="connsiteY75" fmla="*/ 400488 h 6062148"/>
              <a:gd name="connsiteX76" fmla="*/ 3280164 w 4522224"/>
              <a:gd name="connsiteY76" fmla="*/ 651948 h 6062148"/>
              <a:gd name="connsiteX77" fmla="*/ 3402084 w 4522224"/>
              <a:gd name="connsiteY77" fmla="*/ 918648 h 6062148"/>
              <a:gd name="connsiteX78" fmla="*/ 3470664 w 4522224"/>
              <a:gd name="connsiteY78" fmla="*/ 1238688 h 6062148"/>
              <a:gd name="connsiteX79" fmla="*/ 3501144 w 4522224"/>
              <a:gd name="connsiteY79" fmla="*/ 1543488 h 6062148"/>
              <a:gd name="connsiteX80" fmla="*/ 3501144 w 4522224"/>
              <a:gd name="connsiteY80" fmla="*/ 1962588 h 6062148"/>
              <a:gd name="connsiteX81" fmla="*/ 3333504 w 4522224"/>
              <a:gd name="connsiteY81" fmla="*/ 2305488 h 6062148"/>
              <a:gd name="connsiteX82" fmla="*/ 3249684 w 4522224"/>
              <a:gd name="connsiteY82" fmla="*/ 2473128 h 6062148"/>
              <a:gd name="connsiteX83" fmla="*/ 3127764 w 4522224"/>
              <a:gd name="connsiteY83" fmla="*/ 2663628 h 6062148"/>
              <a:gd name="connsiteX84" fmla="*/ 3066804 w 4522224"/>
              <a:gd name="connsiteY84" fmla="*/ 2838888 h 6062148"/>
              <a:gd name="connsiteX85" fmla="*/ 3059184 w 4522224"/>
              <a:gd name="connsiteY85" fmla="*/ 2915088 h 6062148"/>
              <a:gd name="connsiteX86" fmla="*/ 3013464 w 4522224"/>
              <a:gd name="connsiteY86" fmla="*/ 3014148 h 6062148"/>
              <a:gd name="connsiteX87" fmla="*/ 2975364 w 4522224"/>
              <a:gd name="connsiteY87" fmla="*/ 3082728 h 6062148"/>
              <a:gd name="connsiteX88" fmla="*/ 2952504 w 4522224"/>
              <a:gd name="connsiteY88" fmla="*/ 3120828 h 6062148"/>
              <a:gd name="connsiteX89" fmla="*/ 2952504 w 4522224"/>
              <a:gd name="connsiteY89" fmla="*/ 3555168 h 6062148"/>
              <a:gd name="connsiteX90" fmla="*/ 2952504 w 4522224"/>
              <a:gd name="connsiteY90" fmla="*/ 3562788 h 6062148"/>
              <a:gd name="connsiteX91" fmla="*/ 3005844 w 4522224"/>
              <a:gd name="connsiteY91" fmla="*/ 3539928 h 6062148"/>
              <a:gd name="connsiteX92" fmla="*/ 3059184 w 4522224"/>
              <a:gd name="connsiteY92" fmla="*/ 3562788 h 6062148"/>
              <a:gd name="connsiteX93" fmla="*/ 3104904 w 4522224"/>
              <a:gd name="connsiteY93" fmla="*/ 3570408 h 6062148"/>
              <a:gd name="connsiteX94" fmla="*/ 3135384 w 4522224"/>
              <a:gd name="connsiteY94" fmla="*/ 3631368 h 6062148"/>
              <a:gd name="connsiteX95" fmla="*/ 3112524 w 4522224"/>
              <a:gd name="connsiteY95" fmla="*/ 3738048 h 6062148"/>
              <a:gd name="connsiteX96" fmla="*/ 3120144 w 4522224"/>
              <a:gd name="connsiteY96" fmla="*/ 4103808 h 6062148"/>
              <a:gd name="connsiteX97" fmla="*/ 3112524 w 4522224"/>
              <a:gd name="connsiteY97" fmla="*/ 4119048 h 6062148"/>
              <a:gd name="connsiteX98" fmla="*/ 3158244 w 4522224"/>
              <a:gd name="connsiteY98" fmla="*/ 4157148 h 6062148"/>
              <a:gd name="connsiteX99" fmla="*/ 3196344 w 4522224"/>
              <a:gd name="connsiteY99" fmla="*/ 4164768 h 6062148"/>
              <a:gd name="connsiteX100" fmla="*/ 3226824 w 4522224"/>
              <a:gd name="connsiteY100" fmla="*/ 4172388 h 6062148"/>
              <a:gd name="connsiteX101" fmla="*/ 3280164 w 4522224"/>
              <a:gd name="connsiteY101" fmla="*/ 4294308 h 6062148"/>
              <a:gd name="connsiteX102" fmla="*/ 3295404 w 4522224"/>
              <a:gd name="connsiteY102" fmla="*/ 4347648 h 6062148"/>
              <a:gd name="connsiteX103" fmla="*/ 3325884 w 4522224"/>
              <a:gd name="connsiteY103" fmla="*/ 4408608 h 6062148"/>
              <a:gd name="connsiteX104" fmla="*/ 3546864 w 4522224"/>
              <a:gd name="connsiteY104" fmla="*/ 4644828 h 6062148"/>
              <a:gd name="connsiteX105" fmla="*/ 3882144 w 4522224"/>
              <a:gd name="connsiteY105" fmla="*/ 5025828 h 6062148"/>
              <a:gd name="connsiteX106" fmla="*/ 4095504 w 4522224"/>
              <a:gd name="connsiteY106" fmla="*/ 5300148 h 6062148"/>
              <a:gd name="connsiteX107" fmla="*/ 4362204 w 4522224"/>
              <a:gd name="connsiteY107" fmla="*/ 5726868 h 6062148"/>
              <a:gd name="connsiteX108" fmla="*/ 4522224 w 4522224"/>
              <a:gd name="connsiteY108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66706 w 4527226"/>
              <a:gd name="connsiteY29" fmla="*/ 3166548 h 6062148"/>
              <a:gd name="connsiteX30" fmla="*/ 351466 w 4527226"/>
              <a:gd name="connsiteY30" fmla="*/ 3105588 h 6062148"/>
              <a:gd name="connsiteX31" fmla="*/ 397186 w 4527226"/>
              <a:gd name="connsiteY31" fmla="*/ 3021768 h 6062148"/>
              <a:gd name="connsiteX32" fmla="*/ 488626 w 4527226"/>
              <a:gd name="connsiteY32" fmla="*/ 2998908 h 6062148"/>
              <a:gd name="connsiteX33" fmla="*/ 465766 w 4527226"/>
              <a:gd name="connsiteY33" fmla="*/ 2930328 h 6062148"/>
              <a:gd name="connsiteX34" fmla="*/ 435286 w 4527226"/>
              <a:gd name="connsiteY34" fmla="*/ 2930328 h 6062148"/>
              <a:gd name="connsiteX35" fmla="*/ 389566 w 4527226"/>
              <a:gd name="connsiteY35" fmla="*/ 2930328 h 6062148"/>
              <a:gd name="connsiteX36" fmla="*/ 305746 w 4527226"/>
              <a:gd name="connsiteY36" fmla="*/ 2876988 h 6062148"/>
              <a:gd name="connsiteX37" fmla="*/ 320986 w 4527226"/>
              <a:gd name="connsiteY37" fmla="*/ 2846508 h 6062148"/>
              <a:gd name="connsiteX38" fmla="*/ 328606 w 4527226"/>
              <a:gd name="connsiteY38" fmla="*/ 2793168 h 6062148"/>
              <a:gd name="connsiteX39" fmla="*/ 313366 w 4527226"/>
              <a:gd name="connsiteY39" fmla="*/ 2732208 h 6062148"/>
              <a:gd name="connsiteX40" fmla="*/ 267646 w 4527226"/>
              <a:gd name="connsiteY40" fmla="*/ 2671248 h 6062148"/>
              <a:gd name="connsiteX41" fmla="*/ 176206 w 4527226"/>
              <a:gd name="connsiteY41" fmla="*/ 2656008 h 6062148"/>
              <a:gd name="connsiteX42" fmla="*/ 54286 w 4527226"/>
              <a:gd name="connsiteY42" fmla="*/ 2610288 h 6062148"/>
              <a:gd name="connsiteX43" fmla="*/ 7931 w 4527226"/>
              <a:gd name="connsiteY43" fmla="*/ 2563298 h 6062148"/>
              <a:gd name="connsiteX44" fmla="*/ 8566 w 4527226"/>
              <a:gd name="connsiteY44" fmla="*/ 2488368 h 6062148"/>
              <a:gd name="connsiteX45" fmla="*/ 92386 w 4527226"/>
              <a:gd name="connsiteY45" fmla="*/ 2335968 h 6062148"/>
              <a:gd name="connsiteX46" fmla="*/ 221926 w 4527226"/>
              <a:gd name="connsiteY46" fmla="*/ 2175948 h 6062148"/>
              <a:gd name="connsiteX47" fmla="*/ 282886 w 4527226"/>
              <a:gd name="connsiteY47" fmla="*/ 2084508 h 6062148"/>
              <a:gd name="connsiteX48" fmla="*/ 328606 w 4527226"/>
              <a:gd name="connsiteY48" fmla="*/ 1977828 h 6062148"/>
              <a:gd name="connsiteX49" fmla="*/ 359086 w 4527226"/>
              <a:gd name="connsiteY49" fmla="*/ 1871148 h 6062148"/>
              <a:gd name="connsiteX50" fmla="*/ 374326 w 4527226"/>
              <a:gd name="connsiteY50" fmla="*/ 1810188 h 6062148"/>
              <a:gd name="connsiteX51" fmla="*/ 343846 w 4527226"/>
              <a:gd name="connsiteY51" fmla="*/ 1756848 h 6062148"/>
              <a:gd name="connsiteX52" fmla="*/ 328606 w 4527226"/>
              <a:gd name="connsiteY52" fmla="*/ 1680648 h 6062148"/>
              <a:gd name="connsiteX53" fmla="*/ 412426 w 4527226"/>
              <a:gd name="connsiteY53" fmla="*/ 1474908 h 6062148"/>
              <a:gd name="connsiteX54" fmla="*/ 442906 w 4527226"/>
              <a:gd name="connsiteY54" fmla="*/ 1307268 h 6062148"/>
              <a:gd name="connsiteX55" fmla="*/ 465766 w 4527226"/>
              <a:gd name="connsiteY55" fmla="*/ 1192968 h 6062148"/>
              <a:gd name="connsiteX56" fmla="*/ 503866 w 4527226"/>
              <a:gd name="connsiteY56" fmla="*/ 1055808 h 6062148"/>
              <a:gd name="connsiteX57" fmla="*/ 557206 w 4527226"/>
              <a:gd name="connsiteY57" fmla="*/ 888168 h 6062148"/>
              <a:gd name="connsiteX58" fmla="*/ 503866 w 4527226"/>
              <a:gd name="connsiteY58" fmla="*/ 888168 h 6062148"/>
              <a:gd name="connsiteX59" fmla="*/ 412426 w 4527226"/>
              <a:gd name="connsiteY59" fmla="*/ 834828 h 6062148"/>
              <a:gd name="connsiteX60" fmla="*/ 328606 w 4527226"/>
              <a:gd name="connsiteY60" fmla="*/ 789108 h 6062148"/>
              <a:gd name="connsiteX61" fmla="*/ 260026 w 4527226"/>
              <a:gd name="connsiteY61" fmla="*/ 773868 h 6062148"/>
              <a:gd name="connsiteX62" fmla="*/ 214306 w 4527226"/>
              <a:gd name="connsiteY62" fmla="*/ 751008 h 6062148"/>
              <a:gd name="connsiteX63" fmla="*/ 260026 w 4527226"/>
              <a:gd name="connsiteY63" fmla="*/ 674808 h 6062148"/>
              <a:gd name="connsiteX64" fmla="*/ 374326 w 4527226"/>
              <a:gd name="connsiteY64" fmla="*/ 606228 h 6062148"/>
              <a:gd name="connsiteX65" fmla="*/ 557206 w 4527226"/>
              <a:gd name="connsiteY65" fmla="*/ 507168 h 6062148"/>
              <a:gd name="connsiteX66" fmla="*/ 656266 w 4527226"/>
              <a:gd name="connsiteY66" fmla="*/ 423348 h 6062148"/>
              <a:gd name="connsiteX67" fmla="*/ 892486 w 4527226"/>
              <a:gd name="connsiteY67" fmla="*/ 232848 h 6062148"/>
              <a:gd name="connsiteX68" fmla="*/ 1174426 w 4527226"/>
              <a:gd name="connsiteY68" fmla="*/ 80448 h 6062148"/>
              <a:gd name="connsiteX69" fmla="*/ 1593526 w 4527226"/>
              <a:gd name="connsiteY69" fmla="*/ 11868 h 6062148"/>
              <a:gd name="connsiteX70" fmla="*/ 1944046 w 4527226"/>
              <a:gd name="connsiteY70" fmla="*/ 4248 h 6062148"/>
              <a:gd name="connsiteX71" fmla="*/ 2172646 w 4527226"/>
              <a:gd name="connsiteY71" fmla="*/ 4248 h 6062148"/>
              <a:gd name="connsiteX72" fmla="*/ 2393626 w 4527226"/>
              <a:gd name="connsiteY72" fmla="*/ 57588 h 6062148"/>
              <a:gd name="connsiteX73" fmla="*/ 2667946 w 4527226"/>
              <a:gd name="connsiteY73" fmla="*/ 133788 h 6062148"/>
              <a:gd name="connsiteX74" fmla="*/ 2820346 w 4527226"/>
              <a:gd name="connsiteY74" fmla="*/ 202368 h 6062148"/>
              <a:gd name="connsiteX75" fmla="*/ 3102286 w 4527226"/>
              <a:gd name="connsiteY75" fmla="*/ 400488 h 6062148"/>
              <a:gd name="connsiteX76" fmla="*/ 3285166 w 4527226"/>
              <a:gd name="connsiteY76" fmla="*/ 651948 h 6062148"/>
              <a:gd name="connsiteX77" fmla="*/ 3407086 w 4527226"/>
              <a:gd name="connsiteY77" fmla="*/ 918648 h 6062148"/>
              <a:gd name="connsiteX78" fmla="*/ 3475666 w 4527226"/>
              <a:gd name="connsiteY78" fmla="*/ 1238688 h 6062148"/>
              <a:gd name="connsiteX79" fmla="*/ 3506146 w 4527226"/>
              <a:gd name="connsiteY79" fmla="*/ 1543488 h 6062148"/>
              <a:gd name="connsiteX80" fmla="*/ 3506146 w 4527226"/>
              <a:gd name="connsiteY80" fmla="*/ 1962588 h 6062148"/>
              <a:gd name="connsiteX81" fmla="*/ 3338506 w 4527226"/>
              <a:gd name="connsiteY81" fmla="*/ 2305488 h 6062148"/>
              <a:gd name="connsiteX82" fmla="*/ 3254686 w 4527226"/>
              <a:gd name="connsiteY82" fmla="*/ 2473128 h 6062148"/>
              <a:gd name="connsiteX83" fmla="*/ 3132766 w 4527226"/>
              <a:gd name="connsiteY83" fmla="*/ 2663628 h 6062148"/>
              <a:gd name="connsiteX84" fmla="*/ 3071806 w 4527226"/>
              <a:gd name="connsiteY84" fmla="*/ 2838888 h 6062148"/>
              <a:gd name="connsiteX85" fmla="*/ 3064186 w 4527226"/>
              <a:gd name="connsiteY85" fmla="*/ 2915088 h 6062148"/>
              <a:gd name="connsiteX86" fmla="*/ 3018466 w 4527226"/>
              <a:gd name="connsiteY86" fmla="*/ 3014148 h 6062148"/>
              <a:gd name="connsiteX87" fmla="*/ 2980366 w 4527226"/>
              <a:gd name="connsiteY87" fmla="*/ 3082728 h 6062148"/>
              <a:gd name="connsiteX88" fmla="*/ 2957506 w 4527226"/>
              <a:gd name="connsiteY88" fmla="*/ 3120828 h 6062148"/>
              <a:gd name="connsiteX89" fmla="*/ 2957506 w 4527226"/>
              <a:gd name="connsiteY89" fmla="*/ 3555168 h 6062148"/>
              <a:gd name="connsiteX90" fmla="*/ 2957506 w 4527226"/>
              <a:gd name="connsiteY90" fmla="*/ 3562788 h 6062148"/>
              <a:gd name="connsiteX91" fmla="*/ 3010846 w 4527226"/>
              <a:gd name="connsiteY91" fmla="*/ 3539928 h 6062148"/>
              <a:gd name="connsiteX92" fmla="*/ 3064186 w 4527226"/>
              <a:gd name="connsiteY92" fmla="*/ 3562788 h 6062148"/>
              <a:gd name="connsiteX93" fmla="*/ 3109906 w 4527226"/>
              <a:gd name="connsiteY93" fmla="*/ 3570408 h 6062148"/>
              <a:gd name="connsiteX94" fmla="*/ 3140386 w 4527226"/>
              <a:gd name="connsiteY94" fmla="*/ 3631368 h 6062148"/>
              <a:gd name="connsiteX95" fmla="*/ 3117526 w 4527226"/>
              <a:gd name="connsiteY95" fmla="*/ 3738048 h 6062148"/>
              <a:gd name="connsiteX96" fmla="*/ 3125146 w 4527226"/>
              <a:gd name="connsiteY96" fmla="*/ 4103808 h 6062148"/>
              <a:gd name="connsiteX97" fmla="*/ 3117526 w 4527226"/>
              <a:gd name="connsiteY97" fmla="*/ 4119048 h 6062148"/>
              <a:gd name="connsiteX98" fmla="*/ 3163246 w 4527226"/>
              <a:gd name="connsiteY98" fmla="*/ 4157148 h 6062148"/>
              <a:gd name="connsiteX99" fmla="*/ 3201346 w 4527226"/>
              <a:gd name="connsiteY99" fmla="*/ 4164768 h 6062148"/>
              <a:gd name="connsiteX100" fmla="*/ 3231826 w 4527226"/>
              <a:gd name="connsiteY100" fmla="*/ 4172388 h 6062148"/>
              <a:gd name="connsiteX101" fmla="*/ 3285166 w 4527226"/>
              <a:gd name="connsiteY101" fmla="*/ 4294308 h 6062148"/>
              <a:gd name="connsiteX102" fmla="*/ 3300406 w 4527226"/>
              <a:gd name="connsiteY102" fmla="*/ 4347648 h 6062148"/>
              <a:gd name="connsiteX103" fmla="*/ 3330886 w 4527226"/>
              <a:gd name="connsiteY103" fmla="*/ 4408608 h 6062148"/>
              <a:gd name="connsiteX104" fmla="*/ 3551866 w 4527226"/>
              <a:gd name="connsiteY104" fmla="*/ 4644828 h 6062148"/>
              <a:gd name="connsiteX105" fmla="*/ 3887146 w 4527226"/>
              <a:gd name="connsiteY105" fmla="*/ 5025828 h 6062148"/>
              <a:gd name="connsiteX106" fmla="*/ 4100506 w 4527226"/>
              <a:gd name="connsiteY106" fmla="*/ 5300148 h 6062148"/>
              <a:gd name="connsiteX107" fmla="*/ 4367206 w 4527226"/>
              <a:gd name="connsiteY107" fmla="*/ 5726868 h 6062148"/>
              <a:gd name="connsiteX108" fmla="*/ 4527226 w 4527226"/>
              <a:gd name="connsiteY108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65766 w 4527226"/>
              <a:gd name="connsiteY32" fmla="*/ 2930328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05746 w 4527226"/>
              <a:gd name="connsiteY35" fmla="*/ 2876988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2957506 w 4527226"/>
              <a:gd name="connsiteY89" fmla="*/ 3562788 h 6062148"/>
              <a:gd name="connsiteX90" fmla="*/ 3010846 w 4527226"/>
              <a:gd name="connsiteY90" fmla="*/ 3539928 h 6062148"/>
              <a:gd name="connsiteX91" fmla="*/ 3064186 w 4527226"/>
              <a:gd name="connsiteY91" fmla="*/ 3562788 h 6062148"/>
              <a:gd name="connsiteX92" fmla="*/ 3109906 w 4527226"/>
              <a:gd name="connsiteY92" fmla="*/ 3570408 h 6062148"/>
              <a:gd name="connsiteX93" fmla="*/ 3140386 w 4527226"/>
              <a:gd name="connsiteY93" fmla="*/ 3631368 h 6062148"/>
              <a:gd name="connsiteX94" fmla="*/ 3117526 w 4527226"/>
              <a:gd name="connsiteY94" fmla="*/ 3738048 h 6062148"/>
              <a:gd name="connsiteX95" fmla="*/ 3125146 w 4527226"/>
              <a:gd name="connsiteY95" fmla="*/ 4103808 h 6062148"/>
              <a:gd name="connsiteX96" fmla="*/ 3117526 w 4527226"/>
              <a:gd name="connsiteY96" fmla="*/ 4119048 h 6062148"/>
              <a:gd name="connsiteX97" fmla="*/ 3163246 w 4527226"/>
              <a:gd name="connsiteY97" fmla="*/ 4157148 h 6062148"/>
              <a:gd name="connsiteX98" fmla="*/ 3201346 w 4527226"/>
              <a:gd name="connsiteY98" fmla="*/ 4164768 h 6062148"/>
              <a:gd name="connsiteX99" fmla="*/ 3231826 w 4527226"/>
              <a:gd name="connsiteY99" fmla="*/ 4172388 h 6062148"/>
              <a:gd name="connsiteX100" fmla="*/ 3285166 w 4527226"/>
              <a:gd name="connsiteY100" fmla="*/ 4294308 h 6062148"/>
              <a:gd name="connsiteX101" fmla="*/ 3300406 w 4527226"/>
              <a:gd name="connsiteY101" fmla="*/ 4347648 h 6062148"/>
              <a:gd name="connsiteX102" fmla="*/ 3330886 w 4527226"/>
              <a:gd name="connsiteY102" fmla="*/ 4408608 h 6062148"/>
              <a:gd name="connsiteX103" fmla="*/ 3551866 w 4527226"/>
              <a:gd name="connsiteY103" fmla="*/ 4644828 h 6062148"/>
              <a:gd name="connsiteX104" fmla="*/ 3887146 w 4527226"/>
              <a:gd name="connsiteY104" fmla="*/ 5025828 h 6062148"/>
              <a:gd name="connsiteX105" fmla="*/ 4100506 w 4527226"/>
              <a:gd name="connsiteY105" fmla="*/ 5300148 h 6062148"/>
              <a:gd name="connsiteX106" fmla="*/ 4367206 w 4527226"/>
              <a:gd name="connsiteY106" fmla="*/ 5726868 h 6062148"/>
              <a:gd name="connsiteX107" fmla="*/ 4527226 w 4527226"/>
              <a:gd name="connsiteY107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65766 w 4527226"/>
              <a:gd name="connsiteY32" fmla="*/ 2930328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2957506 w 4527226"/>
              <a:gd name="connsiteY89" fmla="*/ 3562788 h 6062148"/>
              <a:gd name="connsiteX90" fmla="*/ 3010846 w 4527226"/>
              <a:gd name="connsiteY90" fmla="*/ 3539928 h 6062148"/>
              <a:gd name="connsiteX91" fmla="*/ 3064186 w 4527226"/>
              <a:gd name="connsiteY91" fmla="*/ 3562788 h 6062148"/>
              <a:gd name="connsiteX92" fmla="*/ 3109906 w 4527226"/>
              <a:gd name="connsiteY92" fmla="*/ 3570408 h 6062148"/>
              <a:gd name="connsiteX93" fmla="*/ 3140386 w 4527226"/>
              <a:gd name="connsiteY93" fmla="*/ 3631368 h 6062148"/>
              <a:gd name="connsiteX94" fmla="*/ 3117526 w 4527226"/>
              <a:gd name="connsiteY94" fmla="*/ 3738048 h 6062148"/>
              <a:gd name="connsiteX95" fmla="*/ 3125146 w 4527226"/>
              <a:gd name="connsiteY95" fmla="*/ 4103808 h 6062148"/>
              <a:gd name="connsiteX96" fmla="*/ 3117526 w 4527226"/>
              <a:gd name="connsiteY96" fmla="*/ 4119048 h 6062148"/>
              <a:gd name="connsiteX97" fmla="*/ 3163246 w 4527226"/>
              <a:gd name="connsiteY97" fmla="*/ 4157148 h 6062148"/>
              <a:gd name="connsiteX98" fmla="*/ 3201346 w 4527226"/>
              <a:gd name="connsiteY98" fmla="*/ 4164768 h 6062148"/>
              <a:gd name="connsiteX99" fmla="*/ 3231826 w 4527226"/>
              <a:gd name="connsiteY99" fmla="*/ 4172388 h 6062148"/>
              <a:gd name="connsiteX100" fmla="*/ 3285166 w 4527226"/>
              <a:gd name="connsiteY100" fmla="*/ 4294308 h 6062148"/>
              <a:gd name="connsiteX101" fmla="*/ 3300406 w 4527226"/>
              <a:gd name="connsiteY101" fmla="*/ 4347648 h 6062148"/>
              <a:gd name="connsiteX102" fmla="*/ 3330886 w 4527226"/>
              <a:gd name="connsiteY102" fmla="*/ 4408608 h 6062148"/>
              <a:gd name="connsiteX103" fmla="*/ 3551866 w 4527226"/>
              <a:gd name="connsiteY103" fmla="*/ 4644828 h 6062148"/>
              <a:gd name="connsiteX104" fmla="*/ 3887146 w 4527226"/>
              <a:gd name="connsiteY104" fmla="*/ 5025828 h 6062148"/>
              <a:gd name="connsiteX105" fmla="*/ 4100506 w 4527226"/>
              <a:gd name="connsiteY105" fmla="*/ 5300148 h 6062148"/>
              <a:gd name="connsiteX106" fmla="*/ 4367206 w 4527226"/>
              <a:gd name="connsiteY106" fmla="*/ 5726868 h 6062148"/>
              <a:gd name="connsiteX107" fmla="*/ 4527226 w 4527226"/>
              <a:gd name="connsiteY107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2957506 w 4527226"/>
              <a:gd name="connsiteY89" fmla="*/ 3562788 h 6062148"/>
              <a:gd name="connsiteX90" fmla="*/ 3010846 w 4527226"/>
              <a:gd name="connsiteY90" fmla="*/ 3539928 h 6062148"/>
              <a:gd name="connsiteX91" fmla="*/ 3064186 w 4527226"/>
              <a:gd name="connsiteY91" fmla="*/ 3562788 h 6062148"/>
              <a:gd name="connsiteX92" fmla="*/ 3109906 w 4527226"/>
              <a:gd name="connsiteY92" fmla="*/ 3570408 h 6062148"/>
              <a:gd name="connsiteX93" fmla="*/ 3140386 w 4527226"/>
              <a:gd name="connsiteY93" fmla="*/ 3631368 h 6062148"/>
              <a:gd name="connsiteX94" fmla="*/ 3117526 w 4527226"/>
              <a:gd name="connsiteY94" fmla="*/ 3738048 h 6062148"/>
              <a:gd name="connsiteX95" fmla="*/ 3125146 w 4527226"/>
              <a:gd name="connsiteY95" fmla="*/ 4103808 h 6062148"/>
              <a:gd name="connsiteX96" fmla="*/ 3117526 w 4527226"/>
              <a:gd name="connsiteY96" fmla="*/ 4119048 h 6062148"/>
              <a:gd name="connsiteX97" fmla="*/ 3163246 w 4527226"/>
              <a:gd name="connsiteY97" fmla="*/ 4157148 h 6062148"/>
              <a:gd name="connsiteX98" fmla="*/ 3201346 w 4527226"/>
              <a:gd name="connsiteY98" fmla="*/ 4164768 h 6062148"/>
              <a:gd name="connsiteX99" fmla="*/ 3231826 w 4527226"/>
              <a:gd name="connsiteY99" fmla="*/ 4172388 h 6062148"/>
              <a:gd name="connsiteX100" fmla="*/ 3285166 w 4527226"/>
              <a:gd name="connsiteY100" fmla="*/ 4294308 h 6062148"/>
              <a:gd name="connsiteX101" fmla="*/ 3300406 w 4527226"/>
              <a:gd name="connsiteY101" fmla="*/ 4347648 h 6062148"/>
              <a:gd name="connsiteX102" fmla="*/ 3330886 w 4527226"/>
              <a:gd name="connsiteY102" fmla="*/ 4408608 h 6062148"/>
              <a:gd name="connsiteX103" fmla="*/ 3551866 w 4527226"/>
              <a:gd name="connsiteY103" fmla="*/ 4644828 h 6062148"/>
              <a:gd name="connsiteX104" fmla="*/ 3887146 w 4527226"/>
              <a:gd name="connsiteY104" fmla="*/ 5025828 h 6062148"/>
              <a:gd name="connsiteX105" fmla="*/ 4100506 w 4527226"/>
              <a:gd name="connsiteY105" fmla="*/ 5300148 h 6062148"/>
              <a:gd name="connsiteX106" fmla="*/ 4367206 w 4527226"/>
              <a:gd name="connsiteY106" fmla="*/ 5726868 h 6062148"/>
              <a:gd name="connsiteX107" fmla="*/ 4527226 w 4527226"/>
              <a:gd name="connsiteY107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3010846 w 4527226"/>
              <a:gd name="connsiteY89" fmla="*/ 3539928 h 6062148"/>
              <a:gd name="connsiteX90" fmla="*/ 3064186 w 4527226"/>
              <a:gd name="connsiteY90" fmla="*/ 3562788 h 6062148"/>
              <a:gd name="connsiteX91" fmla="*/ 3109906 w 4527226"/>
              <a:gd name="connsiteY91" fmla="*/ 3570408 h 6062148"/>
              <a:gd name="connsiteX92" fmla="*/ 3140386 w 4527226"/>
              <a:gd name="connsiteY92" fmla="*/ 3631368 h 6062148"/>
              <a:gd name="connsiteX93" fmla="*/ 3117526 w 4527226"/>
              <a:gd name="connsiteY93" fmla="*/ 3738048 h 6062148"/>
              <a:gd name="connsiteX94" fmla="*/ 3125146 w 4527226"/>
              <a:gd name="connsiteY94" fmla="*/ 4103808 h 6062148"/>
              <a:gd name="connsiteX95" fmla="*/ 3117526 w 4527226"/>
              <a:gd name="connsiteY95" fmla="*/ 4119048 h 6062148"/>
              <a:gd name="connsiteX96" fmla="*/ 3163246 w 4527226"/>
              <a:gd name="connsiteY96" fmla="*/ 4157148 h 6062148"/>
              <a:gd name="connsiteX97" fmla="*/ 3201346 w 4527226"/>
              <a:gd name="connsiteY97" fmla="*/ 4164768 h 6062148"/>
              <a:gd name="connsiteX98" fmla="*/ 3231826 w 4527226"/>
              <a:gd name="connsiteY98" fmla="*/ 4172388 h 6062148"/>
              <a:gd name="connsiteX99" fmla="*/ 3285166 w 4527226"/>
              <a:gd name="connsiteY99" fmla="*/ 4294308 h 6062148"/>
              <a:gd name="connsiteX100" fmla="*/ 3300406 w 4527226"/>
              <a:gd name="connsiteY100" fmla="*/ 4347648 h 6062148"/>
              <a:gd name="connsiteX101" fmla="*/ 3330886 w 4527226"/>
              <a:gd name="connsiteY101" fmla="*/ 4408608 h 6062148"/>
              <a:gd name="connsiteX102" fmla="*/ 3551866 w 4527226"/>
              <a:gd name="connsiteY102" fmla="*/ 4644828 h 6062148"/>
              <a:gd name="connsiteX103" fmla="*/ 3887146 w 4527226"/>
              <a:gd name="connsiteY103" fmla="*/ 5025828 h 6062148"/>
              <a:gd name="connsiteX104" fmla="*/ 4100506 w 4527226"/>
              <a:gd name="connsiteY104" fmla="*/ 5300148 h 6062148"/>
              <a:gd name="connsiteX105" fmla="*/ 4367206 w 4527226"/>
              <a:gd name="connsiteY105" fmla="*/ 5726868 h 6062148"/>
              <a:gd name="connsiteX106" fmla="*/ 4527226 w 4527226"/>
              <a:gd name="connsiteY106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3010846 w 4527226"/>
              <a:gd name="connsiteY89" fmla="*/ 3539928 h 6062148"/>
              <a:gd name="connsiteX90" fmla="*/ 3109906 w 4527226"/>
              <a:gd name="connsiteY90" fmla="*/ 3570408 h 6062148"/>
              <a:gd name="connsiteX91" fmla="*/ 3140386 w 4527226"/>
              <a:gd name="connsiteY91" fmla="*/ 3631368 h 6062148"/>
              <a:gd name="connsiteX92" fmla="*/ 3117526 w 4527226"/>
              <a:gd name="connsiteY92" fmla="*/ 3738048 h 6062148"/>
              <a:gd name="connsiteX93" fmla="*/ 3125146 w 4527226"/>
              <a:gd name="connsiteY93" fmla="*/ 4103808 h 6062148"/>
              <a:gd name="connsiteX94" fmla="*/ 3117526 w 4527226"/>
              <a:gd name="connsiteY94" fmla="*/ 4119048 h 6062148"/>
              <a:gd name="connsiteX95" fmla="*/ 3163246 w 4527226"/>
              <a:gd name="connsiteY95" fmla="*/ 4157148 h 6062148"/>
              <a:gd name="connsiteX96" fmla="*/ 3201346 w 4527226"/>
              <a:gd name="connsiteY96" fmla="*/ 4164768 h 6062148"/>
              <a:gd name="connsiteX97" fmla="*/ 3231826 w 4527226"/>
              <a:gd name="connsiteY97" fmla="*/ 4172388 h 6062148"/>
              <a:gd name="connsiteX98" fmla="*/ 3285166 w 4527226"/>
              <a:gd name="connsiteY98" fmla="*/ 4294308 h 6062148"/>
              <a:gd name="connsiteX99" fmla="*/ 3300406 w 4527226"/>
              <a:gd name="connsiteY99" fmla="*/ 4347648 h 6062148"/>
              <a:gd name="connsiteX100" fmla="*/ 3330886 w 4527226"/>
              <a:gd name="connsiteY100" fmla="*/ 4408608 h 6062148"/>
              <a:gd name="connsiteX101" fmla="*/ 3551866 w 4527226"/>
              <a:gd name="connsiteY101" fmla="*/ 4644828 h 6062148"/>
              <a:gd name="connsiteX102" fmla="*/ 3887146 w 4527226"/>
              <a:gd name="connsiteY102" fmla="*/ 5025828 h 6062148"/>
              <a:gd name="connsiteX103" fmla="*/ 4100506 w 4527226"/>
              <a:gd name="connsiteY103" fmla="*/ 5300148 h 6062148"/>
              <a:gd name="connsiteX104" fmla="*/ 4367206 w 4527226"/>
              <a:gd name="connsiteY104" fmla="*/ 5726868 h 6062148"/>
              <a:gd name="connsiteX105" fmla="*/ 4527226 w 4527226"/>
              <a:gd name="connsiteY105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3010846 w 4527226"/>
              <a:gd name="connsiteY89" fmla="*/ 3539928 h 6062148"/>
              <a:gd name="connsiteX90" fmla="*/ 3109906 w 4527226"/>
              <a:gd name="connsiteY90" fmla="*/ 3570408 h 6062148"/>
              <a:gd name="connsiteX91" fmla="*/ 3140386 w 4527226"/>
              <a:gd name="connsiteY91" fmla="*/ 3631368 h 6062148"/>
              <a:gd name="connsiteX92" fmla="*/ 3117526 w 4527226"/>
              <a:gd name="connsiteY92" fmla="*/ 3738048 h 6062148"/>
              <a:gd name="connsiteX93" fmla="*/ 3125146 w 4527226"/>
              <a:gd name="connsiteY93" fmla="*/ 4103808 h 6062148"/>
              <a:gd name="connsiteX94" fmla="*/ 3163246 w 4527226"/>
              <a:gd name="connsiteY94" fmla="*/ 4157148 h 6062148"/>
              <a:gd name="connsiteX95" fmla="*/ 3201346 w 4527226"/>
              <a:gd name="connsiteY95" fmla="*/ 4164768 h 6062148"/>
              <a:gd name="connsiteX96" fmla="*/ 3231826 w 4527226"/>
              <a:gd name="connsiteY96" fmla="*/ 4172388 h 6062148"/>
              <a:gd name="connsiteX97" fmla="*/ 3285166 w 4527226"/>
              <a:gd name="connsiteY97" fmla="*/ 4294308 h 6062148"/>
              <a:gd name="connsiteX98" fmla="*/ 3300406 w 4527226"/>
              <a:gd name="connsiteY98" fmla="*/ 4347648 h 6062148"/>
              <a:gd name="connsiteX99" fmla="*/ 3330886 w 4527226"/>
              <a:gd name="connsiteY99" fmla="*/ 4408608 h 6062148"/>
              <a:gd name="connsiteX100" fmla="*/ 3551866 w 4527226"/>
              <a:gd name="connsiteY100" fmla="*/ 4644828 h 6062148"/>
              <a:gd name="connsiteX101" fmla="*/ 3887146 w 4527226"/>
              <a:gd name="connsiteY101" fmla="*/ 5025828 h 6062148"/>
              <a:gd name="connsiteX102" fmla="*/ 4100506 w 4527226"/>
              <a:gd name="connsiteY102" fmla="*/ 5300148 h 6062148"/>
              <a:gd name="connsiteX103" fmla="*/ 4367206 w 4527226"/>
              <a:gd name="connsiteY103" fmla="*/ 5726868 h 6062148"/>
              <a:gd name="connsiteX104" fmla="*/ 4527226 w 4527226"/>
              <a:gd name="connsiteY104" fmla="*/ 6046908 h 6062148"/>
              <a:gd name="connsiteX0" fmla="*/ 381946 w 4527226"/>
              <a:gd name="connsiteY0" fmla="*/ 5924988 h 6046908"/>
              <a:gd name="connsiteX1" fmla="*/ 442906 w 4527226"/>
              <a:gd name="connsiteY1" fmla="*/ 5780208 h 6046908"/>
              <a:gd name="connsiteX2" fmla="*/ 473386 w 4527226"/>
              <a:gd name="connsiteY2" fmla="*/ 5665908 h 6046908"/>
              <a:gd name="connsiteX3" fmla="*/ 511486 w 4527226"/>
              <a:gd name="connsiteY3" fmla="*/ 5612568 h 6046908"/>
              <a:gd name="connsiteX4" fmla="*/ 541966 w 4527226"/>
              <a:gd name="connsiteY4" fmla="*/ 5521128 h 6046908"/>
              <a:gd name="connsiteX5" fmla="*/ 564826 w 4527226"/>
              <a:gd name="connsiteY5" fmla="*/ 5353488 h 6046908"/>
              <a:gd name="connsiteX6" fmla="*/ 602926 w 4527226"/>
              <a:gd name="connsiteY6" fmla="*/ 5223948 h 6046908"/>
              <a:gd name="connsiteX7" fmla="*/ 625786 w 4527226"/>
              <a:gd name="connsiteY7" fmla="*/ 5178228 h 6046908"/>
              <a:gd name="connsiteX8" fmla="*/ 701986 w 4527226"/>
              <a:gd name="connsiteY8" fmla="*/ 5071548 h 6046908"/>
              <a:gd name="connsiteX9" fmla="*/ 717226 w 4527226"/>
              <a:gd name="connsiteY9" fmla="*/ 5063928 h 6046908"/>
              <a:gd name="connsiteX10" fmla="*/ 709606 w 4527226"/>
              <a:gd name="connsiteY10" fmla="*/ 5025828 h 6046908"/>
              <a:gd name="connsiteX11" fmla="*/ 701986 w 4527226"/>
              <a:gd name="connsiteY11" fmla="*/ 5002968 h 6046908"/>
              <a:gd name="connsiteX12" fmla="*/ 968686 w 4527226"/>
              <a:gd name="connsiteY12" fmla="*/ 4682928 h 6046908"/>
              <a:gd name="connsiteX13" fmla="*/ 961066 w 4527226"/>
              <a:gd name="connsiteY13" fmla="*/ 4644828 h 6046908"/>
              <a:gd name="connsiteX14" fmla="*/ 1342066 w 4527226"/>
              <a:gd name="connsiteY14" fmla="*/ 4172388 h 6046908"/>
              <a:gd name="connsiteX15" fmla="*/ 1258246 w 4527226"/>
              <a:gd name="connsiteY15" fmla="*/ 4012368 h 6046908"/>
              <a:gd name="connsiteX16" fmla="*/ 1204906 w 4527226"/>
              <a:gd name="connsiteY16" fmla="*/ 3928548 h 6046908"/>
              <a:gd name="connsiteX17" fmla="*/ 1174426 w 4527226"/>
              <a:gd name="connsiteY17" fmla="*/ 3768528 h 6046908"/>
              <a:gd name="connsiteX18" fmla="*/ 1151566 w 4527226"/>
              <a:gd name="connsiteY18" fmla="*/ 3699948 h 6046908"/>
              <a:gd name="connsiteX19" fmla="*/ 1143946 w 4527226"/>
              <a:gd name="connsiteY19" fmla="*/ 3669468 h 6046908"/>
              <a:gd name="connsiteX20" fmla="*/ 1067746 w 4527226"/>
              <a:gd name="connsiteY20" fmla="*/ 3661848 h 6046908"/>
              <a:gd name="connsiteX21" fmla="*/ 938206 w 4527226"/>
              <a:gd name="connsiteY21" fmla="*/ 3669468 h 6046908"/>
              <a:gd name="connsiteX22" fmla="*/ 831526 w 4527226"/>
              <a:gd name="connsiteY22" fmla="*/ 3692328 h 6046908"/>
              <a:gd name="connsiteX23" fmla="*/ 610546 w 4527226"/>
              <a:gd name="connsiteY23" fmla="*/ 3738048 h 6046908"/>
              <a:gd name="connsiteX24" fmla="*/ 389566 w 4527226"/>
              <a:gd name="connsiteY24" fmla="*/ 3638988 h 6046908"/>
              <a:gd name="connsiteX25" fmla="*/ 381946 w 4527226"/>
              <a:gd name="connsiteY25" fmla="*/ 3326568 h 6046908"/>
              <a:gd name="connsiteX26" fmla="*/ 420046 w 4527226"/>
              <a:gd name="connsiteY26" fmla="*/ 3227508 h 6046908"/>
              <a:gd name="connsiteX27" fmla="*/ 389566 w 4527226"/>
              <a:gd name="connsiteY27" fmla="*/ 3166548 h 6046908"/>
              <a:gd name="connsiteX28" fmla="*/ 351466 w 4527226"/>
              <a:gd name="connsiteY28" fmla="*/ 3105588 h 6046908"/>
              <a:gd name="connsiteX29" fmla="*/ 397186 w 4527226"/>
              <a:gd name="connsiteY29" fmla="*/ 3021768 h 6046908"/>
              <a:gd name="connsiteX30" fmla="*/ 488626 w 4527226"/>
              <a:gd name="connsiteY30" fmla="*/ 2998908 h 6046908"/>
              <a:gd name="connsiteX31" fmla="*/ 471956 w 4527226"/>
              <a:gd name="connsiteY31" fmla="*/ 2942709 h 6046908"/>
              <a:gd name="connsiteX32" fmla="*/ 435286 w 4527226"/>
              <a:gd name="connsiteY32" fmla="*/ 2930328 h 6046908"/>
              <a:gd name="connsiteX33" fmla="*/ 389566 w 4527226"/>
              <a:gd name="connsiteY33" fmla="*/ 2930328 h 6046908"/>
              <a:gd name="connsiteX34" fmla="*/ 314000 w 4527226"/>
              <a:gd name="connsiteY34" fmla="*/ 2893495 h 6046908"/>
              <a:gd name="connsiteX35" fmla="*/ 320986 w 4527226"/>
              <a:gd name="connsiteY35" fmla="*/ 2846508 h 6046908"/>
              <a:gd name="connsiteX36" fmla="*/ 328606 w 4527226"/>
              <a:gd name="connsiteY36" fmla="*/ 2793168 h 6046908"/>
              <a:gd name="connsiteX37" fmla="*/ 313366 w 4527226"/>
              <a:gd name="connsiteY37" fmla="*/ 2732208 h 6046908"/>
              <a:gd name="connsiteX38" fmla="*/ 267646 w 4527226"/>
              <a:gd name="connsiteY38" fmla="*/ 2671248 h 6046908"/>
              <a:gd name="connsiteX39" fmla="*/ 176206 w 4527226"/>
              <a:gd name="connsiteY39" fmla="*/ 2656008 h 6046908"/>
              <a:gd name="connsiteX40" fmla="*/ 54286 w 4527226"/>
              <a:gd name="connsiteY40" fmla="*/ 2610288 h 6046908"/>
              <a:gd name="connsiteX41" fmla="*/ 7931 w 4527226"/>
              <a:gd name="connsiteY41" fmla="*/ 2563298 h 6046908"/>
              <a:gd name="connsiteX42" fmla="*/ 8566 w 4527226"/>
              <a:gd name="connsiteY42" fmla="*/ 2488368 h 6046908"/>
              <a:gd name="connsiteX43" fmla="*/ 92386 w 4527226"/>
              <a:gd name="connsiteY43" fmla="*/ 2335968 h 6046908"/>
              <a:gd name="connsiteX44" fmla="*/ 221926 w 4527226"/>
              <a:gd name="connsiteY44" fmla="*/ 2175948 h 6046908"/>
              <a:gd name="connsiteX45" fmla="*/ 282886 w 4527226"/>
              <a:gd name="connsiteY45" fmla="*/ 2084508 h 6046908"/>
              <a:gd name="connsiteX46" fmla="*/ 328606 w 4527226"/>
              <a:gd name="connsiteY46" fmla="*/ 1977828 h 6046908"/>
              <a:gd name="connsiteX47" fmla="*/ 359086 w 4527226"/>
              <a:gd name="connsiteY47" fmla="*/ 1871148 h 6046908"/>
              <a:gd name="connsiteX48" fmla="*/ 374326 w 4527226"/>
              <a:gd name="connsiteY48" fmla="*/ 1810188 h 6046908"/>
              <a:gd name="connsiteX49" fmla="*/ 343846 w 4527226"/>
              <a:gd name="connsiteY49" fmla="*/ 1756848 h 6046908"/>
              <a:gd name="connsiteX50" fmla="*/ 328606 w 4527226"/>
              <a:gd name="connsiteY50" fmla="*/ 1680648 h 6046908"/>
              <a:gd name="connsiteX51" fmla="*/ 412426 w 4527226"/>
              <a:gd name="connsiteY51" fmla="*/ 1474908 h 6046908"/>
              <a:gd name="connsiteX52" fmla="*/ 442906 w 4527226"/>
              <a:gd name="connsiteY52" fmla="*/ 1307268 h 6046908"/>
              <a:gd name="connsiteX53" fmla="*/ 465766 w 4527226"/>
              <a:gd name="connsiteY53" fmla="*/ 1192968 h 6046908"/>
              <a:gd name="connsiteX54" fmla="*/ 503866 w 4527226"/>
              <a:gd name="connsiteY54" fmla="*/ 1055808 h 6046908"/>
              <a:gd name="connsiteX55" fmla="*/ 557206 w 4527226"/>
              <a:gd name="connsiteY55" fmla="*/ 888168 h 6046908"/>
              <a:gd name="connsiteX56" fmla="*/ 503866 w 4527226"/>
              <a:gd name="connsiteY56" fmla="*/ 888168 h 6046908"/>
              <a:gd name="connsiteX57" fmla="*/ 412426 w 4527226"/>
              <a:gd name="connsiteY57" fmla="*/ 834828 h 6046908"/>
              <a:gd name="connsiteX58" fmla="*/ 328606 w 4527226"/>
              <a:gd name="connsiteY58" fmla="*/ 789108 h 6046908"/>
              <a:gd name="connsiteX59" fmla="*/ 260026 w 4527226"/>
              <a:gd name="connsiteY59" fmla="*/ 773868 h 6046908"/>
              <a:gd name="connsiteX60" fmla="*/ 214306 w 4527226"/>
              <a:gd name="connsiteY60" fmla="*/ 751008 h 6046908"/>
              <a:gd name="connsiteX61" fmla="*/ 260026 w 4527226"/>
              <a:gd name="connsiteY61" fmla="*/ 674808 h 6046908"/>
              <a:gd name="connsiteX62" fmla="*/ 374326 w 4527226"/>
              <a:gd name="connsiteY62" fmla="*/ 606228 h 6046908"/>
              <a:gd name="connsiteX63" fmla="*/ 557206 w 4527226"/>
              <a:gd name="connsiteY63" fmla="*/ 507168 h 6046908"/>
              <a:gd name="connsiteX64" fmla="*/ 656266 w 4527226"/>
              <a:gd name="connsiteY64" fmla="*/ 423348 h 6046908"/>
              <a:gd name="connsiteX65" fmla="*/ 892486 w 4527226"/>
              <a:gd name="connsiteY65" fmla="*/ 232848 h 6046908"/>
              <a:gd name="connsiteX66" fmla="*/ 1174426 w 4527226"/>
              <a:gd name="connsiteY66" fmla="*/ 80448 h 6046908"/>
              <a:gd name="connsiteX67" fmla="*/ 1593526 w 4527226"/>
              <a:gd name="connsiteY67" fmla="*/ 11868 h 6046908"/>
              <a:gd name="connsiteX68" fmla="*/ 1944046 w 4527226"/>
              <a:gd name="connsiteY68" fmla="*/ 4248 h 6046908"/>
              <a:gd name="connsiteX69" fmla="*/ 2172646 w 4527226"/>
              <a:gd name="connsiteY69" fmla="*/ 4248 h 6046908"/>
              <a:gd name="connsiteX70" fmla="*/ 2393626 w 4527226"/>
              <a:gd name="connsiteY70" fmla="*/ 57588 h 6046908"/>
              <a:gd name="connsiteX71" fmla="*/ 2667946 w 4527226"/>
              <a:gd name="connsiteY71" fmla="*/ 133788 h 6046908"/>
              <a:gd name="connsiteX72" fmla="*/ 2820346 w 4527226"/>
              <a:gd name="connsiteY72" fmla="*/ 202368 h 6046908"/>
              <a:gd name="connsiteX73" fmla="*/ 3102286 w 4527226"/>
              <a:gd name="connsiteY73" fmla="*/ 400488 h 6046908"/>
              <a:gd name="connsiteX74" fmla="*/ 3285166 w 4527226"/>
              <a:gd name="connsiteY74" fmla="*/ 651948 h 6046908"/>
              <a:gd name="connsiteX75" fmla="*/ 3407086 w 4527226"/>
              <a:gd name="connsiteY75" fmla="*/ 918648 h 6046908"/>
              <a:gd name="connsiteX76" fmla="*/ 3475666 w 4527226"/>
              <a:gd name="connsiteY76" fmla="*/ 1238688 h 6046908"/>
              <a:gd name="connsiteX77" fmla="*/ 3506146 w 4527226"/>
              <a:gd name="connsiteY77" fmla="*/ 1543488 h 6046908"/>
              <a:gd name="connsiteX78" fmla="*/ 3506146 w 4527226"/>
              <a:gd name="connsiteY78" fmla="*/ 1962588 h 6046908"/>
              <a:gd name="connsiteX79" fmla="*/ 3338506 w 4527226"/>
              <a:gd name="connsiteY79" fmla="*/ 2305488 h 6046908"/>
              <a:gd name="connsiteX80" fmla="*/ 3254686 w 4527226"/>
              <a:gd name="connsiteY80" fmla="*/ 2473128 h 6046908"/>
              <a:gd name="connsiteX81" fmla="*/ 3132766 w 4527226"/>
              <a:gd name="connsiteY81" fmla="*/ 2663628 h 6046908"/>
              <a:gd name="connsiteX82" fmla="*/ 3071806 w 4527226"/>
              <a:gd name="connsiteY82" fmla="*/ 2838888 h 6046908"/>
              <a:gd name="connsiteX83" fmla="*/ 3064186 w 4527226"/>
              <a:gd name="connsiteY83" fmla="*/ 2915088 h 6046908"/>
              <a:gd name="connsiteX84" fmla="*/ 3018466 w 4527226"/>
              <a:gd name="connsiteY84" fmla="*/ 3014148 h 6046908"/>
              <a:gd name="connsiteX85" fmla="*/ 2980366 w 4527226"/>
              <a:gd name="connsiteY85" fmla="*/ 3082728 h 6046908"/>
              <a:gd name="connsiteX86" fmla="*/ 2957506 w 4527226"/>
              <a:gd name="connsiteY86" fmla="*/ 3120828 h 6046908"/>
              <a:gd name="connsiteX87" fmla="*/ 2957506 w 4527226"/>
              <a:gd name="connsiteY87" fmla="*/ 3555168 h 6046908"/>
              <a:gd name="connsiteX88" fmla="*/ 3010846 w 4527226"/>
              <a:gd name="connsiteY88" fmla="*/ 3539928 h 6046908"/>
              <a:gd name="connsiteX89" fmla="*/ 3109906 w 4527226"/>
              <a:gd name="connsiteY89" fmla="*/ 3570408 h 6046908"/>
              <a:gd name="connsiteX90" fmla="*/ 3140386 w 4527226"/>
              <a:gd name="connsiteY90" fmla="*/ 3631368 h 6046908"/>
              <a:gd name="connsiteX91" fmla="*/ 3117526 w 4527226"/>
              <a:gd name="connsiteY91" fmla="*/ 3738048 h 6046908"/>
              <a:gd name="connsiteX92" fmla="*/ 3125146 w 4527226"/>
              <a:gd name="connsiteY92" fmla="*/ 4103808 h 6046908"/>
              <a:gd name="connsiteX93" fmla="*/ 3163246 w 4527226"/>
              <a:gd name="connsiteY93" fmla="*/ 4157148 h 6046908"/>
              <a:gd name="connsiteX94" fmla="*/ 3201346 w 4527226"/>
              <a:gd name="connsiteY94" fmla="*/ 4164768 h 6046908"/>
              <a:gd name="connsiteX95" fmla="*/ 3231826 w 4527226"/>
              <a:gd name="connsiteY95" fmla="*/ 4172388 h 6046908"/>
              <a:gd name="connsiteX96" fmla="*/ 3285166 w 4527226"/>
              <a:gd name="connsiteY96" fmla="*/ 4294308 h 6046908"/>
              <a:gd name="connsiteX97" fmla="*/ 3300406 w 4527226"/>
              <a:gd name="connsiteY97" fmla="*/ 4347648 h 6046908"/>
              <a:gd name="connsiteX98" fmla="*/ 3330886 w 4527226"/>
              <a:gd name="connsiteY98" fmla="*/ 4408608 h 6046908"/>
              <a:gd name="connsiteX99" fmla="*/ 3551866 w 4527226"/>
              <a:gd name="connsiteY99" fmla="*/ 4644828 h 6046908"/>
              <a:gd name="connsiteX100" fmla="*/ 3887146 w 4527226"/>
              <a:gd name="connsiteY100" fmla="*/ 5025828 h 6046908"/>
              <a:gd name="connsiteX101" fmla="*/ 4100506 w 4527226"/>
              <a:gd name="connsiteY101" fmla="*/ 5300148 h 6046908"/>
              <a:gd name="connsiteX102" fmla="*/ 4367206 w 4527226"/>
              <a:gd name="connsiteY102" fmla="*/ 5726868 h 6046908"/>
              <a:gd name="connsiteX103" fmla="*/ 4527226 w 4527226"/>
              <a:gd name="connsiteY103" fmla="*/ 6046908 h 6046908"/>
              <a:gd name="connsiteX0" fmla="*/ 442906 w 4527226"/>
              <a:gd name="connsiteY0" fmla="*/ 5780208 h 6046908"/>
              <a:gd name="connsiteX1" fmla="*/ 473386 w 4527226"/>
              <a:gd name="connsiteY1" fmla="*/ 5665908 h 6046908"/>
              <a:gd name="connsiteX2" fmla="*/ 511486 w 4527226"/>
              <a:gd name="connsiteY2" fmla="*/ 5612568 h 6046908"/>
              <a:gd name="connsiteX3" fmla="*/ 541966 w 4527226"/>
              <a:gd name="connsiteY3" fmla="*/ 5521128 h 6046908"/>
              <a:gd name="connsiteX4" fmla="*/ 564826 w 4527226"/>
              <a:gd name="connsiteY4" fmla="*/ 5353488 h 6046908"/>
              <a:gd name="connsiteX5" fmla="*/ 602926 w 4527226"/>
              <a:gd name="connsiteY5" fmla="*/ 5223948 h 6046908"/>
              <a:gd name="connsiteX6" fmla="*/ 625786 w 4527226"/>
              <a:gd name="connsiteY6" fmla="*/ 5178228 h 6046908"/>
              <a:gd name="connsiteX7" fmla="*/ 701986 w 4527226"/>
              <a:gd name="connsiteY7" fmla="*/ 5071548 h 6046908"/>
              <a:gd name="connsiteX8" fmla="*/ 717226 w 4527226"/>
              <a:gd name="connsiteY8" fmla="*/ 5063928 h 6046908"/>
              <a:gd name="connsiteX9" fmla="*/ 709606 w 4527226"/>
              <a:gd name="connsiteY9" fmla="*/ 5025828 h 6046908"/>
              <a:gd name="connsiteX10" fmla="*/ 701986 w 4527226"/>
              <a:gd name="connsiteY10" fmla="*/ 5002968 h 6046908"/>
              <a:gd name="connsiteX11" fmla="*/ 968686 w 4527226"/>
              <a:gd name="connsiteY11" fmla="*/ 4682928 h 6046908"/>
              <a:gd name="connsiteX12" fmla="*/ 961066 w 4527226"/>
              <a:gd name="connsiteY12" fmla="*/ 4644828 h 6046908"/>
              <a:gd name="connsiteX13" fmla="*/ 1342066 w 4527226"/>
              <a:gd name="connsiteY13" fmla="*/ 4172388 h 6046908"/>
              <a:gd name="connsiteX14" fmla="*/ 1258246 w 4527226"/>
              <a:gd name="connsiteY14" fmla="*/ 4012368 h 6046908"/>
              <a:gd name="connsiteX15" fmla="*/ 1204906 w 4527226"/>
              <a:gd name="connsiteY15" fmla="*/ 3928548 h 6046908"/>
              <a:gd name="connsiteX16" fmla="*/ 1174426 w 4527226"/>
              <a:gd name="connsiteY16" fmla="*/ 3768528 h 6046908"/>
              <a:gd name="connsiteX17" fmla="*/ 1151566 w 4527226"/>
              <a:gd name="connsiteY17" fmla="*/ 3699948 h 6046908"/>
              <a:gd name="connsiteX18" fmla="*/ 1143946 w 4527226"/>
              <a:gd name="connsiteY18" fmla="*/ 3669468 h 6046908"/>
              <a:gd name="connsiteX19" fmla="*/ 1067746 w 4527226"/>
              <a:gd name="connsiteY19" fmla="*/ 3661848 h 6046908"/>
              <a:gd name="connsiteX20" fmla="*/ 938206 w 4527226"/>
              <a:gd name="connsiteY20" fmla="*/ 3669468 h 6046908"/>
              <a:gd name="connsiteX21" fmla="*/ 831526 w 4527226"/>
              <a:gd name="connsiteY21" fmla="*/ 3692328 h 6046908"/>
              <a:gd name="connsiteX22" fmla="*/ 610546 w 4527226"/>
              <a:gd name="connsiteY22" fmla="*/ 3738048 h 6046908"/>
              <a:gd name="connsiteX23" fmla="*/ 389566 w 4527226"/>
              <a:gd name="connsiteY23" fmla="*/ 3638988 h 6046908"/>
              <a:gd name="connsiteX24" fmla="*/ 381946 w 4527226"/>
              <a:gd name="connsiteY24" fmla="*/ 3326568 h 6046908"/>
              <a:gd name="connsiteX25" fmla="*/ 420046 w 4527226"/>
              <a:gd name="connsiteY25" fmla="*/ 3227508 h 6046908"/>
              <a:gd name="connsiteX26" fmla="*/ 389566 w 4527226"/>
              <a:gd name="connsiteY26" fmla="*/ 3166548 h 6046908"/>
              <a:gd name="connsiteX27" fmla="*/ 351466 w 4527226"/>
              <a:gd name="connsiteY27" fmla="*/ 3105588 h 6046908"/>
              <a:gd name="connsiteX28" fmla="*/ 397186 w 4527226"/>
              <a:gd name="connsiteY28" fmla="*/ 3021768 h 6046908"/>
              <a:gd name="connsiteX29" fmla="*/ 488626 w 4527226"/>
              <a:gd name="connsiteY29" fmla="*/ 2998908 h 6046908"/>
              <a:gd name="connsiteX30" fmla="*/ 471956 w 4527226"/>
              <a:gd name="connsiteY30" fmla="*/ 2942709 h 6046908"/>
              <a:gd name="connsiteX31" fmla="*/ 435286 w 4527226"/>
              <a:gd name="connsiteY31" fmla="*/ 2930328 h 6046908"/>
              <a:gd name="connsiteX32" fmla="*/ 389566 w 4527226"/>
              <a:gd name="connsiteY32" fmla="*/ 2930328 h 6046908"/>
              <a:gd name="connsiteX33" fmla="*/ 314000 w 4527226"/>
              <a:gd name="connsiteY33" fmla="*/ 2893495 h 6046908"/>
              <a:gd name="connsiteX34" fmla="*/ 320986 w 4527226"/>
              <a:gd name="connsiteY34" fmla="*/ 2846508 h 6046908"/>
              <a:gd name="connsiteX35" fmla="*/ 328606 w 4527226"/>
              <a:gd name="connsiteY35" fmla="*/ 2793168 h 6046908"/>
              <a:gd name="connsiteX36" fmla="*/ 313366 w 4527226"/>
              <a:gd name="connsiteY36" fmla="*/ 2732208 h 6046908"/>
              <a:gd name="connsiteX37" fmla="*/ 267646 w 4527226"/>
              <a:gd name="connsiteY37" fmla="*/ 2671248 h 6046908"/>
              <a:gd name="connsiteX38" fmla="*/ 176206 w 4527226"/>
              <a:gd name="connsiteY38" fmla="*/ 2656008 h 6046908"/>
              <a:gd name="connsiteX39" fmla="*/ 54286 w 4527226"/>
              <a:gd name="connsiteY39" fmla="*/ 2610288 h 6046908"/>
              <a:gd name="connsiteX40" fmla="*/ 7931 w 4527226"/>
              <a:gd name="connsiteY40" fmla="*/ 2563298 h 6046908"/>
              <a:gd name="connsiteX41" fmla="*/ 8566 w 4527226"/>
              <a:gd name="connsiteY41" fmla="*/ 2488368 h 6046908"/>
              <a:gd name="connsiteX42" fmla="*/ 92386 w 4527226"/>
              <a:gd name="connsiteY42" fmla="*/ 2335968 h 6046908"/>
              <a:gd name="connsiteX43" fmla="*/ 221926 w 4527226"/>
              <a:gd name="connsiteY43" fmla="*/ 2175948 h 6046908"/>
              <a:gd name="connsiteX44" fmla="*/ 282886 w 4527226"/>
              <a:gd name="connsiteY44" fmla="*/ 2084508 h 6046908"/>
              <a:gd name="connsiteX45" fmla="*/ 328606 w 4527226"/>
              <a:gd name="connsiteY45" fmla="*/ 1977828 h 6046908"/>
              <a:gd name="connsiteX46" fmla="*/ 359086 w 4527226"/>
              <a:gd name="connsiteY46" fmla="*/ 1871148 h 6046908"/>
              <a:gd name="connsiteX47" fmla="*/ 374326 w 4527226"/>
              <a:gd name="connsiteY47" fmla="*/ 1810188 h 6046908"/>
              <a:gd name="connsiteX48" fmla="*/ 343846 w 4527226"/>
              <a:gd name="connsiteY48" fmla="*/ 1756848 h 6046908"/>
              <a:gd name="connsiteX49" fmla="*/ 328606 w 4527226"/>
              <a:gd name="connsiteY49" fmla="*/ 1680648 h 6046908"/>
              <a:gd name="connsiteX50" fmla="*/ 412426 w 4527226"/>
              <a:gd name="connsiteY50" fmla="*/ 1474908 h 6046908"/>
              <a:gd name="connsiteX51" fmla="*/ 442906 w 4527226"/>
              <a:gd name="connsiteY51" fmla="*/ 1307268 h 6046908"/>
              <a:gd name="connsiteX52" fmla="*/ 465766 w 4527226"/>
              <a:gd name="connsiteY52" fmla="*/ 1192968 h 6046908"/>
              <a:gd name="connsiteX53" fmla="*/ 503866 w 4527226"/>
              <a:gd name="connsiteY53" fmla="*/ 1055808 h 6046908"/>
              <a:gd name="connsiteX54" fmla="*/ 557206 w 4527226"/>
              <a:gd name="connsiteY54" fmla="*/ 888168 h 6046908"/>
              <a:gd name="connsiteX55" fmla="*/ 503866 w 4527226"/>
              <a:gd name="connsiteY55" fmla="*/ 888168 h 6046908"/>
              <a:gd name="connsiteX56" fmla="*/ 412426 w 4527226"/>
              <a:gd name="connsiteY56" fmla="*/ 834828 h 6046908"/>
              <a:gd name="connsiteX57" fmla="*/ 328606 w 4527226"/>
              <a:gd name="connsiteY57" fmla="*/ 789108 h 6046908"/>
              <a:gd name="connsiteX58" fmla="*/ 260026 w 4527226"/>
              <a:gd name="connsiteY58" fmla="*/ 773868 h 6046908"/>
              <a:gd name="connsiteX59" fmla="*/ 214306 w 4527226"/>
              <a:gd name="connsiteY59" fmla="*/ 751008 h 6046908"/>
              <a:gd name="connsiteX60" fmla="*/ 260026 w 4527226"/>
              <a:gd name="connsiteY60" fmla="*/ 674808 h 6046908"/>
              <a:gd name="connsiteX61" fmla="*/ 374326 w 4527226"/>
              <a:gd name="connsiteY61" fmla="*/ 606228 h 6046908"/>
              <a:gd name="connsiteX62" fmla="*/ 557206 w 4527226"/>
              <a:gd name="connsiteY62" fmla="*/ 507168 h 6046908"/>
              <a:gd name="connsiteX63" fmla="*/ 656266 w 4527226"/>
              <a:gd name="connsiteY63" fmla="*/ 423348 h 6046908"/>
              <a:gd name="connsiteX64" fmla="*/ 892486 w 4527226"/>
              <a:gd name="connsiteY64" fmla="*/ 232848 h 6046908"/>
              <a:gd name="connsiteX65" fmla="*/ 1174426 w 4527226"/>
              <a:gd name="connsiteY65" fmla="*/ 80448 h 6046908"/>
              <a:gd name="connsiteX66" fmla="*/ 1593526 w 4527226"/>
              <a:gd name="connsiteY66" fmla="*/ 11868 h 6046908"/>
              <a:gd name="connsiteX67" fmla="*/ 1944046 w 4527226"/>
              <a:gd name="connsiteY67" fmla="*/ 4248 h 6046908"/>
              <a:gd name="connsiteX68" fmla="*/ 2172646 w 4527226"/>
              <a:gd name="connsiteY68" fmla="*/ 4248 h 6046908"/>
              <a:gd name="connsiteX69" fmla="*/ 2393626 w 4527226"/>
              <a:gd name="connsiteY69" fmla="*/ 57588 h 6046908"/>
              <a:gd name="connsiteX70" fmla="*/ 2667946 w 4527226"/>
              <a:gd name="connsiteY70" fmla="*/ 133788 h 6046908"/>
              <a:gd name="connsiteX71" fmla="*/ 2820346 w 4527226"/>
              <a:gd name="connsiteY71" fmla="*/ 202368 h 6046908"/>
              <a:gd name="connsiteX72" fmla="*/ 3102286 w 4527226"/>
              <a:gd name="connsiteY72" fmla="*/ 400488 h 6046908"/>
              <a:gd name="connsiteX73" fmla="*/ 3285166 w 4527226"/>
              <a:gd name="connsiteY73" fmla="*/ 651948 h 6046908"/>
              <a:gd name="connsiteX74" fmla="*/ 3407086 w 4527226"/>
              <a:gd name="connsiteY74" fmla="*/ 918648 h 6046908"/>
              <a:gd name="connsiteX75" fmla="*/ 3475666 w 4527226"/>
              <a:gd name="connsiteY75" fmla="*/ 1238688 h 6046908"/>
              <a:gd name="connsiteX76" fmla="*/ 3506146 w 4527226"/>
              <a:gd name="connsiteY76" fmla="*/ 1543488 h 6046908"/>
              <a:gd name="connsiteX77" fmla="*/ 3506146 w 4527226"/>
              <a:gd name="connsiteY77" fmla="*/ 1962588 h 6046908"/>
              <a:gd name="connsiteX78" fmla="*/ 3338506 w 4527226"/>
              <a:gd name="connsiteY78" fmla="*/ 2305488 h 6046908"/>
              <a:gd name="connsiteX79" fmla="*/ 3254686 w 4527226"/>
              <a:gd name="connsiteY79" fmla="*/ 2473128 h 6046908"/>
              <a:gd name="connsiteX80" fmla="*/ 3132766 w 4527226"/>
              <a:gd name="connsiteY80" fmla="*/ 2663628 h 6046908"/>
              <a:gd name="connsiteX81" fmla="*/ 3071806 w 4527226"/>
              <a:gd name="connsiteY81" fmla="*/ 2838888 h 6046908"/>
              <a:gd name="connsiteX82" fmla="*/ 3064186 w 4527226"/>
              <a:gd name="connsiteY82" fmla="*/ 2915088 h 6046908"/>
              <a:gd name="connsiteX83" fmla="*/ 3018466 w 4527226"/>
              <a:gd name="connsiteY83" fmla="*/ 3014148 h 6046908"/>
              <a:gd name="connsiteX84" fmla="*/ 2980366 w 4527226"/>
              <a:gd name="connsiteY84" fmla="*/ 3082728 h 6046908"/>
              <a:gd name="connsiteX85" fmla="*/ 2957506 w 4527226"/>
              <a:gd name="connsiteY85" fmla="*/ 3120828 h 6046908"/>
              <a:gd name="connsiteX86" fmla="*/ 2957506 w 4527226"/>
              <a:gd name="connsiteY86" fmla="*/ 3555168 h 6046908"/>
              <a:gd name="connsiteX87" fmla="*/ 3010846 w 4527226"/>
              <a:gd name="connsiteY87" fmla="*/ 3539928 h 6046908"/>
              <a:gd name="connsiteX88" fmla="*/ 3109906 w 4527226"/>
              <a:gd name="connsiteY88" fmla="*/ 3570408 h 6046908"/>
              <a:gd name="connsiteX89" fmla="*/ 3140386 w 4527226"/>
              <a:gd name="connsiteY89" fmla="*/ 3631368 h 6046908"/>
              <a:gd name="connsiteX90" fmla="*/ 3117526 w 4527226"/>
              <a:gd name="connsiteY90" fmla="*/ 3738048 h 6046908"/>
              <a:gd name="connsiteX91" fmla="*/ 3125146 w 4527226"/>
              <a:gd name="connsiteY91" fmla="*/ 4103808 h 6046908"/>
              <a:gd name="connsiteX92" fmla="*/ 3163246 w 4527226"/>
              <a:gd name="connsiteY92" fmla="*/ 4157148 h 6046908"/>
              <a:gd name="connsiteX93" fmla="*/ 3201346 w 4527226"/>
              <a:gd name="connsiteY93" fmla="*/ 4164768 h 6046908"/>
              <a:gd name="connsiteX94" fmla="*/ 3231826 w 4527226"/>
              <a:gd name="connsiteY94" fmla="*/ 4172388 h 6046908"/>
              <a:gd name="connsiteX95" fmla="*/ 3285166 w 4527226"/>
              <a:gd name="connsiteY95" fmla="*/ 4294308 h 6046908"/>
              <a:gd name="connsiteX96" fmla="*/ 3300406 w 4527226"/>
              <a:gd name="connsiteY96" fmla="*/ 4347648 h 6046908"/>
              <a:gd name="connsiteX97" fmla="*/ 3330886 w 4527226"/>
              <a:gd name="connsiteY97" fmla="*/ 4408608 h 6046908"/>
              <a:gd name="connsiteX98" fmla="*/ 3551866 w 4527226"/>
              <a:gd name="connsiteY98" fmla="*/ 4644828 h 6046908"/>
              <a:gd name="connsiteX99" fmla="*/ 3887146 w 4527226"/>
              <a:gd name="connsiteY99" fmla="*/ 5025828 h 6046908"/>
              <a:gd name="connsiteX100" fmla="*/ 4100506 w 4527226"/>
              <a:gd name="connsiteY100" fmla="*/ 5300148 h 6046908"/>
              <a:gd name="connsiteX101" fmla="*/ 4367206 w 4527226"/>
              <a:gd name="connsiteY101" fmla="*/ 5726868 h 6046908"/>
              <a:gd name="connsiteX102" fmla="*/ 4527226 w 4527226"/>
              <a:gd name="connsiteY102" fmla="*/ 6046908 h 6046908"/>
              <a:gd name="connsiteX0" fmla="*/ 473386 w 4527226"/>
              <a:gd name="connsiteY0" fmla="*/ 5665908 h 6046908"/>
              <a:gd name="connsiteX1" fmla="*/ 511486 w 4527226"/>
              <a:gd name="connsiteY1" fmla="*/ 5612568 h 6046908"/>
              <a:gd name="connsiteX2" fmla="*/ 541966 w 4527226"/>
              <a:gd name="connsiteY2" fmla="*/ 5521128 h 6046908"/>
              <a:gd name="connsiteX3" fmla="*/ 564826 w 4527226"/>
              <a:gd name="connsiteY3" fmla="*/ 5353488 h 6046908"/>
              <a:gd name="connsiteX4" fmla="*/ 602926 w 4527226"/>
              <a:gd name="connsiteY4" fmla="*/ 5223948 h 6046908"/>
              <a:gd name="connsiteX5" fmla="*/ 625786 w 4527226"/>
              <a:gd name="connsiteY5" fmla="*/ 5178228 h 6046908"/>
              <a:gd name="connsiteX6" fmla="*/ 701986 w 4527226"/>
              <a:gd name="connsiteY6" fmla="*/ 5071548 h 6046908"/>
              <a:gd name="connsiteX7" fmla="*/ 717226 w 4527226"/>
              <a:gd name="connsiteY7" fmla="*/ 5063928 h 6046908"/>
              <a:gd name="connsiteX8" fmla="*/ 709606 w 4527226"/>
              <a:gd name="connsiteY8" fmla="*/ 5025828 h 6046908"/>
              <a:gd name="connsiteX9" fmla="*/ 701986 w 4527226"/>
              <a:gd name="connsiteY9" fmla="*/ 5002968 h 6046908"/>
              <a:gd name="connsiteX10" fmla="*/ 968686 w 4527226"/>
              <a:gd name="connsiteY10" fmla="*/ 4682928 h 6046908"/>
              <a:gd name="connsiteX11" fmla="*/ 961066 w 4527226"/>
              <a:gd name="connsiteY11" fmla="*/ 4644828 h 6046908"/>
              <a:gd name="connsiteX12" fmla="*/ 1342066 w 4527226"/>
              <a:gd name="connsiteY12" fmla="*/ 4172388 h 6046908"/>
              <a:gd name="connsiteX13" fmla="*/ 1258246 w 4527226"/>
              <a:gd name="connsiteY13" fmla="*/ 4012368 h 6046908"/>
              <a:gd name="connsiteX14" fmla="*/ 1204906 w 4527226"/>
              <a:gd name="connsiteY14" fmla="*/ 3928548 h 6046908"/>
              <a:gd name="connsiteX15" fmla="*/ 1174426 w 4527226"/>
              <a:gd name="connsiteY15" fmla="*/ 3768528 h 6046908"/>
              <a:gd name="connsiteX16" fmla="*/ 1151566 w 4527226"/>
              <a:gd name="connsiteY16" fmla="*/ 3699948 h 6046908"/>
              <a:gd name="connsiteX17" fmla="*/ 1143946 w 4527226"/>
              <a:gd name="connsiteY17" fmla="*/ 3669468 h 6046908"/>
              <a:gd name="connsiteX18" fmla="*/ 1067746 w 4527226"/>
              <a:gd name="connsiteY18" fmla="*/ 3661848 h 6046908"/>
              <a:gd name="connsiteX19" fmla="*/ 938206 w 4527226"/>
              <a:gd name="connsiteY19" fmla="*/ 3669468 h 6046908"/>
              <a:gd name="connsiteX20" fmla="*/ 831526 w 4527226"/>
              <a:gd name="connsiteY20" fmla="*/ 3692328 h 6046908"/>
              <a:gd name="connsiteX21" fmla="*/ 610546 w 4527226"/>
              <a:gd name="connsiteY21" fmla="*/ 3738048 h 6046908"/>
              <a:gd name="connsiteX22" fmla="*/ 389566 w 4527226"/>
              <a:gd name="connsiteY22" fmla="*/ 3638988 h 6046908"/>
              <a:gd name="connsiteX23" fmla="*/ 381946 w 4527226"/>
              <a:gd name="connsiteY23" fmla="*/ 3326568 h 6046908"/>
              <a:gd name="connsiteX24" fmla="*/ 420046 w 4527226"/>
              <a:gd name="connsiteY24" fmla="*/ 3227508 h 6046908"/>
              <a:gd name="connsiteX25" fmla="*/ 389566 w 4527226"/>
              <a:gd name="connsiteY25" fmla="*/ 3166548 h 6046908"/>
              <a:gd name="connsiteX26" fmla="*/ 351466 w 4527226"/>
              <a:gd name="connsiteY26" fmla="*/ 3105588 h 6046908"/>
              <a:gd name="connsiteX27" fmla="*/ 397186 w 4527226"/>
              <a:gd name="connsiteY27" fmla="*/ 3021768 h 6046908"/>
              <a:gd name="connsiteX28" fmla="*/ 488626 w 4527226"/>
              <a:gd name="connsiteY28" fmla="*/ 2998908 h 6046908"/>
              <a:gd name="connsiteX29" fmla="*/ 471956 w 4527226"/>
              <a:gd name="connsiteY29" fmla="*/ 2942709 h 6046908"/>
              <a:gd name="connsiteX30" fmla="*/ 435286 w 4527226"/>
              <a:gd name="connsiteY30" fmla="*/ 2930328 h 6046908"/>
              <a:gd name="connsiteX31" fmla="*/ 389566 w 4527226"/>
              <a:gd name="connsiteY31" fmla="*/ 2930328 h 6046908"/>
              <a:gd name="connsiteX32" fmla="*/ 314000 w 4527226"/>
              <a:gd name="connsiteY32" fmla="*/ 2893495 h 6046908"/>
              <a:gd name="connsiteX33" fmla="*/ 320986 w 4527226"/>
              <a:gd name="connsiteY33" fmla="*/ 2846508 h 6046908"/>
              <a:gd name="connsiteX34" fmla="*/ 328606 w 4527226"/>
              <a:gd name="connsiteY34" fmla="*/ 2793168 h 6046908"/>
              <a:gd name="connsiteX35" fmla="*/ 313366 w 4527226"/>
              <a:gd name="connsiteY35" fmla="*/ 2732208 h 6046908"/>
              <a:gd name="connsiteX36" fmla="*/ 267646 w 4527226"/>
              <a:gd name="connsiteY36" fmla="*/ 2671248 h 6046908"/>
              <a:gd name="connsiteX37" fmla="*/ 176206 w 4527226"/>
              <a:gd name="connsiteY37" fmla="*/ 2656008 h 6046908"/>
              <a:gd name="connsiteX38" fmla="*/ 54286 w 4527226"/>
              <a:gd name="connsiteY38" fmla="*/ 2610288 h 6046908"/>
              <a:gd name="connsiteX39" fmla="*/ 7931 w 4527226"/>
              <a:gd name="connsiteY39" fmla="*/ 2563298 h 6046908"/>
              <a:gd name="connsiteX40" fmla="*/ 8566 w 4527226"/>
              <a:gd name="connsiteY40" fmla="*/ 2488368 h 6046908"/>
              <a:gd name="connsiteX41" fmla="*/ 92386 w 4527226"/>
              <a:gd name="connsiteY41" fmla="*/ 2335968 h 6046908"/>
              <a:gd name="connsiteX42" fmla="*/ 221926 w 4527226"/>
              <a:gd name="connsiteY42" fmla="*/ 2175948 h 6046908"/>
              <a:gd name="connsiteX43" fmla="*/ 282886 w 4527226"/>
              <a:gd name="connsiteY43" fmla="*/ 2084508 h 6046908"/>
              <a:gd name="connsiteX44" fmla="*/ 328606 w 4527226"/>
              <a:gd name="connsiteY44" fmla="*/ 1977828 h 6046908"/>
              <a:gd name="connsiteX45" fmla="*/ 359086 w 4527226"/>
              <a:gd name="connsiteY45" fmla="*/ 1871148 h 6046908"/>
              <a:gd name="connsiteX46" fmla="*/ 374326 w 4527226"/>
              <a:gd name="connsiteY46" fmla="*/ 1810188 h 6046908"/>
              <a:gd name="connsiteX47" fmla="*/ 343846 w 4527226"/>
              <a:gd name="connsiteY47" fmla="*/ 1756848 h 6046908"/>
              <a:gd name="connsiteX48" fmla="*/ 328606 w 4527226"/>
              <a:gd name="connsiteY48" fmla="*/ 1680648 h 6046908"/>
              <a:gd name="connsiteX49" fmla="*/ 412426 w 4527226"/>
              <a:gd name="connsiteY49" fmla="*/ 1474908 h 6046908"/>
              <a:gd name="connsiteX50" fmla="*/ 442906 w 4527226"/>
              <a:gd name="connsiteY50" fmla="*/ 1307268 h 6046908"/>
              <a:gd name="connsiteX51" fmla="*/ 465766 w 4527226"/>
              <a:gd name="connsiteY51" fmla="*/ 1192968 h 6046908"/>
              <a:gd name="connsiteX52" fmla="*/ 503866 w 4527226"/>
              <a:gd name="connsiteY52" fmla="*/ 1055808 h 6046908"/>
              <a:gd name="connsiteX53" fmla="*/ 557206 w 4527226"/>
              <a:gd name="connsiteY53" fmla="*/ 888168 h 6046908"/>
              <a:gd name="connsiteX54" fmla="*/ 503866 w 4527226"/>
              <a:gd name="connsiteY54" fmla="*/ 888168 h 6046908"/>
              <a:gd name="connsiteX55" fmla="*/ 412426 w 4527226"/>
              <a:gd name="connsiteY55" fmla="*/ 834828 h 6046908"/>
              <a:gd name="connsiteX56" fmla="*/ 328606 w 4527226"/>
              <a:gd name="connsiteY56" fmla="*/ 789108 h 6046908"/>
              <a:gd name="connsiteX57" fmla="*/ 260026 w 4527226"/>
              <a:gd name="connsiteY57" fmla="*/ 773868 h 6046908"/>
              <a:gd name="connsiteX58" fmla="*/ 214306 w 4527226"/>
              <a:gd name="connsiteY58" fmla="*/ 751008 h 6046908"/>
              <a:gd name="connsiteX59" fmla="*/ 260026 w 4527226"/>
              <a:gd name="connsiteY59" fmla="*/ 674808 h 6046908"/>
              <a:gd name="connsiteX60" fmla="*/ 374326 w 4527226"/>
              <a:gd name="connsiteY60" fmla="*/ 606228 h 6046908"/>
              <a:gd name="connsiteX61" fmla="*/ 557206 w 4527226"/>
              <a:gd name="connsiteY61" fmla="*/ 507168 h 6046908"/>
              <a:gd name="connsiteX62" fmla="*/ 656266 w 4527226"/>
              <a:gd name="connsiteY62" fmla="*/ 423348 h 6046908"/>
              <a:gd name="connsiteX63" fmla="*/ 892486 w 4527226"/>
              <a:gd name="connsiteY63" fmla="*/ 232848 h 6046908"/>
              <a:gd name="connsiteX64" fmla="*/ 1174426 w 4527226"/>
              <a:gd name="connsiteY64" fmla="*/ 80448 h 6046908"/>
              <a:gd name="connsiteX65" fmla="*/ 1593526 w 4527226"/>
              <a:gd name="connsiteY65" fmla="*/ 11868 h 6046908"/>
              <a:gd name="connsiteX66" fmla="*/ 1944046 w 4527226"/>
              <a:gd name="connsiteY66" fmla="*/ 4248 h 6046908"/>
              <a:gd name="connsiteX67" fmla="*/ 2172646 w 4527226"/>
              <a:gd name="connsiteY67" fmla="*/ 4248 h 6046908"/>
              <a:gd name="connsiteX68" fmla="*/ 2393626 w 4527226"/>
              <a:gd name="connsiteY68" fmla="*/ 57588 h 6046908"/>
              <a:gd name="connsiteX69" fmla="*/ 2667946 w 4527226"/>
              <a:gd name="connsiteY69" fmla="*/ 133788 h 6046908"/>
              <a:gd name="connsiteX70" fmla="*/ 2820346 w 4527226"/>
              <a:gd name="connsiteY70" fmla="*/ 202368 h 6046908"/>
              <a:gd name="connsiteX71" fmla="*/ 3102286 w 4527226"/>
              <a:gd name="connsiteY71" fmla="*/ 400488 h 6046908"/>
              <a:gd name="connsiteX72" fmla="*/ 3285166 w 4527226"/>
              <a:gd name="connsiteY72" fmla="*/ 651948 h 6046908"/>
              <a:gd name="connsiteX73" fmla="*/ 3407086 w 4527226"/>
              <a:gd name="connsiteY73" fmla="*/ 918648 h 6046908"/>
              <a:gd name="connsiteX74" fmla="*/ 3475666 w 4527226"/>
              <a:gd name="connsiteY74" fmla="*/ 1238688 h 6046908"/>
              <a:gd name="connsiteX75" fmla="*/ 3506146 w 4527226"/>
              <a:gd name="connsiteY75" fmla="*/ 1543488 h 6046908"/>
              <a:gd name="connsiteX76" fmla="*/ 3506146 w 4527226"/>
              <a:gd name="connsiteY76" fmla="*/ 1962588 h 6046908"/>
              <a:gd name="connsiteX77" fmla="*/ 3338506 w 4527226"/>
              <a:gd name="connsiteY77" fmla="*/ 2305488 h 6046908"/>
              <a:gd name="connsiteX78" fmla="*/ 3254686 w 4527226"/>
              <a:gd name="connsiteY78" fmla="*/ 2473128 h 6046908"/>
              <a:gd name="connsiteX79" fmla="*/ 3132766 w 4527226"/>
              <a:gd name="connsiteY79" fmla="*/ 2663628 h 6046908"/>
              <a:gd name="connsiteX80" fmla="*/ 3071806 w 4527226"/>
              <a:gd name="connsiteY80" fmla="*/ 2838888 h 6046908"/>
              <a:gd name="connsiteX81" fmla="*/ 3064186 w 4527226"/>
              <a:gd name="connsiteY81" fmla="*/ 2915088 h 6046908"/>
              <a:gd name="connsiteX82" fmla="*/ 3018466 w 4527226"/>
              <a:gd name="connsiteY82" fmla="*/ 3014148 h 6046908"/>
              <a:gd name="connsiteX83" fmla="*/ 2980366 w 4527226"/>
              <a:gd name="connsiteY83" fmla="*/ 3082728 h 6046908"/>
              <a:gd name="connsiteX84" fmla="*/ 2957506 w 4527226"/>
              <a:gd name="connsiteY84" fmla="*/ 3120828 h 6046908"/>
              <a:gd name="connsiteX85" fmla="*/ 2957506 w 4527226"/>
              <a:gd name="connsiteY85" fmla="*/ 3555168 h 6046908"/>
              <a:gd name="connsiteX86" fmla="*/ 3010846 w 4527226"/>
              <a:gd name="connsiteY86" fmla="*/ 3539928 h 6046908"/>
              <a:gd name="connsiteX87" fmla="*/ 3109906 w 4527226"/>
              <a:gd name="connsiteY87" fmla="*/ 3570408 h 6046908"/>
              <a:gd name="connsiteX88" fmla="*/ 3140386 w 4527226"/>
              <a:gd name="connsiteY88" fmla="*/ 3631368 h 6046908"/>
              <a:gd name="connsiteX89" fmla="*/ 3117526 w 4527226"/>
              <a:gd name="connsiteY89" fmla="*/ 3738048 h 6046908"/>
              <a:gd name="connsiteX90" fmla="*/ 3125146 w 4527226"/>
              <a:gd name="connsiteY90" fmla="*/ 4103808 h 6046908"/>
              <a:gd name="connsiteX91" fmla="*/ 3163246 w 4527226"/>
              <a:gd name="connsiteY91" fmla="*/ 4157148 h 6046908"/>
              <a:gd name="connsiteX92" fmla="*/ 3201346 w 4527226"/>
              <a:gd name="connsiteY92" fmla="*/ 4164768 h 6046908"/>
              <a:gd name="connsiteX93" fmla="*/ 3231826 w 4527226"/>
              <a:gd name="connsiteY93" fmla="*/ 4172388 h 6046908"/>
              <a:gd name="connsiteX94" fmla="*/ 3285166 w 4527226"/>
              <a:gd name="connsiteY94" fmla="*/ 4294308 h 6046908"/>
              <a:gd name="connsiteX95" fmla="*/ 3300406 w 4527226"/>
              <a:gd name="connsiteY95" fmla="*/ 4347648 h 6046908"/>
              <a:gd name="connsiteX96" fmla="*/ 3330886 w 4527226"/>
              <a:gd name="connsiteY96" fmla="*/ 4408608 h 6046908"/>
              <a:gd name="connsiteX97" fmla="*/ 3551866 w 4527226"/>
              <a:gd name="connsiteY97" fmla="*/ 4644828 h 6046908"/>
              <a:gd name="connsiteX98" fmla="*/ 3887146 w 4527226"/>
              <a:gd name="connsiteY98" fmla="*/ 5025828 h 6046908"/>
              <a:gd name="connsiteX99" fmla="*/ 4100506 w 4527226"/>
              <a:gd name="connsiteY99" fmla="*/ 5300148 h 6046908"/>
              <a:gd name="connsiteX100" fmla="*/ 4367206 w 4527226"/>
              <a:gd name="connsiteY100" fmla="*/ 5726868 h 6046908"/>
              <a:gd name="connsiteX101" fmla="*/ 4527226 w 4527226"/>
              <a:gd name="connsiteY101" fmla="*/ 6046908 h 6046908"/>
              <a:gd name="connsiteX0" fmla="*/ 511486 w 4527226"/>
              <a:gd name="connsiteY0" fmla="*/ 5612568 h 6046908"/>
              <a:gd name="connsiteX1" fmla="*/ 541966 w 4527226"/>
              <a:gd name="connsiteY1" fmla="*/ 5521128 h 6046908"/>
              <a:gd name="connsiteX2" fmla="*/ 564826 w 4527226"/>
              <a:gd name="connsiteY2" fmla="*/ 5353488 h 6046908"/>
              <a:gd name="connsiteX3" fmla="*/ 602926 w 4527226"/>
              <a:gd name="connsiteY3" fmla="*/ 5223948 h 6046908"/>
              <a:gd name="connsiteX4" fmla="*/ 625786 w 4527226"/>
              <a:gd name="connsiteY4" fmla="*/ 5178228 h 6046908"/>
              <a:gd name="connsiteX5" fmla="*/ 701986 w 4527226"/>
              <a:gd name="connsiteY5" fmla="*/ 5071548 h 6046908"/>
              <a:gd name="connsiteX6" fmla="*/ 717226 w 4527226"/>
              <a:gd name="connsiteY6" fmla="*/ 5063928 h 6046908"/>
              <a:gd name="connsiteX7" fmla="*/ 709606 w 4527226"/>
              <a:gd name="connsiteY7" fmla="*/ 5025828 h 6046908"/>
              <a:gd name="connsiteX8" fmla="*/ 701986 w 4527226"/>
              <a:gd name="connsiteY8" fmla="*/ 5002968 h 6046908"/>
              <a:gd name="connsiteX9" fmla="*/ 968686 w 4527226"/>
              <a:gd name="connsiteY9" fmla="*/ 4682928 h 6046908"/>
              <a:gd name="connsiteX10" fmla="*/ 961066 w 4527226"/>
              <a:gd name="connsiteY10" fmla="*/ 4644828 h 6046908"/>
              <a:gd name="connsiteX11" fmla="*/ 1342066 w 4527226"/>
              <a:gd name="connsiteY11" fmla="*/ 4172388 h 6046908"/>
              <a:gd name="connsiteX12" fmla="*/ 1258246 w 4527226"/>
              <a:gd name="connsiteY12" fmla="*/ 4012368 h 6046908"/>
              <a:gd name="connsiteX13" fmla="*/ 1204906 w 4527226"/>
              <a:gd name="connsiteY13" fmla="*/ 3928548 h 6046908"/>
              <a:gd name="connsiteX14" fmla="*/ 1174426 w 4527226"/>
              <a:gd name="connsiteY14" fmla="*/ 3768528 h 6046908"/>
              <a:gd name="connsiteX15" fmla="*/ 1151566 w 4527226"/>
              <a:gd name="connsiteY15" fmla="*/ 3699948 h 6046908"/>
              <a:gd name="connsiteX16" fmla="*/ 1143946 w 4527226"/>
              <a:gd name="connsiteY16" fmla="*/ 3669468 h 6046908"/>
              <a:gd name="connsiteX17" fmla="*/ 1067746 w 4527226"/>
              <a:gd name="connsiteY17" fmla="*/ 3661848 h 6046908"/>
              <a:gd name="connsiteX18" fmla="*/ 938206 w 4527226"/>
              <a:gd name="connsiteY18" fmla="*/ 3669468 h 6046908"/>
              <a:gd name="connsiteX19" fmla="*/ 831526 w 4527226"/>
              <a:gd name="connsiteY19" fmla="*/ 3692328 h 6046908"/>
              <a:gd name="connsiteX20" fmla="*/ 610546 w 4527226"/>
              <a:gd name="connsiteY20" fmla="*/ 3738048 h 6046908"/>
              <a:gd name="connsiteX21" fmla="*/ 389566 w 4527226"/>
              <a:gd name="connsiteY21" fmla="*/ 3638988 h 6046908"/>
              <a:gd name="connsiteX22" fmla="*/ 381946 w 4527226"/>
              <a:gd name="connsiteY22" fmla="*/ 3326568 h 6046908"/>
              <a:gd name="connsiteX23" fmla="*/ 420046 w 4527226"/>
              <a:gd name="connsiteY23" fmla="*/ 3227508 h 6046908"/>
              <a:gd name="connsiteX24" fmla="*/ 389566 w 4527226"/>
              <a:gd name="connsiteY24" fmla="*/ 3166548 h 6046908"/>
              <a:gd name="connsiteX25" fmla="*/ 351466 w 4527226"/>
              <a:gd name="connsiteY25" fmla="*/ 3105588 h 6046908"/>
              <a:gd name="connsiteX26" fmla="*/ 397186 w 4527226"/>
              <a:gd name="connsiteY26" fmla="*/ 3021768 h 6046908"/>
              <a:gd name="connsiteX27" fmla="*/ 488626 w 4527226"/>
              <a:gd name="connsiteY27" fmla="*/ 2998908 h 6046908"/>
              <a:gd name="connsiteX28" fmla="*/ 471956 w 4527226"/>
              <a:gd name="connsiteY28" fmla="*/ 2942709 h 6046908"/>
              <a:gd name="connsiteX29" fmla="*/ 435286 w 4527226"/>
              <a:gd name="connsiteY29" fmla="*/ 2930328 h 6046908"/>
              <a:gd name="connsiteX30" fmla="*/ 389566 w 4527226"/>
              <a:gd name="connsiteY30" fmla="*/ 2930328 h 6046908"/>
              <a:gd name="connsiteX31" fmla="*/ 314000 w 4527226"/>
              <a:gd name="connsiteY31" fmla="*/ 2893495 h 6046908"/>
              <a:gd name="connsiteX32" fmla="*/ 320986 w 4527226"/>
              <a:gd name="connsiteY32" fmla="*/ 2846508 h 6046908"/>
              <a:gd name="connsiteX33" fmla="*/ 328606 w 4527226"/>
              <a:gd name="connsiteY33" fmla="*/ 2793168 h 6046908"/>
              <a:gd name="connsiteX34" fmla="*/ 313366 w 4527226"/>
              <a:gd name="connsiteY34" fmla="*/ 2732208 h 6046908"/>
              <a:gd name="connsiteX35" fmla="*/ 267646 w 4527226"/>
              <a:gd name="connsiteY35" fmla="*/ 2671248 h 6046908"/>
              <a:gd name="connsiteX36" fmla="*/ 176206 w 4527226"/>
              <a:gd name="connsiteY36" fmla="*/ 2656008 h 6046908"/>
              <a:gd name="connsiteX37" fmla="*/ 54286 w 4527226"/>
              <a:gd name="connsiteY37" fmla="*/ 2610288 h 6046908"/>
              <a:gd name="connsiteX38" fmla="*/ 7931 w 4527226"/>
              <a:gd name="connsiteY38" fmla="*/ 2563298 h 6046908"/>
              <a:gd name="connsiteX39" fmla="*/ 8566 w 4527226"/>
              <a:gd name="connsiteY39" fmla="*/ 2488368 h 6046908"/>
              <a:gd name="connsiteX40" fmla="*/ 92386 w 4527226"/>
              <a:gd name="connsiteY40" fmla="*/ 2335968 h 6046908"/>
              <a:gd name="connsiteX41" fmla="*/ 221926 w 4527226"/>
              <a:gd name="connsiteY41" fmla="*/ 2175948 h 6046908"/>
              <a:gd name="connsiteX42" fmla="*/ 282886 w 4527226"/>
              <a:gd name="connsiteY42" fmla="*/ 2084508 h 6046908"/>
              <a:gd name="connsiteX43" fmla="*/ 328606 w 4527226"/>
              <a:gd name="connsiteY43" fmla="*/ 1977828 h 6046908"/>
              <a:gd name="connsiteX44" fmla="*/ 359086 w 4527226"/>
              <a:gd name="connsiteY44" fmla="*/ 1871148 h 6046908"/>
              <a:gd name="connsiteX45" fmla="*/ 374326 w 4527226"/>
              <a:gd name="connsiteY45" fmla="*/ 1810188 h 6046908"/>
              <a:gd name="connsiteX46" fmla="*/ 343846 w 4527226"/>
              <a:gd name="connsiteY46" fmla="*/ 1756848 h 6046908"/>
              <a:gd name="connsiteX47" fmla="*/ 328606 w 4527226"/>
              <a:gd name="connsiteY47" fmla="*/ 1680648 h 6046908"/>
              <a:gd name="connsiteX48" fmla="*/ 412426 w 4527226"/>
              <a:gd name="connsiteY48" fmla="*/ 1474908 h 6046908"/>
              <a:gd name="connsiteX49" fmla="*/ 442906 w 4527226"/>
              <a:gd name="connsiteY49" fmla="*/ 1307268 h 6046908"/>
              <a:gd name="connsiteX50" fmla="*/ 465766 w 4527226"/>
              <a:gd name="connsiteY50" fmla="*/ 1192968 h 6046908"/>
              <a:gd name="connsiteX51" fmla="*/ 503866 w 4527226"/>
              <a:gd name="connsiteY51" fmla="*/ 1055808 h 6046908"/>
              <a:gd name="connsiteX52" fmla="*/ 557206 w 4527226"/>
              <a:gd name="connsiteY52" fmla="*/ 888168 h 6046908"/>
              <a:gd name="connsiteX53" fmla="*/ 503866 w 4527226"/>
              <a:gd name="connsiteY53" fmla="*/ 888168 h 6046908"/>
              <a:gd name="connsiteX54" fmla="*/ 412426 w 4527226"/>
              <a:gd name="connsiteY54" fmla="*/ 834828 h 6046908"/>
              <a:gd name="connsiteX55" fmla="*/ 328606 w 4527226"/>
              <a:gd name="connsiteY55" fmla="*/ 789108 h 6046908"/>
              <a:gd name="connsiteX56" fmla="*/ 260026 w 4527226"/>
              <a:gd name="connsiteY56" fmla="*/ 773868 h 6046908"/>
              <a:gd name="connsiteX57" fmla="*/ 214306 w 4527226"/>
              <a:gd name="connsiteY57" fmla="*/ 751008 h 6046908"/>
              <a:gd name="connsiteX58" fmla="*/ 260026 w 4527226"/>
              <a:gd name="connsiteY58" fmla="*/ 674808 h 6046908"/>
              <a:gd name="connsiteX59" fmla="*/ 374326 w 4527226"/>
              <a:gd name="connsiteY59" fmla="*/ 606228 h 6046908"/>
              <a:gd name="connsiteX60" fmla="*/ 557206 w 4527226"/>
              <a:gd name="connsiteY60" fmla="*/ 507168 h 6046908"/>
              <a:gd name="connsiteX61" fmla="*/ 656266 w 4527226"/>
              <a:gd name="connsiteY61" fmla="*/ 423348 h 6046908"/>
              <a:gd name="connsiteX62" fmla="*/ 892486 w 4527226"/>
              <a:gd name="connsiteY62" fmla="*/ 232848 h 6046908"/>
              <a:gd name="connsiteX63" fmla="*/ 1174426 w 4527226"/>
              <a:gd name="connsiteY63" fmla="*/ 80448 h 6046908"/>
              <a:gd name="connsiteX64" fmla="*/ 1593526 w 4527226"/>
              <a:gd name="connsiteY64" fmla="*/ 11868 h 6046908"/>
              <a:gd name="connsiteX65" fmla="*/ 1944046 w 4527226"/>
              <a:gd name="connsiteY65" fmla="*/ 4248 h 6046908"/>
              <a:gd name="connsiteX66" fmla="*/ 2172646 w 4527226"/>
              <a:gd name="connsiteY66" fmla="*/ 4248 h 6046908"/>
              <a:gd name="connsiteX67" fmla="*/ 2393626 w 4527226"/>
              <a:gd name="connsiteY67" fmla="*/ 57588 h 6046908"/>
              <a:gd name="connsiteX68" fmla="*/ 2667946 w 4527226"/>
              <a:gd name="connsiteY68" fmla="*/ 133788 h 6046908"/>
              <a:gd name="connsiteX69" fmla="*/ 2820346 w 4527226"/>
              <a:gd name="connsiteY69" fmla="*/ 202368 h 6046908"/>
              <a:gd name="connsiteX70" fmla="*/ 3102286 w 4527226"/>
              <a:gd name="connsiteY70" fmla="*/ 400488 h 6046908"/>
              <a:gd name="connsiteX71" fmla="*/ 3285166 w 4527226"/>
              <a:gd name="connsiteY71" fmla="*/ 651948 h 6046908"/>
              <a:gd name="connsiteX72" fmla="*/ 3407086 w 4527226"/>
              <a:gd name="connsiteY72" fmla="*/ 918648 h 6046908"/>
              <a:gd name="connsiteX73" fmla="*/ 3475666 w 4527226"/>
              <a:gd name="connsiteY73" fmla="*/ 1238688 h 6046908"/>
              <a:gd name="connsiteX74" fmla="*/ 3506146 w 4527226"/>
              <a:gd name="connsiteY74" fmla="*/ 1543488 h 6046908"/>
              <a:gd name="connsiteX75" fmla="*/ 3506146 w 4527226"/>
              <a:gd name="connsiteY75" fmla="*/ 1962588 h 6046908"/>
              <a:gd name="connsiteX76" fmla="*/ 3338506 w 4527226"/>
              <a:gd name="connsiteY76" fmla="*/ 2305488 h 6046908"/>
              <a:gd name="connsiteX77" fmla="*/ 3254686 w 4527226"/>
              <a:gd name="connsiteY77" fmla="*/ 2473128 h 6046908"/>
              <a:gd name="connsiteX78" fmla="*/ 3132766 w 4527226"/>
              <a:gd name="connsiteY78" fmla="*/ 2663628 h 6046908"/>
              <a:gd name="connsiteX79" fmla="*/ 3071806 w 4527226"/>
              <a:gd name="connsiteY79" fmla="*/ 2838888 h 6046908"/>
              <a:gd name="connsiteX80" fmla="*/ 3064186 w 4527226"/>
              <a:gd name="connsiteY80" fmla="*/ 2915088 h 6046908"/>
              <a:gd name="connsiteX81" fmla="*/ 3018466 w 4527226"/>
              <a:gd name="connsiteY81" fmla="*/ 3014148 h 6046908"/>
              <a:gd name="connsiteX82" fmla="*/ 2980366 w 4527226"/>
              <a:gd name="connsiteY82" fmla="*/ 3082728 h 6046908"/>
              <a:gd name="connsiteX83" fmla="*/ 2957506 w 4527226"/>
              <a:gd name="connsiteY83" fmla="*/ 3120828 h 6046908"/>
              <a:gd name="connsiteX84" fmla="*/ 2957506 w 4527226"/>
              <a:gd name="connsiteY84" fmla="*/ 3555168 h 6046908"/>
              <a:gd name="connsiteX85" fmla="*/ 3010846 w 4527226"/>
              <a:gd name="connsiteY85" fmla="*/ 3539928 h 6046908"/>
              <a:gd name="connsiteX86" fmla="*/ 3109906 w 4527226"/>
              <a:gd name="connsiteY86" fmla="*/ 3570408 h 6046908"/>
              <a:gd name="connsiteX87" fmla="*/ 3140386 w 4527226"/>
              <a:gd name="connsiteY87" fmla="*/ 3631368 h 6046908"/>
              <a:gd name="connsiteX88" fmla="*/ 3117526 w 4527226"/>
              <a:gd name="connsiteY88" fmla="*/ 3738048 h 6046908"/>
              <a:gd name="connsiteX89" fmla="*/ 3125146 w 4527226"/>
              <a:gd name="connsiteY89" fmla="*/ 4103808 h 6046908"/>
              <a:gd name="connsiteX90" fmla="*/ 3163246 w 4527226"/>
              <a:gd name="connsiteY90" fmla="*/ 4157148 h 6046908"/>
              <a:gd name="connsiteX91" fmla="*/ 3201346 w 4527226"/>
              <a:gd name="connsiteY91" fmla="*/ 4164768 h 6046908"/>
              <a:gd name="connsiteX92" fmla="*/ 3231826 w 4527226"/>
              <a:gd name="connsiteY92" fmla="*/ 4172388 h 6046908"/>
              <a:gd name="connsiteX93" fmla="*/ 3285166 w 4527226"/>
              <a:gd name="connsiteY93" fmla="*/ 4294308 h 6046908"/>
              <a:gd name="connsiteX94" fmla="*/ 3300406 w 4527226"/>
              <a:gd name="connsiteY94" fmla="*/ 4347648 h 6046908"/>
              <a:gd name="connsiteX95" fmla="*/ 3330886 w 4527226"/>
              <a:gd name="connsiteY95" fmla="*/ 4408608 h 6046908"/>
              <a:gd name="connsiteX96" fmla="*/ 3551866 w 4527226"/>
              <a:gd name="connsiteY96" fmla="*/ 4644828 h 6046908"/>
              <a:gd name="connsiteX97" fmla="*/ 3887146 w 4527226"/>
              <a:gd name="connsiteY97" fmla="*/ 5025828 h 6046908"/>
              <a:gd name="connsiteX98" fmla="*/ 4100506 w 4527226"/>
              <a:gd name="connsiteY98" fmla="*/ 5300148 h 6046908"/>
              <a:gd name="connsiteX99" fmla="*/ 4367206 w 4527226"/>
              <a:gd name="connsiteY99" fmla="*/ 5726868 h 6046908"/>
              <a:gd name="connsiteX100" fmla="*/ 4527226 w 4527226"/>
              <a:gd name="connsiteY100" fmla="*/ 6046908 h 6046908"/>
              <a:gd name="connsiteX0" fmla="*/ 541966 w 4527226"/>
              <a:gd name="connsiteY0" fmla="*/ 5521128 h 6046908"/>
              <a:gd name="connsiteX1" fmla="*/ 564826 w 4527226"/>
              <a:gd name="connsiteY1" fmla="*/ 5353488 h 6046908"/>
              <a:gd name="connsiteX2" fmla="*/ 602926 w 4527226"/>
              <a:gd name="connsiteY2" fmla="*/ 5223948 h 6046908"/>
              <a:gd name="connsiteX3" fmla="*/ 625786 w 4527226"/>
              <a:gd name="connsiteY3" fmla="*/ 5178228 h 6046908"/>
              <a:gd name="connsiteX4" fmla="*/ 701986 w 4527226"/>
              <a:gd name="connsiteY4" fmla="*/ 5071548 h 6046908"/>
              <a:gd name="connsiteX5" fmla="*/ 717226 w 4527226"/>
              <a:gd name="connsiteY5" fmla="*/ 5063928 h 6046908"/>
              <a:gd name="connsiteX6" fmla="*/ 709606 w 4527226"/>
              <a:gd name="connsiteY6" fmla="*/ 5025828 h 6046908"/>
              <a:gd name="connsiteX7" fmla="*/ 701986 w 4527226"/>
              <a:gd name="connsiteY7" fmla="*/ 5002968 h 6046908"/>
              <a:gd name="connsiteX8" fmla="*/ 968686 w 4527226"/>
              <a:gd name="connsiteY8" fmla="*/ 4682928 h 6046908"/>
              <a:gd name="connsiteX9" fmla="*/ 961066 w 4527226"/>
              <a:gd name="connsiteY9" fmla="*/ 4644828 h 6046908"/>
              <a:gd name="connsiteX10" fmla="*/ 1342066 w 4527226"/>
              <a:gd name="connsiteY10" fmla="*/ 4172388 h 6046908"/>
              <a:gd name="connsiteX11" fmla="*/ 1258246 w 4527226"/>
              <a:gd name="connsiteY11" fmla="*/ 4012368 h 6046908"/>
              <a:gd name="connsiteX12" fmla="*/ 1204906 w 4527226"/>
              <a:gd name="connsiteY12" fmla="*/ 3928548 h 6046908"/>
              <a:gd name="connsiteX13" fmla="*/ 1174426 w 4527226"/>
              <a:gd name="connsiteY13" fmla="*/ 3768528 h 6046908"/>
              <a:gd name="connsiteX14" fmla="*/ 1151566 w 4527226"/>
              <a:gd name="connsiteY14" fmla="*/ 3699948 h 6046908"/>
              <a:gd name="connsiteX15" fmla="*/ 1143946 w 4527226"/>
              <a:gd name="connsiteY15" fmla="*/ 3669468 h 6046908"/>
              <a:gd name="connsiteX16" fmla="*/ 1067746 w 4527226"/>
              <a:gd name="connsiteY16" fmla="*/ 3661848 h 6046908"/>
              <a:gd name="connsiteX17" fmla="*/ 938206 w 4527226"/>
              <a:gd name="connsiteY17" fmla="*/ 3669468 h 6046908"/>
              <a:gd name="connsiteX18" fmla="*/ 831526 w 4527226"/>
              <a:gd name="connsiteY18" fmla="*/ 3692328 h 6046908"/>
              <a:gd name="connsiteX19" fmla="*/ 610546 w 4527226"/>
              <a:gd name="connsiteY19" fmla="*/ 3738048 h 6046908"/>
              <a:gd name="connsiteX20" fmla="*/ 389566 w 4527226"/>
              <a:gd name="connsiteY20" fmla="*/ 3638988 h 6046908"/>
              <a:gd name="connsiteX21" fmla="*/ 381946 w 4527226"/>
              <a:gd name="connsiteY21" fmla="*/ 3326568 h 6046908"/>
              <a:gd name="connsiteX22" fmla="*/ 420046 w 4527226"/>
              <a:gd name="connsiteY22" fmla="*/ 3227508 h 6046908"/>
              <a:gd name="connsiteX23" fmla="*/ 389566 w 4527226"/>
              <a:gd name="connsiteY23" fmla="*/ 3166548 h 6046908"/>
              <a:gd name="connsiteX24" fmla="*/ 351466 w 4527226"/>
              <a:gd name="connsiteY24" fmla="*/ 3105588 h 6046908"/>
              <a:gd name="connsiteX25" fmla="*/ 397186 w 4527226"/>
              <a:gd name="connsiteY25" fmla="*/ 3021768 h 6046908"/>
              <a:gd name="connsiteX26" fmla="*/ 488626 w 4527226"/>
              <a:gd name="connsiteY26" fmla="*/ 2998908 h 6046908"/>
              <a:gd name="connsiteX27" fmla="*/ 471956 w 4527226"/>
              <a:gd name="connsiteY27" fmla="*/ 2942709 h 6046908"/>
              <a:gd name="connsiteX28" fmla="*/ 435286 w 4527226"/>
              <a:gd name="connsiteY28" fmla="*/ 2930328 h 6046908"/>
              <a:gd name="connsiteX29" fmla="*/ 389566 w 4527226"/>
              <a:gd name="connsiteY29" fmla="*/ 2930328 h 6046908"/>
              <a:gd name="connsiteX30" fmla="*/ 314000 w 4527226"/>
              <a:gd name="connsiteY30" fmla="*/ 2893495 h 6046908"/>
              <a:gd name="connsiteX31" fmla="*/ 320986 w 4527226"/>
              <a:gd name="connsiteY31" fmla="*/ 2846508 h 6046908"/>
              <a:gd name="connsiteX32" fmla="*/ 328606 w 4527226"/>
              <a:gd name="connsiteY32" fmla="*/ 2793168 h 6046908"/>
              <a:gd name="connsiteX33" fmla="*/ 313366 w 4527226"/>
              <a:gd name="connsiteY33" fmla="*/ 2732208 h 6046908"/>
              <a:gd name="connsiteX34" fmla="*/ 267646 w 4527226"/>
              <a:gd name="connsiteY34" fmla="*/ 2671248 h 6046908"/>
              <a:gd name="connsiteX35" fmla="*/ 176206 w 4527226"/>
              <a:gd name="connsiteY35" fmla="*/ 2656008 h 6046908"/>
              <a:gd name="connsiteX36" fmla="*/ 54286 w 4527226"/>
              <a:gd name="connsiteY36" fmla="*/ 2610288 h 6046908"/>
              <a:gd name="connsiteX37" fmla="*/ 7931 w 4527226"/>
              <a:gd name="connsiteY37" fmla="*/ 2563298 h 6046908"/>
              <a:gd name="connsiteX38" fmla="*/ 8566 w 4527226"/>
              <a:gd name="connsiteY38" fmla="*/ 2488368 h 6046908"/>
              <a:gd name="connsiteX39" fmla="*/ 92386 w 4527226"/>
              <a:gd name="connsiteY39" fmla="*/ 2335968 h 6046908"/>
              <a:gd name="connsiteX40" fmla="*/ 221926 w 4527226"/>
              <a:gd name="connsiteY40" fmla="*/ 2175948 h 6046908"/>
              <a:gd name="connsiteX41" fmla="*/ 282886 w 4527226"/>
              <a:gd name="connsiteY41" fmla="*/ 2084508 h 6046908"/>
              <a:gd name="connsiteX42" fmla="*/ 328606 w 4527226"/>
              <a:gd name="connsiteY42" fmla="*/ 1977828 h 6046908"/>
              <a:gd name="connsiteX43" fmla="*/ 359086 w 4527226"/>
              <a:gd name="connsiteY43" fmla="*/ 1871148 h 6046908"/>
              <a:gd name="connsiteX44" fmla="*/ 374326 w 4527226"/>
              <a:gd name="connsiteY44" fmla="*/ 1810188 h 6046908"/>
              <a:gd name="connsiteX45" fmla="*/ 343846 w 4527226"/>
              <a:gd name="connsiteY45" fmla="*/ 1756848 h 6046908"/>
              <a:gd name="connsiteX46" fmla="*/ 328606 w 4527226"/>
              <a:gd name="connsiteY46" fmla="*/ 1680648 h 6046908"/>
              <a:gd name="connsiteX47" fmla="*/ 412426 w 4527226"/>
              <a:gd name="connsiteY47" fmla="*/ 1474908 h 6046908"/>
              <a:gd name="connsiteX48" fmla="*/ 442906 w 4527226"/>
              <a:gd name="connsiteY48" fmla="*/ 1307268 h 6046908"/>
              <a:gd name="connsiteX49" fmla="*/ 465766 w 4527226"/>
              <a:gd name="connsiteY49" fmla="*/ 1192968 h 6046908"/>
              <a:gd name="connsiteX50" fmla="*/ 503866 w 4527226"/>
              <a:gd name="connsiteY50" fmla="*/ 1055808 h 6046908"/>
              <a:gd name="connsiteX51" fmla="*/ 557206 w 4527226"/>
              <a:gd name="connsiteY51" fmla="*/ 888168 h 6046908"/>
              <a:gd name="connsiteX52" fmla="*/ 503866 w 4527226"/>
              <a:gd name="connsiteY52" fmla="*/ 888168 h 6046908"/>
              <a:gd name="connsiteX53" fmla="*/ 412426 w 4527226"/>
              <a:gd name="connsiteY53" fmla="*/ 834828 h 6046908"/>
              <a:gd name="connsiteX54" fmla="*/ 328606 w 4527226"/>
              <a:gd name="connsiteY54" fmla="*/ 789108 h 6046908"/>
              <a:gd name="connsiteX55" fmla="*/ 260026 w 4527226"/>
              <a:gd name="connsiteY55" fmla="*/ 773868 h 6046908"/>
              <a:gd name="connsiteX56" fmla="*/ 214306 w 4527226"/>
              <a:gd name="connsiteY56" fmla="*/ 751008 h 6046908"/>
              <a:gd name="connsiteX57" fmla="*/ 260026 w 4527226"/>
              <a:gd name="connsiteY57" fmla="*/ 674808 h 6046908"/>
              <a:gd name="connsiteX58" fmla="*/ 374326 w 4527226"/>
              <a:gd name="connsiteY58" fmla="*/ 606228 h 6046908"/>
              <a:gd name="connsiteX59" fmla="*/ 557206 w 4527226"/>
              <a:gd name="connsiteY59" fmla="*/ 507168 h 6046908"/>
              <a:gd name="connsiteX60" fmla="*/ 656266 w 4527226"/>
              <a:gd name="connsiteY60" fmla="*/ 423348 h 6046908"/>
              <a:gd name="connsiteX61" fmla="*/ 892486 w 4527226"/>
              <a:gd name="connsiteY61" fmla="*/ 232848 h 6046908"/>
              <a:gd name="connsiteX62" fmla="*/ 1174426 w 4527226"/>
              <a:gd name="connsiteY62" fmla="*/ 80448 h 6046908"/>
              <a:gd name="connsiteX63" fmla="*/ 1593526 w 4527226"/>
              <a:gd name="connsiteY63" fmla="*/ 11868 h 6046908"/>
              <a:gd name="connsiteX64" fmla="*/ 1944046 w 4527226"/>
              <a:gd name="connsiteY64" fmla="*/ 4248 h 6046908"/>
              <a:gd name="connsiteX65" fmla="*/ 2172646 w 4527226"/>
              <a:gd name="connsiteY65" fmla="*/ 4248 h 6046908"/>
              <a:gd name="connsiteX66" fmla="*/ 2393626 w 4527226"/>
              <a:gd name="connsiteY66" fmla="*/ 57588 h 6046908"/>
              <a:gd name="connsiteX67" fmla="*/ 2667946 w 4527226"/>
              <a:gd name="connsiteY67" fmla="*/ 133788 h 6046908"/>
              <a:gd name="connsiteX68" fmla="*/ 2820346 w 4527226"/>
              <a:gd name="connsiteY68" fmla="*/ 202368 h 6046908"/>
              <a:gd name="connsiteX69" fmla="*/ 3102286 w 4527226"/>
              <a:gd name="connsiteY69" fmla="*/ 400488 h 6046908"/>
              <a:gd name="connsiteX70" fmla="*/ 3285166 w 4527226"/>
              <a:gd name="connsiteY70" fmla="*/ 651948 h 6046908"/>
              <a:gd name="connsiteX71" fmla="*/ 3407086 w 4527226"/>
              <a:gd name="connsiteY71" fmla="*/ 918648 h 6046908"/>
              <a:gd name="connsiteX72" fmla="*/ 3475666 w 4527226"/>
              <a:gd name="connsiteY72" fmla="*/ 1238688 h 6046908"/>
              <a:gd name="connsiteX73" fmla="*/ 3506146 w 4527226"/>
              <a:gd name="connsiteY73" fmla="*/ 1543488 h 6046908"/>
              <a:gd name="connsiteX74" fmla="*/ 3506146 w 4527226"/>
              <a:gd name="connsiteY74" fmla="*/ 1962588 h 6046908"/>
              <a:gd name="connsiteX75" fmla="*/ 3338506 w 4527226"/>
              <a:gd name="connsiteY75" fmla="*/ 2305488 h 6046908"/>
              <a:gd name="connsiteX76" fmla="*/ 3254686 w 4527226"/>
              <a:gd name="connsiteY76" fmla="*/ 2473128 h 6046908"/>
              <a:gd name="connsiteX77" fmla="*/ 3132766 w 4527226"/>
              <a:gd name="connsiteY77" fmla="*/ 2663628 h 6046908"/>
              <a:gd name="connsiteX78" fmla="*/ 3071806 w 4527226"/>
              <a:gd name="connsiteY78" fmla="*/ 2838888 h 6046908"/>
              <a:gd name="connsiteX79" fmla="*/ 3064186 w 4527226"/>
              <a:gd name="connsiteY79" fmla="*/ 2915088 h 6046908"/>
              <a:gd name="connsiteX80" fmla="*/ 3018466 w 4527226"/>
              <a:gd name="connsiteY80" fmla="*/ 3014148 h 6046908"/>
              <a:gd name="connsiteX81" fmla="*/ 2980366 w 4527226"/>
              <a:gd name="connsiteY81" fmla="*/ 3082728 h 6046908"/>
              <a:gd name="connsiteX82" fmla="*/ 2957506 w 4527226"/>
              <a:gd name="connsiteY82" fmla="*/ 3120828 h 6046908"/>
              <a:gd name="connsiteX83" fmla="*/ 2957506 w 4527226"/>
              <a:gd name="connsiteY83" fmla="*/ 3555168 h 6046908"/>
              <a:gd name="connsiteX84" fmla="*/ 3010846 w 4527226"/>
              <a:gd name="connsiteY84" fmla="*/ 3539928 h 6046908"/>
              <a:gd name="connsiteX85" fmla="*/ 3109906 w 4527226"/>
              <a:gd name="connsiteY85" fmla="*/ 3570408 h 6046908"/>
              <a:gd name="connsiteX86" fmla="*/ 3140386 w 4527226"/>
              <a:gd name="connsiteY86" fmla="*/ 3631368 h 6046908"/>
              <a:gd name="connsiteX87" fmla="*/ 3117526 w 4527226"/>
              <a:gd name="connsiteY87" fmla="*/ 3738048 h 6046908"/>
              <a:gd name="connsiteX88" fmla="*/ 3125146 w 4527226"/>
              <a:gd name="connsiteY88" fmla="*/ 4103808 h 6046908"/>
              <a:gd name="connsiteX89" fmla="*/ 3163246 w 4527226"/>
              <a:gd name="connsiteY89" fmla="*/ 4157148 h 6046908"/>
              <a:gd name="connsiteX90" fmla="*/ 3201346 w 4527226"/>
              <a:gd name="connsiteY90" fmla="*/ 4164768 h 6046908"/>
              <a:gd name="connsiteX91" fmla="*/ 3231826 w 4527226"/>
              <a:gd name="connsiteY91" fmla="*/ 4172388 h 6046908"/>
              <a:gd name="connsiteX92" fmla="*/ 3285166 w 4527226"/>
              <a:gd name="connsiteY92" fmla="*/ 4294308 h 6046908"/>
              <a:gd name="connsiteX93" fmla="*/ 3300406 w 4527226"/>
              <a:gd name="connsiteY93" fmla="*/ 4347648 h 6046908"/>
              <a:gd name="connsiteX94" fmla="*/ 3330886 w 4527226"/>
              <a:gd name="connsiteY94" fmla="*/ 4408608 h 6046908"/>
              <a:gd name="connsiteX95" fmla="*/ 3551866 w 4527226"/>
              <a:gd name="connsiteY95" fmla="*/ 4644828 h 6046908"/>
              <a:gd name="connsiteX96" fmla="*/ 3887146 w 4527226"/>
              <a:gd name="connsiteY96" fmla="*/ 5025828 h 6046908"/>
              <a:gd name="connsiteX97" fmla="*/ 4100506 w 4527226"/>
              <a:gd name="connsiteY97" fmla="*/ 5300148 h 6046908"/>
              <a:gd name="connsiteX98" fmla="*/ 4367206 w 4527226"/>
              <a:gd name="connsiteY98" fmla="*/ 5726868 h 6046908"/>
              <a:gd name="connsiteX99" fmla="*/ 4527226 w 4527226"/>
              <a:gd name="connsiteY99" fmla="*/ 6046908 h 6046908"/>
              <a:gd name="connsiteX0" fmla="*/ 564826 w 4527226"/>
              <a:gd name="connsiteY0" fmla="*/ 5353488 h 6046908"/>
              <a:gd name="connsiteX1" fmla="*/ 602926 w 4527226"/>
              <a:gd name="connsiteY1" fmla="*/ 5223948 h 6046908"/>
              <a:gd name="connsiteX2" fmla="*/ 625786 w 4527226"/>
              <a:gd name="connsiteY2" fmla="*/ 5178228 h 6046908"/>
              <a:gd name="connsiteX3" fmla="*/ 701986 w 4527226"/>
              <a:gd name="connsiteY3" fmla="*/ 5071548 h 6046908"/>
              <a:gd name="connsiteX4" fmla="*/ 717226 w 4527226"/>
              <a:gd name="connsiteY4" fmla="*/ 5063928 h 6046908"/>
              <a:gd name="connsiteX5" fmla="*/ 709606 w 4527226"/>
              <a:gd name="connsiteY5" fmla="*/ 5025828 h 6046908"/>
              <a:gd name="connsiteX6" fmla="*/ 701986 w 4527226"/>
              <a:gd name="connsiteY6" fmla="*/ 5002968 h 6046908"/>
              <a:gd name="connsiteX7" fmla="*/ 968686 w 4527226"/>
              <a:gd name="connsiteY7" fmla="*/ 4682928 h 6046908"/>
              <a:gd name="connsiteX8" fmla="*/ 961066 w 4527226"/>
              <a:gd name="connsiteY8" fmla="*/ 4644828 h 6046908"/>
              <a:gd name="connsiteX9" fmla="*/ 1342066 w 4527226"/>
              <a:gd name="connsiteY9" fmla="*/ 4172388 h 6046908"/>
              <a:gd name="connsiteX10" fmla="*/ 1258246 w 4527226"/>
              <a:gd name="connsiteY10" fmla="*/ 4012368 h 6046908"/>
              <a:gd name="connsiteX11" fmla="*/ 1204906 w 4527226"/>
              <a:gd name="connsiteY11" fmla="*/ 3928548 h 6046908"/>
              <a:gd name="connsiteX12" fmla="*/ 1174426 w 4527226"/>
              <a:gd name="connsiteY12" fmla="*/ 3768528 h 6046908"/>
              <a:gd name="connsiteX13" fmla="*/ 1151566 w 4527226"/>
              <a:gd name="connsiteY13" fmla="*/ 3699948 h 6046908"/>
              <a:gd name="connsiteX14" fmla="*/ 1143946 w 4527226"/>
              <a:gd name="connsiteY14" fmla="*/ 3669468 h 6046908"/>
              <a:gd name="connsiteX15" fmla="*/ 1067746 w 4527226"/>
              <a:gd name="connsiteY15" fmla="*/ 3661848 h 6046908"/>
              <a:gd name="connsiteX16" fmla="*/ 938206 w 4527226"/>
              <a:gd name="connsiteY16" fmla="*/ 3669468 h 6046908"/>
              <a:gd name="connsiteX17" fmla="*/ 831526 w 4527226"/>
              <a:gd name="connsiteY17" fmla="*/ 3692328 h 6046908"/>
              <a:gd name="connsiteX18" fmla="*/ 610546 w 4527226"/>
              <a:gd name="connsiteY18" fmla="*/ 3738048 h 6046908"/>
              <a:gd name="connsiteX19" fmla="*/ 389566 w 4527226"/>
              <a:gd name="connsiteY19" fmla="*/ 3638988 h 6046908"/>
              <a:gd name="connsiteX20" fmla="*/ 381946 w 4527226"/>
              <a:gd name="connsiteY20" fmla="*/ 3326568 h 6046908"/>
              <a:gd name="connsiteX21" fmla="*/ 420046 w 4527226"/>
              <a:gd name="connsiteY21" fmla="*/ 3227508 h 6046908"/>
              <a:gd name="connsiteX22" fmla="*/ 389566 w 4527226"/>
              <a:gd name="connsiteY22" fmla="*/ 3166548 h 6046908"/>
              <a:gd name="connsiteX23" fmla="*/ 351466 w 4527226"/>
              <a:gd name="connsiteY23" fmla="*/ 3105588 h 6046908"/>
              <a:gd name="connsiteX24" fmla="*/ 397186 w 4527226"/>
              <a:gd name="connsiteY24" fmla="*/ 3021768 h 6046908"/>
              <a:gd name="connsiteX25" fmla="*/ 488626 w 4527226"/>
              <a:gd name="connsiteY25" fmla="*/ 2998908 h 6046908"/>
              <a:gd name="connsiteX26" fmla="*/ 471956 w 4527226"/>
              <a:gd name="connsiteY26" fmla="*/ 2942709 h 6046908"/>
              <a:gd name="connsiteX27" fmla="*/ 435286 w 4527226"/>
              <a:gd name="connsiteY27" fmla="*/ 2930328 h 6046908"/>
              <a:gd name="connsiteX28" fmla="*/ 389566 w 4527226"/>
              <a:gd name="connsiteY28" fmla="*/ 2930328 h 6046908"/>
              <a:gd name="connsiteX29" fmla="*/ 314000 w 4527226"/>
              <a:gd name="connsiteY29" fmla="*/ 2893495 h 6046908"/>
              <a:gd name="connsiteX30" fmla="*/ 320986 w 4527226"/>
              <a:gd name="connsiteY30" fmla="*/ 2846508 h 6046908"/>
              <a:gd name="connsiteX31" fmla="*/ 328606 w 4527226"/>
              <a:gd name="connsiteY31" fmla="*/ 2793168 h 6046908"/>
              <a:gd name="connsiteX32" fmla="*/ 313366 w 4527226"/>
              <a:gd name="connsiteY32" fmla="*/ 2732208 h 6046908"/>
              <a:gd name="connsiteX33" fmla="*/ 267646 w 4527226"/>
              <a:gd name="connsiteY33" fmla="*/ 2671248 h 6046908"/>
              <a:gd name="connsiteX34" fmla="*/ 176206 w 4527226"/>
              <a:gd name="connsiteY34" fmla="*/ 2656008 h 6046908"/>
              <a:gd name="connsiteX35" fmla="*/ 54286 w 4527226"/>
              <a:gd name="connsiteY35" fmla="*/ 2610288 h 6046908"/>
              <a:gd name="connsiteX36" fmla="*/ 7931 w 4527226"/>
              <a:gd name="connsiteY36" fmla="*/ 2563298 h 6046908"/>
              <a:gd name="connsiteX37" fmla="*/ 8566 w 4527226"/>
              <a:gd name="connsiteY37" fmla="*/ 2488368 h 6046908"/>
              <a:gd name="connsiteX38" fmla="*/ 92386 w 4527226"/>
              <a:gd name="connsiteY38" fmla="*/ 2335968 h 6046908"/>
              <a:gd name="connsiteX39" fmla="*/ 221926 w 4527226"/>
              <a:gd name="connsiteY39" fmla="*/ 2175948 h 6046908"/>
              <a:gd name="connsiteX40" fmla="*/ 282886 w 4527226"/>
              <a:gd name="connsiteY40" fmla="*/ 2084508 h 6046908"/>
              <a:gd name="connsiteX41" fmla="*/ 328606 w 4527226"/>
              <a:gd name="connsiteY41" fmla="*/ 1977828 h 6046908"/>
              <a:gd name="connsiteX42" fmla="*/ 359086 w 4527226"/>
              <a:gd name="connsiteY42" fmla="*/ 1871148 h 6046908"/>
              <a:gd name="connsiteX43" fmla="*/ 374326 w 4527226"/>
              <a:gd name="connsiteY43" fmla="*/ 1810188 h 6046908"/>
              <a:gd name="connsiteX44" fmla="*/ 343846 w 4527226"/>
              <a:gd name="connsiteY44" fmla="*/ 1756848 h 6046908"/>
              <a:gd name="connsiteX45" fmla="*/ 328606 w 4527226"/>
              <a:gd name="connsiteY45" fmla="*/ 1680648 h 6046908"/>
              <a:gd name="connsiteX46" fmla="*/ 412426 w 4527226"/>
              <a:gd name="connsiteY46" fmla="*/ 1474908 h 6046908"/>
              <a:gd name="connsiteX47" fmla="*/ 442906 w 4527226"/>
              <a:gd name="connsiteY47" fmla="*/ 1307268 h 6046908"/>
              <a:gd name="connsiteX48" fmla="*/ 465766 w 4527226"/>
              <a:gd name="connsiteY48" fmla="*/ 1192968 h 6046908"/>
              <a:gd name="connsiteX49" fmla="*/ 503866 w 4527226"/>
              <a:gd name="connsiteY49" fmla="*/ 1055808 h 6046908"/>
              <a:gd name="connsiteX50" fmla="*/ 557206 w 4527226"/>
              <a:gd name="connsiteY50" fmla="*/ 888168 h 6046908"/>
              <a:gd name="connsiteX51" fmla="*/ 503866 w 4527226"/>
              <a:gd name="connsiteY51" fmla="*/ 888168 h 6046908"/>
              <a:gd name="connsiteX52" fmla="*/ 412426 w 4527226"/>
              <a:gd name="connsiteY52" fmla="*/ 834828 h 6046908"/>
              <a:gd name="connsiteX53" fmla="*/ 328606 w 4527226"/>
              <a:gd name="connsiteY53" fmla="*/ 789108 h 6046908"/>
              <a:gd name="connsiteX54" fmla="*/ 260026 w 4527226"/>
              <a:gd name="connsiteY54" fmla="*/ 773868 h 6046908"/>
              <a:gd name="connsiteX55" fmla="*/ 214306 w 4527226"/>
              <a:gd name="connsiteY55" fmla="*/ 751008 h 6046908"/>
              <a:gd name="connsiteX56" fmla="*/ 260026 w 4527226"/>
              <a:gd name="connsiteY56" fmla="*/ 674808 h 6046908"/>
              <a:gd name="connsiteX57" fmla="*/ 374326 w 4527226"/>
              <a:gd name="connsiteY57" fmla="*/ 606228 h 6046908"/>
              <a:gd name="connsiteX58" fmla="*/ 557206 w 4527226"/>
              <a:gd name="connsiteY58" fmla="*/ 507168 h 6046908"/>
              <a:gd name="connsiteX59" fmla="*/ 656266 w 4527226"/>
              <a:gd name="connsiteY59" fmla="*/ 423348 h 6046908"/>
              <a:gd name="connsiteX60" fmla="*/ 892486 w 4527226"/>
              <a:gd name="connsiteY60" fmla="*/ 232848 h 6046908"/>
              <a:gd name="connsiteX61" fmla="*/ 1174426 w 4527226"/>
              <a:gd name="connsiteY61" fmla="*/ 80448 h 6046908"/>
              <a:gd name="connsiteX62" fmla="*/ 1593526 w 4527226"/>
              <a:gd name="connsiteY62" fmla="*/ 11868 h 6046908"/>
              <a:gd name="connsiteX63" fmla="*/ 1944046 w 4527226"/>
              <a:gd name="connsiteY63" fmla="*/ 4248 h 6046908"/>
              <a:gd name="connsiteX64" fmla="*/ 2172646 w 4527226"/>
              <a:gd name="connsiteY64" fmla="*/ 4248 h 6046908"/>
              <a:gd name="connsiteX65" fmla="*/ 2393626 w 4527226"/>
              <a:gd name="connsiteY65" fmla="*/ 57588 h 6046908"/>
              <a:gd name="connsiteX66" fmla="*/ 2667946 w 4527226"/>
              <a:gd name="connsiteY66" fmla="*/ 133788 h 6046908"/>
              <a:gd name="connsiteX67" fmla="*/ 2820346 w 4527226"/>
              <a:gd name="connsiteY67" fmla="*/ 202368 h 6046908"/>
              <a:gd name="connsiteX68" fmla="*/ 3102286 w 4527226"/>
              <a:gd name="connsiteY68" fmla="*/ 400488 h 6046908"/>
              <a:gd name="connsiteX69" fmla="*/ 3285166 w 4527226"/>
              <a:gd name="connsiteY69" fmla="*/ 651948 h 6046908"/>
              <a:gd name="connsiteX70" fmla="*/ 3407086 w 4527226"/>
              <a:gd name="connsiteY70" fmla="*/ 918648 h 6046908"/>
              <a:gd name="connsiteX71" fmla="*/ 3475666 w 4527226"/>
              <a:gd name="connsiteY71" fmla="*/ 1238688 h 6046908"/>
              <a:gd name="connsiteX72" fmla="*/ 3506146 w 4527226"/>
              <a:gd name="connsiteY72" fmla="*/ 1543488 h 6046908"/>
              <a:gd name="connsiteX73" fmla="*/ 3506146 w 4527226"/>
              <a:gd name="connsiteY73" fmla="*/ 1962588 h 6046908"/>
              <a:gd name="connsiteX74" fmla="*/ 3338506 w 4527226"/>
              <a:gd name="connsiteY74" fmla="*/ 2305488 h 6046908"/>
              <a:gd name="connsiteX75" fmla="*/ 3254686 w 4527226"/>
              <a:gd name="connsiteY75" fmla="*/ 2473128 h 6046908"/>
              <a:gd name="connsiteX76" fmla="*/ 3132766 w 4527226"/>
              <a:gd name="connsiteY76" fmla="*/ 2663628 h 6046908"/>
              <a:gd name="connsiteX77" fmla="*/ 3071806 w 4527226"/>
              <a:gd name="connsiteY77" fmla="*/ 2838888 h 6046908"/>
              <a:gd name="connsiteX78" fmla="*/ 3064186 w 4527226"/>
              <a:gd name="connsiteY78" fmla="*/ 2915088 h 6046908"/>
              <a:gd name="connsiteX79" fmla="*/ 3018466 w 4527226"/>
              <a:gd name="connsiteY79" fmla="*/ 3014148 h 6046908"/>
              <a:gd name="connsiteX80" fmla="*/ 2980366 w 4527226"/>
              <a:gd name="connsiteY80" fmla="*/ 3082728 h 6046908"/>
              <a:gd name="connsiteX81" fmla="*/ 2957506 w 4527226"/>
              <a:gd name="connsiteY81" fmla="*/ 3120828 h 6046908"/>
              <a:gd name="connsiteX82" fmla="*/ 2957506 w 4527226"/>
              <a:gd name="connsiteY82" fmla="*/ 3555168 h 6046908"/>
              <a:gd name="connsiteX83" fmla="*/ 3010846 w 4527226"/>
              <a:gd name="connsiteY83" fmla="*/ 3539928 h 6046908"/>
              <a:gd name="connsiteX84" fmla="*/ 3109906 w 4527226"/>
              <a:gd name="connsiteY84" fmla="*/ 3570408 h 6046908"/>
              <a:gd name="connsiteX85" fmla="*/ 3140386 w 4527226"/>
              <a:gd name="connsiteY85" fmla="*/ 3631368 h 6046908"/>
              <a:gd name="connsiteX86" fmla="*/ 3117526 w 4527226"/>
              <a:gd name="connsiteY86" fmla="*/ 3738048 h 6046908"/>
              <a:gd name="connsiteX87" fmla="*/ 3125146 w 4527226"/>
              <a:gd name="connsiteY87" fmla="*/ 4103808 h 6046908"/>
              <a:gd name="connsiteX88" fmla="*/ 3163246 w 4527226"/>
              <a:gd name="connsiteY88" fmla="*/ 4157148 h 6046908"/>
              <a:gd name="connsiteX89" fmla="*/ 3201346 w 4527226"/>
              <a:gd name="connsiteY89" fmla="*/ 4164768 h 6046908"/>
              <a:gd name="connsiteX90" fmla="*/ 3231826 w 4527226"/>
              <a:gd name="connsiteY90" fmla="*/ 4172388 h 6046908"/>
              <a:gd name="connsiteX91" fmla="*/ 3285166 w 4527226"/>
              <a:gd name="connsiteY91" fmla="*/ 4294308 h 6046908"/>
              <a:gd name="connsiteX92" fmla="*/ 3300406 w 4527226"/>
              <a:gd name="connsiteY92" fmla="*/ 4347648 h 6046908"/>
              <a:gd name="connsiteX93" fmla="*/ 3330886 w 4527226"/>
              <a:gd name="connsiteY93" fmla="*/ 4408608 h 6046908"/>
              <a:gd name="connsiteX94" fmla="*/ 3551866 w 4527226"/>
              <a:gd name="connsiteY94" fmla="*/ 4644828 h 6046908"/>
              <a:gd name="connsiteX95" fmla="*/ 3887146 w 4527226"/>
              <a:gd name="connsiteY95" fmla="*/ 5025828 h 6046908"/>
              <a:gd name="connsiteX96" fmla="*/ 4100506 w 4527226"/>
              <a:gd name="connsiteY96" fmla="*/ 5300148 h 6046908"/>
              <a:gd name="connsiteX97" fmla="*/ 4367206 w 4527226"/>
              <a:gd name="connsiteY97" fmla="*/ 5726868 h 6046908"/>
              <a:gd name="connsiteX98" fmla="*/ 4527226 w 4527226"/>
              <a:gd name="connsiteY98" fmla="*/ 6046908 h 6046908"/>
              <a:gd name="connsiteX0" fmla="*/ 602926 w 4527226"/>
              <a:gd name="connsiteY0" fmla="*/ 5223948 h 6046908"/>
              <a:gd name="connsiteX1" fmla="*/ 625786 w 4527226"/>
              <a:gd name="connsiteY1" fmla="*/ 5178228 h 6046908"/>
              <a:gd name="connsiteX2" fmla="*/ 701986 w 4527226"/>
              <a:gd name="connsiteY2" fmla="*/ 5071548 h 6046908"/>
              <a:gd name="connsiteX3" fmla="*/ 717226 w 4527226"/>
              <a:gd name="connsiteY3" fmla="*/ 5063928 h 6046908"/>
              <a:gd name="connsiteX4" fmla="*/ 709606 w 4527226"/>
              <a:gd name="connsiteY4" fmla="*/ 5025828 h 6046908"/>
              <a:gd name="connsiteX5" fmla="*/ 701986 w 4527226"/>
              <a:gd name="connsiteY5" fmla="*/ 5002968 h 6046908"/>
              <a:gd name="connsiteX6" fmla="*/ 968686 w 4527226"/>
              <a:gd name="connsiteY6" fmla="*/ 4682928 h 6046908"/>
              <a:gd name="connsiteX7" fmla="*/ 961066 w 4527226"/>
              <a:gd name="connsiteY7" fmla="*/ 4644828 h 6046908"/>
              <a:gd name="connsiteX8" fmla="*/ 1342066 w 4527226"/>
              <a:gd name="connsiteY8" fmla="*/ 4172388 h 6046908"/>
              <a:gd name="connsiteX9" fmla="*/ 1258246 w 4527226"/>
              <a:gd name="connsiteY9" fmla="*/ 4012368 h 6046908"/>
              <a:gd name="connsiteX10" fmla="*/ 1204906 w 4527226"/>
              <a:gd name="connsiteY10" fmla="*/ 3928548 h 6046908"/>
              <a:gd name="connsiteX11" fmla="*/ 1174426 w 4527226"/>
              <a:gd name="connsiteY11" fmla="*/ 3768528 h 6046908"/>
              <a:gd name="connsiteX12" fmla="*/ 1151566 w 4527226"/>
              <a:gd name="connsiteY12" fmla="*/ 3699948 h 6046908"/>
              <a:gd name="connsiteX13" fmla="*/ 1143946 w 4527226"/>
              <a:gd name="connsiteY13" fmla="*/ 3669468 h 6046908"/>
              <a:gd name="connsiteX14" fmla="*/ 1067746 w 4527226"/>
              <a:gd name="connsiteY14" fmla="*/ 3661848 h 6046908"/>
              <a:gd name="connsiteX15" fmla="*/ 938206 w 4527226"/>
              <a:gd name="connsiteY15" fmla="*/ 3669468 h 6046908"/>
              <a:gd name="connsiteX16" fmla="*/ 831526 w 4527226"/>
              <a:gd name="connsiteY16" fmla="*/ 3692328 h 6046908"/>
              <a:gd name="connsiteX17" fmla="*/ 610546 w 4527226"/>
              <a:gd name="connsiteY17" fmla="*/ 3738048 h 6046908"/>
              <a:gd name="connsiteX18" fmla="*/ 389566 w 4527226"/>
              <a:gd name="connsiteY18" fmla="*/ 3638988 h 6046908"/>
              <a:gd name="connsiteX19" fmla="*/ 381946 w 4527226"/>
              <a:gd name="connsiteY19" fmla="*/ 3326568 h 6046908"/>
              <a:gd name="connsiteX20" fmla="*/ 420046 w 4527226"/>
              <a:gd name="connsiteY20" fmla="*/ 3227508 h 6046908"/>
              <a:gd name="connsiteX21" fmla="*/ 389566 w 4527226"/>
              <a:gd name="connsiteY21" fmla="*/ 3166548 h 6046908"/>
              <a:gd name="connsiteX22" fmla="*/ 351466 w 4527226"/>
              <a:gd name="connsiteY22" fmla="*/ 3105588 h 6046908"/>
              <a:gd name="connsiteX23" fmla="*/ 397186 w 4527226"/>
              <a:gd name="connsiteY23" fmla="*/ 3021768 h 6046908"/>
              <a:gd name="connsiteX24" fmla="*/ 488626 w 4527226"/>
              <a:gd name="connsiteY24" fmla="*/ 2998908 h 6046908"/>
              <a:gd name="connsiteX25" fmla="*/ 471956 w 4527226"/>
              <a:gd name="connsiteY25" fmla="*/ 2942709 h 6046908"/>
              <a:gd name="connsiteX26" fmla="*/ 435286 w 4527226"/>
              <a:gd name="connsiteY26" fmla="*/ 2930328 h 6046908"/>
              <a:gd name="connsiteX27" fmla="*/ 389566 w 4527226"/>
              <a:gd name="connsiteY27" fmla="*/ 2930328 h 6046908"/>
              <a:gd name="connsiteX28" fmla="*/ 314000 w 4527226"/>
              <a:gd name="connsiteY28" fmla="*/ 2893495 h 6046908"/>
              <a:gd name="connsiteX29" fmla="*/ 320986 w 4527226"/>
              <a:gd name="connsiteY29" fmla="*/ 2846508 h 6046908"/>
              <a:gd name="connsiteX30" fmla="*/ 328606 w 4527226"/>
              <a:gd name="connsiteY30" fmla="*/ 2793168 h 6046908"/>
              <a:gd name="connsiteX31" fmla="*/ 313366 w 4527226"/>
              <a:gd name="connsiteY31" fmla="*/ 2732208 h 6046908"/>
              <a:gd name="connsiteX32" fmla="*/ 267646 w 4527226"/>
              <a:gd name="connsiteY32" fmla="*/ 2671248 h 6046908"/>
              <a:gd name="connsiteX33" fmla="*/ 176206 w 4527226"/>
              <a:gd name="connsiteY33" fmla="*/ 2656008 h 6046908"/>
              <a:gd name="connsiteX34" fmla="*/ 54286 w 4527226"/>
              <a:gd name="connsiteY34" fmla="*/ 2610288 h 6046908"/>
              <a:gd name="connsiteX35" fmla="*/ 7931 w 4527226"/>
              <a:gd name="connsiteY35" fmla="*/ 2563298 h 6046908"/>
              <a:gd name="connsiteX36" fmla="*/ 8566 w 4527226"/>
              <a:gd name="connsiteY36" fmla="*/ 2488368 h 6046908"/>
              <a:gd name="connsiteX37" fmla="*/ 92386 w 4527226"/>
              <a:gd name="connsiteY37" fmla="*/ 2335968 h 6046908"/>
              <a:gd name="connsiteX38" fmla="*/ 221926 w 4527226"/>
              <a:gd name="connsiteY38" fmla="*/ 2175948 h 6046908"/>
              <a:gd name="connsiteX39" fmla="*/ 282886 w 4527226"/>
              <a:gd name="connsiteY39" fmla="*/ 2084508 h 6046908"/>
              <a:gd name="connsiteX40" fmla="*/ 328606 w 4527226"/>
              <a:gd name="connsiteY40" fmla="*/ 1977828 h 6046908"/>
              <a:gd name="connsiteX41" fmla="*/ 359086 w 4527226"/>
              <a:gd name="connsiteY41" fmla="*/ 1871148 h 6046908"/>
              <a:gd name="connsiteX42" fmla="*/ 374326 w 4527226"/>
              <a:gd name="connsiteY42" fmla="*/ 1810188 h 6046908"/>
              <a:gd name="connsiteX43" fmla="*/ 343846 w 4527226"/>
              <a:gd name="connsiteY43" fmla="*/ 1756848 h 6046908"/>
              <a:gd name="connsiteX44" fmla="*/ 328606 w 4527226"/>
              <a:gd name="connsiteY44" fmla="*/ 1680648 h 6046908"/>
              <a:gd name="connsiteX45" fmla="*/ 412426 w 4527226"/>
              <a:gd name="connsiteY45" fmla="*/ 1474908 h 6046908"/>
              <a:gd name="connsiteX46" fmla="*/ 442906 w 4527226"/>
              <a:gd name="connsiteY46" fmla="*/ 1307268 h 6046908"/>
              <a:gd name="connsiteX47" fmla="*/ 465766 w 4527226"/>
              <a:gd name="connsiteY47" fmla="*/ 1192968 h 6046908"/>
              <a:gd name="connsiteX48" fmla="*/ 503866 w 4527226"/>
              <a:gd name="connsiteY48" fmla="*/ 1055808 h 6046908"/>
              <a:gd name="connsiteX49" fmla="*/ 557206 w 4527226"/>
              <a:gd name="connsiteY49" fmla="*/ 888168 h 6046908"/>
              <a:gd name="connsiteX50" fmla="*/ 503866 w 4527226"/>
              <a:gd name="connsiteY50" fmla="*/ 888168 h 6046908"/>
              <a:gd name="connsiteX51" fmla="*/ 412426 w 4527226"/>
              <a:gd name="connsiteY51" fmla="*/ 834828 h 6046908"/>
              <a:gd name="connsiteX52" fmla="*/ 328606 w 4527226"/>
              <a:gd name="connsiteY52" fmla="*/ 789108 h 6046908"/>
              <a:gd name="connsiteX53" fmla="*/ 260026 w 4527226"/>
              <a:gd name="connsiteY53" fmla="*/ 773868 h 6046908"/>
              <a:gd name="connsiteX54" fmla="*/ 214306 w 4527226"/>
              <a:gd name="connsiteY54" fmla="*/ 751008 h 6046908"/>
              <a:gd name="connsiteX55" fmla="*/ 260026 w 4527226"/>
              <a:gd name="connsiteY55" fmla="*/ 674808 h 6046908"/>
              <a:gd name="connsiteX56" fmla="*/ 374326 w 4527226"/>
              <a:gd name="connsiteY56" fmla="*/ 606228 h 6046908"/>
              <a:gd name="connsiteX57" fmla="*/ 557206 w 4527226"/>
              <a:gd name="connsiteY57" fmla="*/ 507168 h 6046908"/>
              <a:gd name="connsiteX58" fmla="*/ 656266 w 4527226"/>
              <a:gd name="connsiteY58" fmla="*/ 423348 h 6046908"/>
              <a:gd name="connsiteX59" fmla="*/ 892486 w 4527226"/>
              <a:gd name="connsiteY59" fmla="*/ 232848 h 6046908"/>
              <a:gd name="connsiteX60" fmla="*/ 1174426 w 4527226"/>
              <a:gd name="connsiteY60" fmla="*/ 80448 h 6046908"/>
              <a:gd name="connsiteX61" fmla="*/ 1593526 w 4527226"/>
              <a:gd name="connsiteY61" fmla="*/ 11868 h 6046908"/>
              <a:gd name="connsiteX62" fmla="*/ 1944046 w 4527226"/>
              <a:gd name="connsiteY62" fmla="*/ 4248 h 6046908"/>
              <a:gd name="connsiteX63" fmla="*/ 2172646 w 4527226"/>
              <a:gd name="connsiteY63" fmla="*/ 4248 h 6046908"/>
              <a:gd name="connsiteX64" fmla="*/ 2393626 w 4527226"/>
              <a:gd name="connsiteY64" fmla="*/ 57588 h 6046908"/>
              <a:gd name="connsiteX65" fmla="*/ 2667946 w 4527226"/>
              <a:gd name="connsiteY65" fmla="*/ 133788 h 6046908"/>
              <a:gd name="connsiteX66" fmla="*/ 2820346 w 4527226"/>
              <a:gd name="connsiteY66" fmla="*/ 202368 h 6046908"/>
              <a:gd name="connsiteX67" fmla="*/ 3102286 w 4527226"/>
              <a:gd name="connsiteY67" fmla="*/ 400488 h 6046908"/>
              <a:gd name="connsiteX68" fmla="*/ 3285166 w 4527226"/>
              <a:gd name="connsiteY68" fmla="*/ 651948 h 6046908"/>
              <a:gd name="connsiteX69" fmla="*/ 3407086 w 4527226"/>
              <a:gd name="connsiteY69" fmla="*/ 918648 h 6046908"/>
              <a:gd name="connsiteX70" fmla="*/ 3475666 w 4527226"/>
              <a:gd name="connsiteY70" fmla="*/ 1238688 h 6046908"/>
              <a:gd name="connsiteX71" fmla="*/ 3506146 w 4527226"/>
              <a:gd name="connsiteY71" fmla="*/ 1543488 h 6046908"/>
              <a:gd name="connsiteX72" fmla="*/ 3506146 w 4527226"/>
              <a:gd name="connsiteY72" fmla="*/ 1962588 h 6046908"/>
              <a:gd name="connsiteX73" fmla="*/ 3338506 w 4527226"/>
              <a:gd name="connsiteY73" fmla="*/ 2305488 h 6046908"/>
              <a:gd name="connsiteX74" fmla="*/ 3254686 w 4527226"/>
              <a:gd name="connsiteY74" fmla="*/ 2473128 h 6046908"/>
              <a:gd name="connsiteX75" fmla="*/ 3132766 w 4527226"/>
              <a:gd name="connsiteY75" fmla="*/ 2663628 h 6046908"/>
              <a:gd name="connsiteX76" fmla="*/ 3071806 w 4527226"/>
              <a:gd name="connsiteY76" fmla="*/ 2838888 h 6046908"/>
              <a:gd name="connsiteX77" fmla="*/ 3064186 w 4527226"/>
              <a:gd name="connsiteY77" fmla="*/ 2915088 h 6046908"/>
              <a:gd name="connsiteX78" fmla="*/ 3018466 w 4527226"/>
              <a:gd name="connsiteY78" fmla="*/ 3014148 h 6046908"/>
              <a:gd name="connsiteX79" fmla="*/ 2980366 w 4527226"/>
              <a:gd name="connsiteY79" fmla="*/ 3082728 h 6046908"/>
              <a:gd name="connsiteX80" fmla="*/ 2957506 w 4527226"/>
              <a:gd name="connsiteY80" fmla="*/ 3120828 h 6046908"/>
              <a:gd name="connsiteX81" fmla="*/ 2957506 w 4527226"/>
              <a:gd name="connsiteY81" fmla="*/ 3555168 h 6046908"/>
              <a:gd name="connsiteX82" fmla="*/ 3010846 w 4527226"/>
              <a:gd name="connsiteY82" fmla="*/ 3539928 h 6046908"/>
              <a:gd name="connsiteX83" fmla="*/ 3109906 w 4527226"/>
              <a:gd name="connsiteY83" fmla="*/ 3570408 h 6046908"/>
              <a:gd name="connsiteX84" fmla="*/ 3140386 w 4527226"/>
              <a:gd name="connsiteY84" fmla="*/ 3631368 h 6046908"/>
              <a:gd name="connsiteX85" fmla="*/ 3117526 w 4527226"/>
              <a:gd name="connsiteY85" fmla="*/ 3738048 h 6046908"/>
              <a:gd name="connsiteX86" fmla="*/ 3125146 w 4527226"/>
              <a:gd name="connsiteY86" fmla="*/ 4103808 h 6046908"/>
              <a:gd name="connsiteX87" fmla="*/ 3163246 w 4527226"/>
              <a:gd name="connsiteY87" fmla="*/ 4157148 h 6046908"/>
              <a:gd name="connsiteX88" fmla="*/ 3201346 w 4527226"/>
              <a:gd name="connsiteY88" fmla="*/ 4164768 h 6046908"/>
              <a:gd name="connsiteX89" fmla="*/ 3231826 w 4527226"/>
              <a:gd name="connsiteY89" fmla="*/ 4172388 h 6046908"/>
              <a:gd name="connsiteX90" fmla="*/ 3285166 w 4527226"/>
              <a:gd name="connsiteY90" fmla="*/ 4294308 h 6046908"/>
              <a:gd name="connsiteX91" fmla="*/ 3300406 w 4527226"/>
              <a:gd name="connsiteY91" fmla="*/ 4347648 h 6046908"/>
              <a:gd name="connsiteX92" fmla="*/ 3330886 w 4527226"/>
              <a:gd name="connsiteY92" fmla="*/ 4408608 h 6046908"/>
              <a:gd name="connsiteX93" fmla="*/ 3551866 w 4527226"/>
              <a:gd name="connsiteY93" fmla="*/ 4644828 h 6046908"/>
              <a:gd name="connsiteX94" fmla="*/ 3887146 w 4527226"/>
              <a:gd name="connsiteY94" fmla="*/ 5025828 h 6046908"/>
              <a:gd name="connsiteX95" fmla="*/ 4100506 w 4527226"/>
              <a:gd name="connsiteY95" fmla="*/ 5300148 h 6046908"/>
              <a:gd name="connsiteX96" fmla="*/ 4367206 w 4527226"/>
              <a:gd name="connsiteY96" fmla="*/ 5726868 h 6046908"/>
              <a:gd name="connsiteX97" fmla="*/ 4527226 w 4527226"/>
              <a:gd name="connsiteY97" fmla="*/ 6046908 h 6046908"/>
              <a:gd name="connsiteX0" fmla="*/ 625786 w 4527226"/>
              <a:gd name="connsiteY0" fmla="*/ 5178228 h 6046908"/>
              <a:gd name="connsiteX1" fmla="*/ 701986 w 4527226"/>
              <a:gd name="connsiteY1" fmla="*/ 5071548 h 6046908"/>
              <a:gd name="connsiteX2" fmla="*/ 717226 w 4527226"/>
              <a:gd name="connsiteY2" fmla="*/ 5063928 h 6046908"/>
              <a:gd name="connsiteX3" fmla="*/ 709606 w 4527226"/>
              <a:gd name="connsiteY3" fmla="*/ 5025828 h 6046908"/>
              <a:gd name="connsiteX4" fmla="*/ 701986 w 4527226"/>
              <a:gd name="connsiteY4" fmla="*/ 5002968 h 6046908"/>
              <a:gd name="connsiteX5" fmla="*/ 968686 w 4527226"/>
              <a:gd name="connsiteY5" fmla="*/ 4682928 h 6046908"/>
              <a:gd name="connsiteX6" fmla="*/ 961066 w 4527226"/>
              <a:gd name="connsiteY6" fmla="*/ 4644828 h 6046908"/>
              <a:gd name="connsiteX7" fmla="*/ 1342066 w 4527226"/>
              <a:gd name="connsiteY7" fmla="*/ 4172388 h 6046908"/>
              <a:gd name="connsiteX8" fmla="*/ 1258246 w 4527226"/>
              <a:gd name="connsiteY8" fmla="*/ 4012368 h 6046908"/>
              <a:gd name="connsiteX9" fmla="*/ 1204906 w 4527226"/>
              <a:gd name="connsiteY9" fmla="*/ 3928548 h 6046908"/>
              <a:gd name="connsiteX10" fmla="*/ 1174426 w 4527226"/>
              <a:gd name="connsiteY10" fmla="*/ 3768528 h 6046908"/>
              <a:gd name="connsiteX11" fmla="*/ 1151566 w 4527226"/>
              <a:gd name="connsiteY11" fmla="*/ 3699948 h 6046908"/>
              <a:gd name="connsiteX12" fmla="*/ 1143946 w 4527226"/>
              <a:gd name="connsiteY12" fmla="*/ 3669468 h 6046908"/>
              <a:gd name="connsiteX13" fmla="*/ 1067746 w 4527226"/>
              <a:gd name="connsiteY13" fmla="*/ 3661848 h 6046908"/>
              <a:gd name="connsiteX14" fmla="*/ 938206 w 4527226"/>
              <a:gd name="connsiteY14" fmla="*/ 3669468 h 6046908"/>
              <a:gd name="connsiteX15" fmla="*/ 831526 w 4527226"/>
              <a:gd name="connsiteY15" fmla="*/ 3692328 h 6046908"/>
              <a:gd name="connsiteX16" fmla="*/ 610546 w 4527226"/>
              <a:gd name="connsiteY16" fmla="*/ 3738048 h 6046908"/>
              <a:gd name="connsiteX17" fmla="*/ 389566 w 4527226"/>
              <a:gd name="connsiteY17" fmla="*/ 3638988 h 6046908"/>
              <a:gd name="connsiteX18" fmla="*/ 381946 w 4527226"/>
              <a:gd name="connsiteY18" fmla="*/ 3326568 h 6046908"/>
              <a:gd name="connsiteX19" fmla="*/ 420046 w 4527226"/>
              <a:gd name="connsiteY19" fmla="*/ 3227508 h 6046908"/>
              <a:gd name="connsiteX20" fmla="*/ 389566 w 4527226"/>
              <a:gd name="connsiteY20" fmla="*/ 3166548 h 6046908"/>
              <a:gd name="connsiteX21" fmla="*/ 351466 w 4527226"/>
              <a:gd name="connsiteY21" fmla="*/ 3105588 h 6046908"/>
              <a:gd name="connsiteX22" fmla="*/ 397186 w 4527226"/>
              <a:gd name="connsiteY22" fmla="*/ 3021768 h 6046908"/>
              <a:gd name="connsiteX23" fmla="*/ 488626 w 4527226"/>
              <a:gd name="connsiteY23" fmla="*/ 2998908 h 6046908"/>
              <a:gd name="connsiteX24" fmla="*/ 471956 w 4527226"/>
              <a:gd name="connsiteY24" fmla="*/ 2942709 h 6046908"/>
              <a:gd name="connsiteX25" fmla="*/ 435286 w 4527226"/>
              <a:gd name="connsiteY25" fmla="*/ 2930328 h 6046908"/>
              <a:gd name="connsiteX26" fmla="*/ 389566 w 4527226"/>
              <a:gd name="connsiteY26" fmla="*/ 2930328 h 6046908"/>
              <a:gd name="connsiteX27" fmla="*/ 314000 w 4527226"/>
              <a:gd name="connsiteY27" fmla="*/ 2893495 h 6046908"/>
              <a:gd name="connsiteX28" fmla="*/ 320986 w 4527226"/>
              <a:gd name="connsiteY28" fmla="*/ 2846508 h 6046908"/>
              <a:gd name="connsiteX29" fmla="*/ 328606 w 4527226"/>
              <a:gd name="connsiteY29" fmla="*/ 2793168 h 6046908"/>
              <a:gd name="connsiteX30" fmla="*/ 313366 w 4527226"/>
              <a:gd name="connsiteY30" fmla="*/ 2732208 h 6046908"/>
              <a:gd name="connsiteX31" fmla="*/ 267646 w 4527226"/>
              <a:gd name="connsiteY31" fmla="*/ 2671248 h 6046908"/>
              <a:gd name="connsiteX32" fmla="*/ 176206 w 4527226"/>
              <a:gd name="connsiteY32" fmla="*/ 2656008 h 6046908"/>
              <a:gd name="connsiteX33" fmla="*/ 54286 w 4527226"/>
              <a:gd name="connsiteY33" fmla="*/ 2610288 h 6046908"/>
              <a:gd name="connsiteX34" fmla="*/ 7931 w 4527226"/>
              <a:gd name="connsiteY34" fmla="*/ 2563298 h 6046908"/>
              <a:gd name="connsiteX35" fmla="*/ 8566 w 4527226"/>
              <a:gd name="connsiteY35" fmla="*/ 2488368 h 6046908"/>
              <a:gd name="connsiteX36" fmla="*/ 92386 w 4527226"/>
              <a:gd name="connsiteY36" fmla="*/ 2335968 h 6046908"/>
              <a:gd name="connsiteX37" fmla="*/ 221926 w 4527226"/>
              <a:gd name="connsiteY37" fmla="*/ 2175948 h 6046908"/>
              <a:gd name="connsiteX38" fmla="*/ 282886 w 4527226"/>
              <a:gd name="connsiteY38" fmla="*/ 2084508 h 6046908"/>
              <a:gd name="connsiteX39" fmla="*/ 328606 w 4527226"/>
              <a:gd name="connsiteY39" fmla="*/ 1977828 h 6046908"/>
              <a:gd name="connsiteX40" fmla="*/ 359086 w 4527226"/>
              <a:gd name="connsiteY40" fmla="*/ 1871148 h 6046908"/>
              <a:gd name="connsiteX41" fmla="*/ 374326 w 4527226"/>
              <a:gd name="connsiteY41" fmla="*/ 1810188 h 6046908"/>
              <a:gd name="connsiteX42" fmla="*/ 343846 w 4527226"/>
              <a:gd name="connsiteY42" fmla="*/ 1756848 h 6046908"/>
              <a:gd name="connsiteX43" fmla="*/ 328606 w 4527226"/>
              <a:gd name="connsiteY43" fmla="*/ 1680648 h 6046908"/>
              <a:gd name="connsiteX44" fmla="*/ 412426 w 4527226"/>
              <a:gd name="connsiteY44" fmla="*/ 1474908 h 6046908"/>
              <a:gd name="connsiteX45" fmla="*/ 442906 w 4527226"/>
              <a:gd name="connsiteY45" fmla="*/ 1307268 h 6046908"/>
              <a:gd name="connsiteX46" fmla="*/ 465766 w 4527226"/>
              <a:gd name="connsiteY46" fmla="*/ 1192968 h 6046908"/>
              <a:gd name="connsiteX47" fmla="*/ 503866 w 4527226"/>
              <a:gd name="connsiteY47" fmla="*/ 1055808 h 6046908"/>
              <a:gd name="connsiteX48" fmla="*/ 557206 w 4527226"/>
              <a:gd name="connsiteY48" fmla="*/ 888168 h 6046908"/>
              <a:gd name="connsiteX49" fmla="*/ 503866 w 4527226"/>
              <a:gd name="connsiteY49" fmla="*/ 888168 h 6046908"/>
              <a:gd name="connsiteX50" fmla="*/ 412426 w 4527226"/>
              <a:gd name="connsiteY50" fmla="*/ 834828 h 6046908"/>
              <a:gd name="connsiteX51" fmla="*/ 328606 w 4527226"/>
              <a:gd name="connsiteY51" fmla="*/ 789108 h 6046908"/>
              <a:gd name="connsiteX52" fmla="*/ 260026 w 4527226"/>
              <a:gd name="connsiteY52" fmla="*/ 773868 h 6046908"/>
              <a:gd name="connsiteX53" fmla="*/ 214306 w 4527226"/>
              <a:gd name="connsiteY53" fmla="*/ 751008 h 6046908"/>
              <a:gd name="connsiteX54" fmla="*/ 260026 w 4527226"/>
              <a:gd name="connsiteY54" fmla="*/ 674808 h 6046908"/>
              <a:gd name="connsiteX55" fmla="*/ 374326 w 4527226"/>
              <a:gd name="connsiteY55" fmla="*/ 606228 h 6046908"/>
              <a:gd name="connsiteX56" fmla="*/ 557206 w 4527226"/>
              <a:gd name="connsiteY56" fmla="*/ 507168 h 6046908"/>
              <a:gd name="connsiteX57" fmla="*/ 656266 w 4527226"/>
              <a:gd name="connsiteY57" fmla="*/ 423348 h 6046908"/>
              <a:gd name="connsiteX58" fmla="*/ 892486 w 4527226"/>
              <a:gd name="connsiteY58" fmla="*/ 232848 h 6046908"/>
              <a:gd name="connsiteX59" fmla="*/ 1174426 w 4527226"/>
              <a:gd name="connsiteY59" fmla="*/ 80448 h 6046908"/>
              <a:gd name="connsiteX60" fmla="*/ 1593526 w 4527226"/>
              <a:gd name="connsiteY60" fmla="*/ 11868 h 6046908"/>
              <a:gd name="connsiteX61" fmla="*/ 1944046 w 4527226"/>
              <a:gd name="connsiteY61" fmla="*/ 4248 h 6046908"/>
              <a:gd name="connsiteX62" fmla="*/ 2172646 w 4527226"/>
              <a:gd name="connsiteY62" fmla="*/ 4248 h 6046908"/>
              <a:gd name="connsiteX63" fmla="*/ 2393626 w 4527226"/>
              <a:gd name="connsiteY63" fmla="*/ 57588 h 6046908"/>
              <a:gd name="connsiteX64" fmla="*/ 2667946 w 4527226"/>
              <a:gd name="connsiteY64" fmla="*/ 133788 h 6046908"/>
              <a:gd name="connsiteX65" fmla="*/ 2820346 w 4527226"/>
              <a:gd name="connsiteY65" fmla="*/ 202368 h 6046908"/>
              <a:gd name="connsiteX66" fmla="*/ 3102286 w 4527226"/>
              <a:gd name="connsiteY66" fmla="*/ 400488 h 6046908"/>
              <a:gd name="connsiteX67" fmla="*/ 3285166 w 4527226"/>
              <a:gd name="connsiteY67" fmla="*/ 651948 h 6046908"/>
              <a:gd name="connsiteX68" fmla="*/ 3407086 w 4527226"/>
              <a:gd name="connsiteY68" fmla="*/ 918648 h 6046908"/>
              <a:gd name="connsiteX69" fmla="*/ 3475666 w 4527226"/>
              <a:gd name="connsiteY69" fmla="*/ 1238688 h 6046908"/>
              <a:gd name="connsiteX70" fmla="*/ 3506146 w 4527226"/>
              <a:gd name="connsiteY70" fmla="*/ 1543488 h 6046908"/>
              <a:gd name="connsiteX71" fmla="*/ 3506146 w 4527226"/>
              <a:gd name="connsiteY71" fmla="*/ 1962588 h 6046908"/>
              <a:gd name="connsiteX72" fmla="*/ 3338506 w 4527226"/>
              <a:gd name="connsiteY72" fmla="*/ 2305488 h 6046908"/>
              <a:gd name="connsiteX73" fmla="*/ 3254686 w 4527226"/>
              <a:gd name="connsiteY73" fmla="*/ 2473128 h 6046908"/>
              <a:gd name="connsiteX74" fmla="*/ 3132766 w 4527226"/>
              <a:gd name="connsiteY74" fmla="*/ 2663628 h 6046908"/>
              <a:gd name="connsiteX75" fmla="*/ 3071806 w 4527226"/>
              <a:gd name="connsiteY75" fmla="*/ 2838888 h 6046908"/>
              <a:gd name="connsiteX76" fmla="*/ 3064186 w 4527226"/>
              <a:gd name="connsiteY76" fmla="*/ 2915088 h 6046908"/>
              <a:gd name="connsiteX77" fmla="*/ 3018466 w 4527226"/>
              <a:gd name="connsiteY77" fmla="*/ 3014148 h 6046908"/>
              <a:gd name="connsiteX78" fmla="*/ 2980366 w 4527226"/>
              <a:gd name="connsiteY78" fmla="*/ 3082728 h 6046908"/>
              <a:gd name="connsiteX79" fmla="*/ 2957506 w 4527226"/>
              <a:gd name="connsiteY79" fmla="*/ 3120828 h 6046908"/>
              <a:gd name="connsiteX80" fmla="*/ 2957506 w 4527226"/>
              <a:gd name="connsiteY80" fmla="*/ 3555168 h 6046908"/>
              <a:gd name="connsiteX81" fmla="*/ 3010846 w 4527226"/>
              <a:gd name="connsiteY81" fmla="*/ 3539928 h 6046908"/>
              <a:gd name="connsiteX82" fmla="*/ 3109906 w 4527226"/>
              <a:gd name="connsiteY82" fmla="*/ 3570408 h 6046908"/>
              <a:gd name="connsiteX83" fmla="*/ 3140386 w 4527226"/>
              <a:gd name="connsiteY83" fmla="*/ 3631368 h 6046908"/>
              <a:gd name="connsiteX84" fmla="*/ 3117526 w 4527226"/>
              <a:gd name="connsiteY84" fmla="*/ 3738048 h 6046908"/>
              <a:gd name="connsiteX85" fmla="*/ 3125146 w 4527226"/>
              <a:gd name="connsiteY85" fmla="*/ 4103808 h 6046908"/>
              <a:gd name="connsiteX86" fmla="*/ 3163246 w 4527226"/>
              <a:gd name="connsiteY86" fmla="*/ 4157148 h 6046908"/>
              <a:gd name="connsiteX87" fmla="*/ 3201346 w 4527226"/>
              <a:gd name="connsiteY87" fmla="*/ 4164768 h 6046908"/>
              <a:gd name="connsiteX88" fmla="*/ 3231826 w 4527226"/>
              <a:gd name="connsiteY88" fmla="*/ 4172388 h 6046908"/>
              <a:gd name="connsiteX89" fmla="*/ 3285166 w 4527226"/>
              <a:gd name="connsiteY89" fmla="*/ 4294308 h 6046908"/>
              <a:gd name="connsiteX90" fmla="*/ 3300406 w 4527226"/>
              <a:gd name="connsiteY90" fmla="*/ 4347648 h 6046908"/>
              <a:gd name="connsiteX91" fmla="*/ 3330886 w 4527226"/>
              <a:gd name="connsiteY91" fmla="*/ 4408608 h 6046908"/>
              <a:gd name="connsiteX92" fmla="*/ 3551866 w 4527226"/>
              <a:gd name="connsiteY92" fmla="*/ 4644828 h 6046908"/>
              <a:gd name="connsiteX93" fmla="*/ 3887146 w 4527226"/>
              <a:gd name="connsiteY93" fmla="*/ 5025828 h 6046908"/>
              <a:gd name="connsiteX94" fmla="*/ 4100506 w 4527226"/>
              <a:gd name="connsiteY94" fmla="*/ 5300148 h 6046908"/>
              <a:gd name="connsiteX95" fmla="*/ 4367206 w 4527226"/>
              <a:gd name="connsiteY95" fmla="*/ 5726868 h 6046908"/>
              <a:gd name="connsiteX96" fmla="*/ 4527226 w 4527226"/>
              <a:gd name="connsiteY96" fmla="*/ 6046908 h 6046908"/>
              <a:gd name="connsiteX0" fmla="*/ 701986 w 4527226"/>
              <a:gd name="connsiteY0" fmla="*/ 5071548 h 6046908"/>
              <a:gd name="connsiteX1" fmla="*/ 717226 w 4527226"/>
              <a:gd name="connsiteY1" fmla="*/ 5063928 h 6046908"/>
              <a:gd name="connsiteX2" fmla="*/ 709606 w 4527226"/>
              <a:gd name="connsiteY2" fmla="*/ 5025828 h 6046908"/>
              <a:gd name="connsiteX3" fmla="*/ 701986 w 4527226"/>
              <a:gd name="connsiteY3" fmla="*/ 5002968 h 6046908"/>
              <a:gd name="connsiteX4" fmla="*/ 968686 w 4527226"/>
              <a:gd name="connsiteY4" fmla="*/ 4682928 h 6046908"/>
              <a:gd name="connsiteX5" fmla="*/ 961066 w 4527226"/>
              <a:gd name="connsiteY5" fmla="*/ 4644828 h 6046908"/>
              <a:gd name="connsiteX6" fmla="*/ 1342066 w 4527226"/>
              <a:gd name="connsiteY6" fmla="*/ 4172388 h 6046908"/>
              <a:gd name="connsiteX7" fmla="*/ 1258246 w 4527226"/>
              <a:gd name="connsiteY7" fmla="*/ 4012368 h 6046908"/>
              <a:gd name="connsiteX8" fmla="*/ 1204906 w 4527226"/>
              <a:gd name="connsiteY8" fmla="*/ 3928548 h 6046908"/>
              <a:gd name="connsiteX9" fmla="*/ 1174426 w 4527226"/>
              <a:gd name="connsiteY9" fmla="*/ 3768528 h 6046908"/>
              <a:gd name="connsiteX10" fmla="*/ 1151566 w 4527226"/>
              <a:gd name="connsiteY10" fmla="*/ 3699948 h 6046908"/>
              <a:gd name="connsiteX11" fmla="*/ 1143946 w 4527226"/>
              <a:gd name="connsiteY11" fmla="*/ 3669468 h 6046908"/>
              <a:gd name="connsiteX12" fmla="*/ 1067746 w 4527226"/>
              <a:gd name="connsiteY12" fmla="*/ 3661848 h 6046908"/>
              <a:gd name="connsiteX13" fmla="*/ 938206 w 4527226"/>
              <a:gd name="connsiteY13" fmla="*/ 3669468 h 6046908"/>
              <a:gd name="connsiteX14" fmla="*/ 831526 w 4527226"/>
              <a:gd name="connsiteY14" fmla="*/ 3692328 h 6046908"/>
              <a:gd name="connsiteX15" fmla="*/ 610546 w 4527226"/>
              <a:gd name="connsiteY15" fmla="*/ 3738048 h 6046908"/>
              <a:gd name="connsiteX16" fmla="*/ 389566 w 4527226"/>
              <a:gd name="connsiteY16" fmla="*/ 3638988 h 6046908"/>
              <a:gd name="connsiteX17" fmla="*/ 381946 w 4527226"/>
              <a:gd name="connsiteY17" fmla="*/ 3326568 h 6046908"/>
              <a:gd name="connsiteX18" fmla="*/ 420046 w 4527226"/>
              <a:gd name="connsiteY18" fmla="*/ 3227508 h 6046908"/>
              <a:gd name="connsiteX19" fmla="*/ 389566 w 4527226"/>
              <a:gd name="connsiteY19" fmla="*/ 3166548 h 6046908"/>
              <a:gd name="connsiteX20" fmla="*/ 351466 w 4527226"/>
              <a:gd name="connsiteY20" fmla="*/ 3105588 h 6046908"/>
              <a:gd name="connsiteX21" fmla="*/ 397186 w 4527226"/>
              <a:gd name="connsiteY21" fmla="*/ 3021768 h 6046908"/>
              <a:gd name="connsiteX22" fmla="*/ 488626 w 4527226"/>
              <a:gd name="connsiteY22" fmla="*/ 2998908 h 6046908"/>
              <a:gd name="connsiteX23" fmla="*/ 471956 w 4527226"/>
              <a:gd name="connsiteY23" fmla="*/ 2942709 h 6046908"/>
              <a:gd name="connsiteX24" fmla="*/ 435286 w 4527226"/>
              <a:gd name="connsiteY24" fmla="*/ 2930328 h 6046908"/>
              <a:gd name="connsiteX25" fmla="*/ 389566 w 4527226"/>
              <a:gd name="connsiteY25" fmla="*/ 2930328 h 6046908"/>
              <a:gd name="connsiteX26" fmla="*/ 314000 w 4527226"/>
              <a:gd name="connsiteY26" fmla="*/ 2893495 h 6046908"/>
              <a:gd name="connsiteX27" fmla="*/ 320986 w 4527226"/>
              <a:gd name="connsiteY27" fmla="*/ 2846508 h 6046908"/>
              <a:gd name="connsiteX28" fmla="*/ 328606 w 4527226"/>
              <a:gd name="connsiteY28" fmla="*/ 2793168 h 6046908"/>
              <a:gd name="connsiteX29" fmla="*/ 313366 w 4527226"/>
              <a:gd name="connsiteY29" fmla="*/ 2732208 h 6046908"/>
              <a:gd name="connsiteX30" fmla="*/ 267646 w 4527226"/>
              <a:gd name="connsiteY30" fmla="*/ 2671248 h 6046908"/>
              <a:gd name="connsiteX31" fmla="*/ 176206 w 4527226"/>
              <a:gd name="connsiteY31" fmla="*/ 2656008 h 6046908"/>
              <a:gd name="connsiteX32" fmla="*/ 54286 w 4527226"/>
              <a:gd name="connsiteY32" fmla="*/ 2610288 h 6046908"/>
              <a:gd name="connsiteX33" fmla="*/ 7931 w 4527226"/>
              <a:gd name="connsiteY33" fmla="*/ 2563298 h 6046908"/>
              <a:gd name="connsiteX34" fmla="*/ 8566 w 4527226"/>
              <a:gd name="connsiteY34" fmla="*/ 2488368 h 6046908"/>
              <a:gd name="connsiteX35" fmla="*/ 92386 w 4527226"/>
              <a:gd name="connsiteY35" fmla="*/ 2335968 h 6046908"/>
              <a:gd name="connsiteX36" fmla="*/ 221926 w 4527226"/>
              <a:gd name="connsiteY36" fmla="*/ 2175948 h 6046908"/>
              <a:gd name="connsiteX37" fmla="*/ 282886 w 4527226"/>
              <a:gd name="connsiteY37" fmla="*/ 2084508 h 6046908"/>
              <a:gd name="connsiteX38" fmla="*/ 328606 w 4527226"/>
              <a:gd name="connsiteY38" fmla="*/ 1977828 h 6046908"/>
              <a:gd name="connsiteX39" fmla="*/ 359086 w 4527226"/>
              <a:gd name="connsiteY39" fmla="*/ 1871148 h 6046908"/>
              <a:gd name="connsiteX40" fmla="*/ 374326 w 4527226"/>
              <a:gd name="connsiteY40" fmla="*/ 1810188 h 6046908"/>
              <a:gd name="connsiteX41" fmla="*/ 343846 w 4527226"/>
              <a:gd name="connsiteY41" fmla="*/ 1756848 h 6046908"/>
              <a:gd name="connsiteX42" fmla="*/ 328606 w 4527226"/>
              <a:gd name="connsiteY42" fmla="*/ 1680648 h 6046908"/>
              <a:gd name="connsiteX43" fmla="*/ 412426 w 4527226"/>
              <a:gd name="connsiteY43" fmla="*/ 1474908 h 6046908"/>
              <a:gd name="connsiteX44" fmla="*/ 442906 w 4527226"/>
              <a:gd name="connsiteY44" fmla="*/ 1307268 h 6046908"/>
              <a:gd name="connsiteX45" fmla="*/ 465766 w 4527226"/>
              <a:gd name="connsiteY45" fmla="*/ 1192968 h 6046908"/>
              <a:gd name="connsiteX46" fmla="*/ 503866 w 4527226"/>
              <a:gd name="connsiteY46" fmla="*/ 1055808 h 6046908"/>
              <a:gd name="connsiteX47" fmla="*/ 557206 w 4527226"/>
              <a:gd name="connsiteY47" fmla="*/ 888168 h 6046908"/>
              <a:gd name="connsiteX48" fmla="*/ 503866 w 4527226"/>
              <a:gd name="connsiteY48" fmla="*/ 888168 h 6046908"/>
              <a:gd name="connsiteX49" fmla="*/ 412426 w 4527226"/>
              <a:gd name="connsiteY49" fmla="*/ 834828 h 6046908"/>
              <a:gd name="connsiteX50" fmla="*/ 328606 w 4527226"/>
              <a:gd name="connsiteY50" fmla="*/ 789108 h 6046908"/>
              <a:gd name="connsiteX51" fmla="*/ 260026 w 4527226"/>
              <a:gd name="connsiteY51" fmla="*/ 773868 h 6046908"/>
              <a:gd name="connsiteX52" fmla="*/ 214306 w 4527226"/>
              <a:gd name="connsiteY52" fmla="*/ 751008 h 6046908"/>
              <a:gd name="connsiteX53" fmla="*/ 260026 w 4527226"/>
              <a:gd name="connsiteY53" fmla="*/ 674808 h 6046908"/>
              <a:gd name="connsiteX54" fmla="*/ 374326 w 4527226"/>
              <a:gd name="connsiteY54" fmla="*/ 606228 h 6046908"/>
              <a:gd name="connsiteX55" fmla="*/ 557206 w 4527226"/>
              <a:gd name="connsiteY55" fmla="*/ 507168 h 6046908"/>
              <a:gd name="connsiteX56" fmla="*/ 656266 w 4527226"/>
              <a:gd name="connsiteY56" fmla="*/ 423348 h 6046908"/>
              <a:gd name="connsiteX57" fmla="*/ 892486 w 4527226"/>
              <a:gd name="connsiteY57" fmla="*/ 232848 h 6046908"/>
              <a:gd name="connsiteX58" fmla="*/ 1174426 w 4527226"/>
              <a:gd name="connsiteY58" fmla="*/ 80448 h 6046908"/>
              <a:gd name="connsiteX59" fmla="*/ 1593526 w 4527226"/>
              <a:gd name="connsiteY59" fmla="*/ 11868 h 6046908"/>
              <a:gd name="connsiteX60" fmla="*/ 1944046 w 4527226"/>
              <a:gd name="connsiteY60" fmla="*/ 4248 h 6046908"/>
              <a:gd name="connsiteX61" fmla="*/ 2172646 w 4527226"/>
              <a:gd name="connsiteY61" fmla="*/ 4248 h 6046908"/>
              <a:gd name="connsiteX62" fmla="*/ 2393626 w 4527226"/>
              <a:gd name="connsiteY62" fmla="*/ 57588 h 6046908"/>
              <a:gd name="connsiteX63" fmla="*/ 2667946 w 4527226"/>
              <a:gd name="connsiteY63" fmla="*/ 133788 h 6046908"/>
              <a:gd name="connsiteX64" fmla="*/ 2820346 w 4527226"/>
              <a:gd name="connsiteY64" fmla="*/ 202368 h 6046908"/>
              <a:gd name="connsiteX65" fmla="*/ 3102286 w 4527226"/>
              <a:gd name="connsiteY65" fmla="*/ 400488 h 6046908"/>
              <a:gd name="connsiteX66" fmla="*/ 3285166 w 4527226"/>
              <a:gd name="connsiteY66" fmla="*/ 651948 h 6046908"/>
              <a:gd name="connsiteX67" fmla="*/ 3407086 w 4527226"/>
              <a:gd name="connsiteY67" fmla="*/ 918648 h 6046908"/>
              <a:gd name="connsiteX68" fmla="*/ 3475666 w 4527226"/>
              <a:gd name="connsiteY68" fmla="*/ 1238688 h 6046908"/>
              <a:gd name="connsiteX69" fmla="*/ 3506146 w 4527226"/>
              <a:gd name="connsiteY69" fmla="*/ 1543488 h 6046908"/>
              <a:gd name="connsiteX70" fmla="*/ 3506146 w 4527226"/>
              <a:gd name="connsiteY70" fmla="*/ 1962588 h 6046908"/>
              <a:gd name="connsiteX71" fmla="*/ 3338506 w 4527226"/>
              <a:gd name="connsiteY71" fmla="*/ 2305488 h 6046908"/>
              <a:gd name="connsiteX72" fmla="*/ 3254686 w 4527226"/>
              <a:gd name="connsiteY72" fmla="*/ 2473128 h 6046908"/>
              <a:gd name="connsiteX73" fmla="*/ 3132766 w 4527226"/>
              <a:gd name="connsiteY73" fmla="*/ 2663628 h 6046908"/>
              <a:gd name="connsiteX74" fmla="*/ 3071806 w 4527226"/>
              <a:gd name="connsiteY74" fmla="*/ 2838888 h 6046908"/>
              <a:gd name="connsiteX75" fmla="*/ 3064186 w 4527226"/>
              <a:gd name="connsiteY75" fmla="*/ 2915088 h 6046908"/>
              <a:gd name="connsiteX76" fmla="*/ 3018466 w 4527226"/>
              <a:gd name="connsiteY76" fmla="*/ 3014148 h 6046908"/>
              <a:gd name="connsiteX77" fmla="*/ 2980366 w 4527226"/>
              <a:gd name="connsiteY77" fmla="*/ 3082728 h 6046908"/>
              <a:gd name="connsiteX78" fmla="*/ 2957506 w 4527226"/>
              <a:gd name="connsiteY78" fmla="*/ 3120828 h 6046908"/>
              <a:gd name="connsiteX79" fmla="*/ 2957506 w 4527226"/>
              <a:gd name="connsiteY79" fmla="*/ 3555168 h 6046908"/>
              <a:gd name="connsiteX80" fmla="*/ 3010846 w 4527226"/>
              <a:gd name="connsiteY80" fmla="*/ 3539928 h 6046908"/>
              <a:gd name="connsiteX81" fmla="*/ 3109906 w 4527226"/>
              <a:gd name="connsiteY81" fmla="*/ 3570408 h 6046908"/>
              <a:gd name="connsiteX82" fmla="*/ 3140386 w 4527226"/>
              <a:gd name="connsiteY82" fmla="*/ 3631368 h 6046908"/>
              <a:gd name="connsiteX83" fmla="*/ 3117526 w 4527226"/>
              <a:gd name="connsiteY83" fmla="*/ 3738048 h 6046908"/>
              <a:gd name="connsiteX84" fmla="*/ 3125146 w 4527226"/>
              <a:gd name="connsiteY84" fmla="*/ 4103808 h 6046908"/>
              <a:gd name="connsiteX85" fmla="*/ 3163246 w 4527226"/>
              <a:gd name="connsiteY85" fmla="*/ 4157148 h 6046908"/>
              <a:gd name="connsiteX86" fmla="*/ 3201346 w 4527226"/>
              <a:gd name="connsiteY86" fmla="*/ 4164768 h 6046908"/>
              <a:gd name="connsiteX87" fmla="*/ 3231826 w 4527226"/>
              <a:gd name="connsiteY87" fmla="*/ 4172388 h 6046908"/>
              <a:gd name="connsiteX88" fmla="*/ 3285166 w 4527226"/>
              <a:gd name="connsiteY88" fmla="*/ 4294308 h 6046908"/>
              <a:gd name="connsiteX89" fmla="*/ 3300406 w 4527226"/>
              <a:gd name="connsiteY89" fmla="*/ 4347648 h 6046908"/>
              <a:gd name="connsiteX90" fmla="*/ 3330886 w 4527226"/>
              <a:gd name="connsiteY90" fmla="*/ 4408608 h 6046908"/>
              <a:gd name="connsiteX91" fmla="*/ 3551866 w 4527226"/>
              <a:gd name="connsiteY91" fmla="*/ 4644828 h 6046908"/>
              <a:gd name="connsiteX92" fmla="*/ 3887146 w 4527226"/>
              <a:gd name="connsiteY92" fmla="*/ 5025828 h 6046908"/>
              <a:gd name="connsiteX93" fmla="*/ 4100506 w 4527226"/>
              <a:gd name="connsiteY93" fmla="*/ 5300148 h 6046908"/>
              <a:gd name="connsiteX94" fmla="*/ 4367206 w 4527226"/>
              <a:gd name="connsiteY94" fmla="*/ 5726868 h 6046908"/>
              <a:gd name="connsiteX95" fmla="*/ 4527226 w 4527226"/>
              <a:gd name="connsiteY95" fmla="*/ 6046908 h 6046908"/>
              <a:gd name="connsiteX0" fmla="*/ 717226 w 4527226"/>
              <a:gd name="connsiteY0" fmla="*/ 5063928 h 6046908"/>
              <a:gd name="connsiteX1" fmla="*/ 709606 w 4527226"/>
              <a:gd name="connsiteY1" fmla="*/ 5025828 h 6046908"/>
              <a:gd name="connsiteX2" fmla="*/ 701986 w 4527226"/>
              <a:gd name="connsiteY2" fmla="*/ 5002968 h 6046908"/>
              <a:gd name="connsiteX3" fmla="*/ 968686 w 4527226"/>
              <a:gd name="connsiteY3" fmla="*/ 4682928 h 6046908"/>
              <a:gd name="connsiteX4" fmla="*/ 961066 w 4527226"/>
              <a:gd name="connsiteY4" fmla="*/ 4644828 h 6046908"/>
              <a:gd name="connsiteX5" fmla="*/ 1342066 w 4527226"/>
              <a:gd name="connsiteY5" fmla="*/ 4172388 h 6046908"/>
              <a:gd name="connsiteX6" fmla="*/ 1258246 w 4527226"/>
              <a:gd name="connsiteY6" fmla="*/ 4012368 h 6046908"/>
              <a:gd name="connsiteX7" fmla="*/ 1204906 w 4527226"/>
              <a:gd name="connsiteY7" fmla="*/ 3928548 h 6046908"/>
              <a:gd name="connsiteX8" fmla="*/ 1174426 w 4527226"/>
              <a:gd name="connsiteY8" fmla="*/ 3768528 h 6046908"/>
              <a:gd name="connsiteX9" fmla="*/ 1151566 w 4527226"/>
              <a:gd name="connsiteY9" fmla="*/ 3699948 h 6046908"/>
              <a:gd name="connsiteX10" fmla="*/ 1143946 w 4527226"/>
              <a:gd name="connsiteY10" fmla="*/ 3669468 h 6046908"/>
              <a:gd name="connsiteX11" fmla="*/ 1067746 w 4527226"/>
              <a:gd name="connsiteY11" fmla="*/ 3661848 h 6046908"/>
              <a:gd name="connsiteX12" fmla="*/ 938206 w 4527226"/>
              <a:gd name="connsiteY12" fmla="*/ 3669468 h 6046908"/>
              <a:gd name="connsiteX13" fmla="*/ 831526 w 4527226"/>
              <a:gd name="connsiteY13" fmla="*/ 3692328 h 6046908"/>
              <a:gd name="connsiteX14" fmla="*/ 610546 w 4527226"/>
              <a:gd name="connsiteY14" fmla="*/ 3738048 h 6046908"/>
              <a:gd name="connsiteX15" fmla="*/ 389566 w 4527226"/>
              <a:gd name="connsiteY15" fmla="*/ 3638988 h 6046908"/>
              <a:gd name="connsiteX16" fmla="*/ 381946 w 4527226"/>
              <a:gd name="connsiteY16" fmla="*/ 3326568 h 6046908"/>
              <a:gd name="connsiteX17" fmla="*/ 420046 w 4527226"/>
              <a:gd name="connsiteY17" fmla="*/ 3227508 h 6046908"/>
              <a:gd name="connsiteX18" fmla="*/ 389566 w 4527226"/>
              <a:gd name="connsiteY18" fmla="*/ 3166548 h 6046908"/>
              <a:gd name="connsiteX19" fmla="*/ 351466 w 4527226"/>
              <a:gd name="connsiteY19" fmla="*/ 3105588 h 6046908"/>
              <a:gd name="connsiteX20" fmla="*/ 397186 w 4527226"/>
              <a:gd name="connsiteY20" fmla="*/ 3021768 h 6046908"/>
              <a:gd name="connsiteX21" fmla="*/ 488626 w 4527226"/>
              <a:gd name="connsiteY21" fmla="*/ 2998908 h 6046908"/>
              <a:gd name="connsiteX22" fmla="*/ 471956 w 4527226"/>
              <a:gd name="connsiteY22" fmla="*/ 2942709 h 6046908"/>
              <a:gd name="connsiteX23" fmla="*/ 435286 w 4527226"/>
              <a:gd name="connsiteY23" fmla="*/ 2930328 h 6046908"/>
              <a:gd name="connsiteX24" fmla="*/ 389566 w 4527226"/>
              <a:gd name="connsiteY24" fmla="*/ 2930328 h 6046908"/>
              <a:gd name="connsiteX25" fmla="*/ 314000 w 4527226"/>
              <a:gd name="connsiteY25" fmla="*/ 2893495 h 6046908"/>
              <a:gd name="connsiteX26" fmla="*/ 320986 w 4527226"/>
              <a:gd name="connsiteY26" fmla="*/ 2846508 h 6046908"/>
              <a:gd name="connsiteX27" fmla="*/ 328606 w 4527226"/>
              <a:gd name="connsiteY27" fmla="*/ 2793168 h 6046908"/>
              <a:gd name="connsiteX28" fmla="*/ 313366 w 4527226"/>
              <a:gd name="connsiteY28" fmla="*/ 2732208 h 6046908"/>
              <a:gd name="connsiteX29" fmla="*/ 267646 w 4527226"/>
              <a:gd name="connsiteY29" fmla="*/ 2671248 h 6046908"/>
              <a:gd name="connsiteX30" fmla="*/ 176206 w 4527226"/>
              <a:gd name="connsiteY30" fmla="*/ 2656008 h 6046908"/>
              <a:gd name="connsiteX31" fmla="*/ 54286 w 4527226"/>
              <a:gd name="connsiteY31" fmla="*/ 2610288 h 6046908"/>
              <a:gd name="connsiteX32" fmla="*/ 7931 w 4527226"/>
              <a:gd name="connsiteY32" fmla="*/ 2563298 h 6046908"/>
              <a:gd name="connsiteX33" fmla="*/ 8566 w 4527226"/>
              <a:gd name="connsiteY33" fmla="*/ 2488368 h 6046908"/>
              <a:gd name="connsiteX34" fmla="*/ 92386 w 4527226"/>
              <a:gd name="connsiteY34" fmla="*/ 2335968 h 6046908"/>
              <a:gd name="connsiteX35" fmla="*/ 221926 w 4527226"/>
              <a:gd name="connsiteY35" fmla="*/ 2175948 h 6046908"/>
              <a:gd name="connsiteX36" fmla="*/ 282886 w 4527226"/>
              <a:gd name="connsiteY36" fmla="*/ 2084508 h 6046908"/>
              <a:gd name="connsiteX37" fmla="*/ 328606 w 4527226"/>
              <a:gd name="connsiteY37" fmla="*/ 1977828 h 6046908"/>
              <a:gd name="connsiteX38" fmla="*/ 359086 w 4527226"/>
              <a:gd name="connsiteY38" fmla="*/ 1871148 h 6046908"/>
              <a:gd name="connsiteX39" fmla="*/ 374326 w 4527226"/>
              <a:gd name="connsiteY39" fmla="*/ 1810188 h 6046908"/>
              <a:gd name="connsiteX40" fmla="*/ 343846 w 4527226"/>
              <a:gd name="connsiteY40" fmla="*/ 1756848 h 6046908"/>
              <a:gd name="connsiteX41" fmla="*/ 328606 w 4527226"/>
              <a:gd name="connsiteY41" fmla="*/ 1680648 h 6046908"/>
              <a:gd name="connsiteX42" fmla="*/ 412426 w 4527226"/>
              <a:gd name="connsiteY42" fmla="*/ 1474908 h 6046908"/>
              <a:gd name="connsiteX43" fmla="*/ 442906 w 4527226"/>
              <a:gd name="connsiteY43" fmla="*/ 1307268 h 6046908"/>
              <a:gd name="connsiteX44" fmla="*/ 465766 w 4527226"/>
              <a:gd name="connsiteY44" fmla="*/ 1192968 h 6046908"/>
              <a:gd name="connsiteX45" fmla="*/ 503866 w 4527226"/>
              <a:gd name="connsiteY45" fmla="*/ 1055808 h 6046908"/>
              <a:gd name="connsiteX46" fmla="*/ 557206 w 4527226"/>
              <a:gd name="connsiteY46" fmla="*/ 888168 h 6046908"/>
              <a:gd name="connsiteX47" fmla="*/ 503866 w 4527226"/>
              <a:gd name="connsiteY47" fmla="*/ 888168 h 6046908"/>
              <a:gd name="connsiteX48" fmla="*/ 412426 w 4527226"/>
              <a:gd name="connsiteY48" fmla="*/ 834828 h 6046908"/>
              <a:gd name="connsiteX49" fmla="*/ 328606 w 4527226"/>
              <a:gd name="connsiteY49" fmla="*/ 789108 h 6046908"/>
              <a:gd name="connsiteX50" fmla="*/ 260026 w 4527226"/>
              <a:gd name="connsiteY50" fmla="*/ 773868 h 6046908"/>
              <a:gd name="connsiteX51" fmla="*/ 214306 w 4527226"/>
              <a:gd name="connsiteY51" fmla="*/ 751008 h 6046908"/>
              <a:gd name="connsiteX52" fmla="*/ 260026 w 4527226"/>
              <a:gd name="connsiteY52" fmla="*/ 674808 h 6046908"/>
              <a:gd name="connsiteX53" fmla="*/ 374326 w 4527226"/>
              <a:gd name="connsiteY53" fmla="*/ 606228 h 6046908"/>
              <a:gd name="connsiteX54" fmla="*/ 557206 w 4527226"/>
              <a:gd name="connsiteY54" fmla="*/ 507168 h 6046908"/>
              <a:gd name="connsiteX55" fmla="*/ 656266 w 4527226"/>
              <a:gd name="connsiteY55" fmla="*/ 423348 h 6046908"/>
              <a:gd name="connsiteX56" fmla="*/ 892486 w 4527226"/>
              <a:gd name="connsiteY56" fmla="*/ 232848 h 6046908"/>
              <a:gd name="connsiteX57" fmla="*/ 1174426 w 4527226"/>
              <a:gd name="connsiteY57" fmla="*/ 80448 h 6046908"/>
              <a:gd name="connsiteX58" fmla="*/ 1593526 w 4527226"/>
              <a:gd name="connsiteY58" fmla="*/ 11868 h 6046908"/>
              <a:gd name="connsiteX59" fmla="*/ 1944046 w 4527226"/>
              <a:gd name="connsiteY59" fmla="*/ 4248 h 6046908"/>
              <a:gd name="connsiteX60" fmla="*/ 2172646 w 4527226"/>
              <a:gd name="connsiteY60" fmla="*/ 4248 h 6046908"/>
              <a:gd name="connsiteX61" fmla="*/ 2393626 w 4527226"/>
              <a:gd name="connsiteY61" fmla="*/ 57588 h 6046908"/>
              <a:gd name="connsiteX62" fmla="*/ 2667946 w 4527226"/>
              <a:gd name="connsiteY62" fmla="*/ 133788 h 6046908"/>
              <a:gd name="connsiteX63" fmla="*/ 2820346 w 4527226"/>
              <a:gd name="connsiteY63" fmla="*/ 202368 h 6046908"/>
              <a:gd name="connsiteX64" fmla="*/ 3102286 w 4527226"/>
              <a:gd name="connsiteY64" fmla="*/ 400488 h 6046908"/>
              <a:gd name="connsiteX65" fmla="*/ 3285166 w 4527226"/>
              <a:gd name="connsiteY65" fmla="*/ 651948 h 6046908"/>
              <a:gd name="connsiteX66" fmla="*/ 3407086 w 4527226"/>
              <a:gd name="connsiteY66" fmla="*/ 918648 h 6046908"/>
              <a:gd name="connsiteX67" fmla="*/ 3475666 w 4527226"/>
              <a:gd name="connsiteY67" fmla="*/ 1238688 h 6046908"/>
              <a:gd name="connsiteX68" fmla="*/ 3506146 w 4527226"/>
              <a:gd name="connsiteY68" fmla="*/ 1543488 h 6046908"/>
              <a:gd name="connsiteX69" fmla="*/ 3506146 w 4527226"/>
              <a:gd name="connsiteY69" fmla="*/ 1962588 h 6046908"/>
              <a:gd name="connsiteX70" fmla="*/ 3338506 w 4527226"/>
              <a:gd name="connsiteY70" fmla="*/ 2305488 h 6046908"/>
              <a:gd name="connsiteX71" fmla="*/ 3254686 w 4527226"/>
              <a:gd name="connsiteY71" fmla="*/ 2473128 h 6046908"/>
              <a:gd name="connsiteX72" fmla="*/ 3132766 w 4527226"/>
              <a:gd name="connsiteY72" fmla="*/ 2663628 h 6046908"/>
              <a:gd name="connsiteX73" fmla="*/ 3071806 w 4527226"/>
              <a:gd name="connsiteY73" fmla="*/ 2838888 h 6046908"/>
              <a:gd name="connsiteX74" fmla="*/ 3064186 w 4527226"/>
              <a:gd name="connsiteY74" fmla="*/ 2915088 h 6046908"/>
              <a:gd name="connsiteX75" fmla="*/ 3018466 w 4527226"/>
              <a:gd name="connsiteY75" fmla="*/ 3014148 h 6046908"/>
              <a:gd name="connsiteX76" fmla="*/ 2980366 w 4527226"/>
              <a:gd name="connsiteY76" fmla="*/ 3082728 h 6046908"/>
              <a:gd name="connsiteX77" fmla="*/ 2957506 w 4527226"/>
              <a:gd name="connsiteY77" fmla="*/ 3120828 h 6046908"/>
              <a:gd name="connsiteX78" fmla="*/ 2957506 w 4527226"/>
              <a:gd name="connsiteY78" fmla="*/ 3555168 h 6046908"/>
              <a:gd name="connsiteX79" fmla="*/ 3010846 w 4527226"/>
              <a:gd name="connsiteY79" fmla="*/ 3539928 h 6046908"/>
              <a:gd name="connsiteX80" fmla="*/ 3109906 w 4527226"/>
              <a:gd name="connsiteY80" fmla="*/ 3570408 h 6046908"/>
              <a:gd name="connsiteX81" fmla="*/ 3140386 w 4527226"/>
              <a:gd name="connsiteY81" fmla="*/ 3631368 h 6046908"/>
              <a:gd name="connsiteX82" fmla="*/ 3117526 w 4527226"/>
              <a:gd name="connsiteY82" fmla="*/ 3738048 h 6046908"/>
              <a:gd name="connsiteX83" fmla="*/ 3125146 w 4527226"/>
              <a:gd name="connsiteY83" fmla="*/ 4103808 h 6046908"/>
              <a:gd name="connsiteX84" fmla="*/ 3163246 w 4527226"/>
              <a:gd name="connsiteY84" fmla="*/ 4157148 h 6046908"/>
              <a:gd name="connsiteX85" fmla="*/ 3201346 w 4527226"/>
              <a:gd name="connsiteY85" fmla="*/ 4164768 h 6046908"/>
              <a:gd name="connsiteX86" fmla="*/ 3231826 w 4527226"/>
              <a:gd name="connsiteY86" fmla="*/ 4172388 h 6046908"/>
              <a:gd name="connsiteX87" fmla="*/ 3285166 w 4527226"/>
              <a:gd name="connsiteY87" fmla="*/ 4294308 h 6046908"/>
              <a:gd name="connsiteX88" fmla="*/ 3300406 w 4527226"/>
              <a:gd name="connsiteY88" fmla="*/ 4347648 h 6046908"/>
              <a:gd name="connsiteX89" fmla="*/ 3330886 w 4527226"/>
              <a:gd name="connsiteY89" fmla="*/ 4408608 h 6046908"/>
              <a:gd name="connsiteX90" fmla="*/ 3551866 w 4527226"/>
              <a:gd name="connsiteY90" fmla="*/ 4644828 h 6046908"/>
              <a:gd name="connsiteX91" fmla="*/ 3887146 w 4527226"/>
              <a:gd name="connsiteY91" fmla="*/ 5025828 h 6046908"/>
              <a:gd name="connsiteX92" fmla="*/ 4100506 w 4527226"/>
              <a:gd name="connsiteY92" fmla="*/ 5300148 h 6046908"/>
              <a:gd name="connsiteX93" fmla="*/ 4367206 w 4527226"/>
              <a:gd name="connsiteY93" fmla="*/ 5726868 h 6046908"/>
              <a:gd name="connsiteX94" fmla="*/ 4527226 w 4527226"/>
              <a:gd name="connsiteY94" fmla="*/ 6046908 h 6046908"/>
              <a:gd name="connsiteX0" fmla="*/ 709606 w 4527226"/>
              <a:gd name="connsiteY0" fmla="*/ 5025828 h 6046908"/>
              <a:gd name="connsiteX1" fmla="*/ 701986 w 4527226"/>
              <a:gd name="connsiteY1" fmla="*/ 5002968 h 6046908"/>
              <a:gd name="connsiteX2" fmla="*/ 968686 w 4527226"/>
              <a:gd name="connsiteY2" fmla="*/ 4682928 h 6046908"/>
              <a:gd name="connsiteX3" fmla="*/ 961066 w 4527226"/>
              <a:gd name="connsiteY3" fmla="*/ 4644828 h 6046908"/>
              <a:gd name="connsiteX4" fmla="*/ 1342066 w 4527226"/>
              <a:gd name="connsiteY4" fmla="*/ 4172388 h 6046908"/>
              <a:gd name="connsiteX5" fmla="*/ 1258246 w 4527226"/>
              <a:gd name="connsiteY5" fmla="*/ 4012368 h 6046908"/>
              <a:gd name="connsiteX6" fmla="*/ 1204906 w 4527226"/>
              <a:gd name="connsiteY6" fmla="*/ 3928548 h 6046908"/>
              <a:gd name="connsiteX7" fmla="*/ 1174426 w 4527226"/>
              <a:gd name="connsiteY7" fmla="*/ 3768528 h 6046908"/>
              <a:gd name="connsiteX8" fmla="*/ 1151566 w 4527226"/>
              <a:gd name="connsiteY8" fmla="*/ 3699948 h 6046908"/>
              <a:gd name="connsiteX9" fmla="*/ 1143946 w 4527226"/>
              <a:gd name="connsiteY9" fmla="*/ 3669468 h 6046908"/>
              <a:gd name="connsiteX10" fmla="*/ 1067746 w 4527226"/>
              <a:gd name="connsiteY10" fmla="*/ 3661848 h 6046908"/>
              <a:gd name="connsiteX11" fmla="*/ 938206 w 4527226"/>
              <a:gd name="connsiteY11" fmla="*/ 3669468 h 6046908"/>
              <a:gd name="connsiteX12" fmla="*/ 831526 w 4527226"/>
              <a:gd name="connsiteY12" fmla="*/ 3692328 h 6046908"/>
              <a:gd name="connsiteX13" fmla="*/ 610546 w 4527226"/>
              <a:gd name="connsiteY13" fmla="*/ 3738048 h 6046908"/>
              <a:gd name="connsiteX14" fmla="*/ 389566 w 4527226"/>
              <a:gd name="connsiteY14" fmla="*/ 3638988 h 6046908"/>
              <a:gd name="connsiteX15" fmla="*/ 381946 w 4527226"/>
              <a:gd name="connsiteY15" fmla="*/ 3326568 h 6046908"/>
              <a:gd name="connsiteX16" fmla="*/ 420046 w 4527226"/>
              <a:gd name="connsiteY16" fmla="*/ 3227508 h 6046908"/>
              <a:gd name="connsiteX17" fmla="*/ 389566 w 4527226"/>
              <a:gd name="connsiteY17" fmla="*/ 3166548 h 6046908"/>
              <a:gd name="connsiteX18" fmla="*/ 351466 w 4527226"/>
              <a:gd name="connsiteY18" fmla="*/ 3105588 h 6046908"/>
              <a:gd name="connsiteX19" fmla="*/ 397186 w 4527226"/>
              <a:gd name="connsiteY19" fmla="*/ 3021768 h 6046908"/>
              <a:gd name="connsiteX20" fmla="*/ 488626 w 4527226"/>
              <a:gd name="connsiteY20" fmla="*/ 2998908 h 6046908"/>
              <a:gd name="connsiteX21" fmla="*/ 471956 w 4527226"/>
              <a:gd name="connsiteY21" fmla="*/ 2942709 h 6046908"/>
              <a:gd name="connsiteX22" fmla="*/ 435286 w 4527226"/>
              <a:gd name="connsiteY22" fmla="*/ 2930328 h 6046908"/>
              <a:gd name="connsiteX23" fmla="*/ 389566 w 4527226"/>
              <a:gd name="connsiteY23" fmla="*/ 2930328 h 6046908"/>
              <a:gd name="connsiteX24" fmla="*/ 314000 w 4527226"/>
              <a:gd name="connsiteY24" fmla="*/ 2893495 h 6046908"/>
              <a:gd name="connsiteX25" fmla="*/ 320986 w 4527226"/>
              <a:gd name="connsiteY25" fmla="*/ 2846508 h 6046908"/>
              <a:gd name="connsiteX26" fmla="*/ 328606 w 4527226"/>
              <a:gd name="connsiteY26" fmla="*/ 2793168 h 6046908"/>
              <a:gd name="connsiteX27" fmla="*/ 313366 w 4527226"/>
              <a:gd name="connsiteY27" fmla="*/ 2732208 h 6046908"/>
              <a:gd name="connsiteX28" fmla="*/ 267646 w 4527226"/>
              <a:gd name="connsiteY28" fmla="*/ 2671248 h 6046908"/>
              <a:gd name="connsiteX29" fmla="*/ 176206 w 4527226"/>
              <a:gd name="connsiteY29" fmla="*/ 2656008 h 6046908"/>
              <a:gd name="connsiteX30" fmla="*/ 54286 w 4527226"/>
              <a:gd name="connsiteY30" fmla="*/ 2610288 h 6046908"/>
              <a:gd name="connsiteX31" fmla="*/ 7931 w 4527226"/>
              <a:gd name="connsiteY31" fmla="*/ 2563298 h 6046908"/>
              <a:gd name="connsiteX32" fmla="*/ 8566 w 4527226"/>
              <a:gd name="connsiteY32" fmla="*/ 2488368 h 6046908"/>
              <a:gd name="connsiteX33" fmla="*/ 92386 w 4527226"/>
              <a:gd name="connsiteY33" fmla="*/ 2335968 h 6046908"/>
              <a:gd name="connsiteX34" fmla="*/ 221926 w 4527226"/>
              <a:gd name="connsiteY34" fmla="*/ 2175948 h 6046908"/>
              <a:gd name="connsiteX35" fmla="*/ 282886 w 4527226"/>
              <a:gd name="connsiteY35" fmla="*/ 2084508 h 6046908"/>
              <a:gd name="connsiteX36" fmla="*/ 328606 w 4527226"/>
              <a:gd name="connsiteY36" fmla="*/ 1977828 h 6046908"/>
              <a:gd name="connsiteX37" fmla="*/ 359086 w 4527226"/>
              <a:gd name="connsiteY37" fmla="*/ 1871148 h 6046908"/>
              <a:gd name="connsiteX38" fmla="*/ 374326 w 4527226"/>
              <a:gd name="connsiteY38" fmla="*/ 1810188 h 6046908"/>
              <a:gd name="connsiteX39" fmla="*/ 343846 w 4527226"/>
              <a:gd name="connsiteY39" fmla="*/ 1756848 h 6046908"/>
              <a:gd name="connsiteX40" fmla="*/ 328606 w 4527226"/>
              <a:gd name="connsiteY40" fmla="*/ 1680648 h 6046908"/>
              <a:gd name="connsiteX41" fmla="*/ 412426 w 4527226"/>
              <a:gd name="connsiteY41" fmla="*/ 1474908 h 6046908"/>
              <a:gd name="connsiteX42" fmla="*/ 442906 w 4527226"/>
              <a:gd name="connsiteY42" fmla="*/ 1307268 h 6046908"/>
              <a:gd name="connsiteX43" fmla="*/ 465766 w 4527226"/>
              <a:gd name="connsiteY43" fmla="*/ 1192968 h 6046908"/>
              <a:gd name="connsiteX44" fmla="*/ 503866 w 4527226"/>
              <a:gd name="connsiteY44" fmla="*/ 1055808 h 6046908"/>
              <a:gd name="connsiteX45" fmla="*/ 557206 w 4527226"/>
              <a:gd name="connsiteY45" fmla="*/ 888168 h 6046908"/>
              <a:gd name="connsiteX46" fmla="*/ 503866 w 4527226"/>
              <a:gd name="connsiteY46" fmla="*/ 888168 h 6046908"/>
              <a:gd name="connsiteX47" fmla="*/ 412426 w 4527226"/>
              <a:gd name="connsiteY47" fmla="*/ 834828 h 6046908"/>
              <a:gd name="connsiteX48" fmla="*/ 328606 w 4527226"/>
              <a:gd name="connsiteY48" fmla="*/ 789108 h 6046908"/>
              <a:gd name="connsiteX49" fmla="*/ 260026 w 4527226"/>
              <a:gd name="connsiteY49" fmla="*/ 773868 h 6046908"/>
              <a:gd name="connsiteX50" fmla="*/ 214306 w 4527226"/>
              <a:gd name="connsiteY50" fmla="*/ 751008 h 6046908"/>
              <a:gd name="connsiteX51" fmla="*/ 260026 w 4527226"/>
              <a:gd name="connsiteY51" fmla="*/ 674808 h 6046908"/>
              <a:gd name="connsiteX52" fmla="*/ 374326 w 4527226"/>
              <a:gd name="connsiteY52" fmla="*/ 606228 h 6046908"/>
              <a:gd name="connsiteX53" fmla="*/ 557206 w 4527226"/>
              <a:gd name="connsiteY53" fmla="*/ 507168 h 6046908"/>
              <a:gd name="connsiteX54" fmla="*/ 656266 w 4527226"/>
              <a:gd name="connsiteY54" fmla="*/ 423348 h 6046908"/>
              <a:gd name="connsiteX55" fmla="*/ 892486 w 4527226"/>
              <a:gd name="connsiteY55" fmla="*/ 232848 h 6046908"/>
              <a:gd name="connsiteX56" fmla="*/ 1174426 w 4527226"/>
              <a:gd name="connsiteY56" fmla="*/ 80448 h 6046908"/>
              <a:gd name="connsiteX57" fmla="*/ 1593526 w 4527226"/>
              <a:gd name="connsiteY57" fmla="*/ 11868 h 6046908"/>
              <a:gd name="connsiteX58" fmla="*/ 1944046 w 4527226"/>
              <a:gd name="connsiteY58" fmla="*/ 4248 h 6046908"/>
              <a:gd name="connsiteX59" fmla="*/ 2172646 w 4527226"/>
              <a:gd name="connsiteY59" fmla="*/ 4248 h 6046908"/>
              <a:gd name="connsiteX60" fmla="*/ 2393626 w 4527226"/>
              <a:gd name="connsiteY60" fmla="*/ 57588 h 6046908"/>
              <a:gd name="connsiteX61" fmla="*/ 2667946 w 4527226"/>
              <a:gd name="connsiteY61" fmla="*/ 133788 h 6046908"/>
              <a:gd name="connsiteX62" fmla="*/ 2820346 w 4527226"/>
              <a:gd name="connsiteY62" fmla="*/ 202368 h 6046908"/>
              <a:gd name="connsiteX63" fmla="*/ 3102286 w 4527226"/>
              <a:gd name="connsiteY63" fmla="*/ 400488 h 6046908"/>
              <a:gd name="connsiteX64" fmla="*/ 3285166 w 4527226"/>
              <a:gd name="connsiteY64" fmla="*/ 651948 h 6046908"/>
              <a:gd name="connsiteX65" fmla="*/ 3407086 w 4527226"/>
              <a:gd name="connsiteY65" fmla="*/ 918648 h 6046908"/>
              <a:gd name="connsiteX66" fmla="*/ 3475666 w 4527226"/>
              <a:gd name="connsiteY66" fmla="*/ 1238688 h 6046908"/>
              <a:gd name="connsiteX67" fmla="*/ 3506146 w 4527226"/>
              <a:gd name="connsiteY67" fmla="*/ 1543488 h 6046908"/>
              <a:gd name="connsiteX68" fmla="*/ 3506146 w 4527226"/>
              <a:gd name="connsiteY68" fmla="*/ 1962588 h 6046908"/>
              <a:gd name="connsiteX69" fmla="*/ 3338506 w 4527226"/>
              <a:gd name="connsiteY69" fmla="*/ 2305488 h 6046908"/>
              <a:gd name="connsiteX70" fmla="*/ 3254686 w 4527226"/>
              <a:gd name="connsiteY70" fmla="*/ 2473128 h 6046908"/>
              <a:gd name="connsiteX71" fmla="*/ 3132766 w 4527226"/>
              <a:gd name="connsiteY71" fmla="*/ 2663628 h 6046908"/>
              <a:gd name="connsiteX72" fmla="*/ 3071806 w 4527226"/>
              <a:gd name="connsiteY72" fmla="*/ 2838888 h 6046908"/>
              <a:gd name="connsiteX73" fmla="*/ 3064186 w 4527226"/>
              <a:gd name="connsiteY73" fmla="*/ 2915088 h 6046908"/>
              <a:gd name="connsiteX74" fmla="*/ 3018466 w 4527226"/>
              <a:gd name="connsiteY74" fmla="*/ 3014148 h 6046908"/>
              <a:gd name="connsiteX75" fmla="*/ 2980366 w 4527226"/>
              <a:gd name="connsiteY75" fmla="*/ 3082728 h 6046908"/>
              <a:gd name="connsiteX76" fmla="*/ 2957506 w 4527226"/>
              <a:gd name="connsiteY76" fmla="*/ 3120828 h 6046908"/>
              <a:gd name="connsiteX77" fmla="*/ 2957506 w 4527226"/>
              <a:gd name="connsiteY77" fmla="*/ 3555168 h 6046908"/>
              <a:gd name="connsiteX78" fmla="*/ 3010846 w 4527226"/>
              <a:gd name="connsiteY78" fmla="*/ 3539928 h 6046908"/>
              <a:gd name="connsiteX79" fmla="*/ 3109906 w 4527226"/>
              <a:gd name="connsiteY79" fmla="*/ 3570408 h 6046908"/>
              <a:gd name="connsiteX80" fmla="*/ 3140386 w 4527226"/>
              <a:gd name="connsiteY80" fmla="*/ 3631368 h 6046908"/>
              <a:gd name="connsiteX81" fmla="*/ 3117526 w 4527226"/>
              <a:gd name="connsiteY81" fmla="*/ 3738048 h 6046908"/>
              <a:gd name="connsiteX82" fmla="*/ 3125146 w 4527226"/>
              <a:gd name="connsiteY82" fmla="*/ 4103808 h 6046908"/>
              <a:gd name="connsiteX83" fmla="*/ 3163246 w 4527226"/>
              <a:gd name="connsiteY83" fmla="*/ 4157148 h 6046908"/>
              <a:gd name="connsiteX84" fmla="*/ 3201346 w 4527226"/>
              <a:gd name="connsiteY84" fmla="*/ 4164768 h 6046908"/>
              <a:gd name="connsiteX85" fmla="*/ 3231826 w 4527226"/>
              <a:gd name="connsiteY85" fmla="*/ 4172388 h 6046908"/>
              <a:gd name="connsiteX86" fmla="*/ 3285166 w 4527226"/>
              <a:gd name="connsiteY86" fmla="*/ 4294308 h 6046908"/>
              <a:gd name="connsiteX87" fmla="*/ 3300406 w 4527226"/>
              <a:gd name="connsiteY87" fmla="*/ 4347648 h 6046908"/>
              <a:gd name="connsiteX88" fmla="*/ 3330886 w 4527226"/>
              <a:gd name="connsiteY88" fmla="*/ 4408608 h 6046908"/>
              <a:gd name="connsiteX89" fmla="*/ 3551866 w 4527226"/>
              <a:gd name="connsiteY89" fmla="*/ 4644828 h 6046908"/>
              <a:gd name="connsiteX90" fmla="*/ 3887146 w 4527226"/>
              <a:gd name="connsiteY90" fmla="*/ 5025828 h 6046908"/>
              <a:gd name="connsiteX91" fmla="*/ 4100506 w 4527226"/>
              <a:gd name="connsiteY91" fmla="*/ 5300148 h 6046908"/>
              <a:gd name="connsiteX92" fmla="*/ 4367206 w 4527226"/>
              <a:gd name="connsiteY92" fmla="*/ 5726868 h 6046908"/>
              <a:gd name="connsiteX93" fmla="*/ 4527226 w 4527226"/>
              <a:gd name="connsiteY93" fmla="*/ 6046908 h 6046908"/>
              <a:gd name="connsiteX0" fmla="*/ 701986 w 4527226"/>
              <a:gd name="connsiteY0" fmla="*/ 5002968 h 6046908"/>
              <a:gd name="connsiteX1" fmla="*/ 968686 w 4527226"/>
              <a:gd name="connsiteY1" fmla="*/ 4682928 h 6046908"/>
              <a:gd name="connsiteX2" fmla="*/ 961066 w 4527226"/>
              <a:gd name="connsiteY2" fmla="*/ 4644828 h 6046908"/>
              <a:gd name="connsiteX3" fmla="*/ 1342066 w 4527226"/>
              <a:gd name="connsiteY3" fmla="*/ 4172388 h 6046908"/>
              <a:gd name="connsiteX4" fmla="*/ 1258246 w 4527226"/>
              <a:gd name="connsiteY4" fmla="*/ 4012368 h 6046908"/>
              <a:gd name="connsiteX5" fmla="*/ 1204906 w 4527226"/>
              <a:gd name="connsiteY5" fmla="*/ 3928548 h 6046908"/>
              <a:gd name="connsiteX6" fmla="*/ 1174426 w 4527226"/>
              <a:gd name="connsiteY6" fmla="*/ 3768528 h 6046908"/>
              <a:gd name="connsiteX7" fmla="*/ 1151566 w 4527226"/>
              <a:gd name="connsiteY7" fmla="*/ 3699948 h 6046908"/>
              <a:gd name="connsiteX8" fmla="*/ 1143946 w 4527226"/>
              <a:gd name="connsiteY8" fmla="*/ 3669468 h 6046908"/>
              <a:gd name="connsiteX9" fmla="*/ 1067746 w 4527226"/>
              <a:gd name="connsiteY9" fmla="*/ 3661848 h 6046908"/>
              <a:gd name="connsiteX10" fmla="*/ 938206 w 4527226"/>
              <a:gd name="connsiteY10" fmla="*/ 3669468 h 6046908"/>
              <a:gd name="connsiteX11" fmla="*/ 831526 w 4527226"/>
              <a:gd name="connsiteY11" fmla="*/ 3692328 h 6046908"/>
              <a:gd name="connsiteX12" fmla="*/ 610546 w 4527226"/>
              <a:gd name="connsiteY12" fmla="*/ 3738048 h 6046908"/>
              <a:gd name="connsiteX13" fmla="*/ 389566 w 4527226"/>
              <a:gd name="connsiteY13" fmla="*/ 3638988 h 6046908"/>
              <a:gd name="connsiteX14" fmla="*/ 381946 w 4527226"/>
              <a:gd name="connsiteY14" fmla="*/ 3326568 h 6046908"/>
              <a:gd name="connsiteX15" fmla="*/ 420046 w 4527226"/>
              <a:gd name="connsiteY15" fmla="*/ 3227508 h 6046908"/>
              <a:gd name="connsiteX16" fmla="*/ 389566 w 4527226"/>
              <a:gd name="connsiteY16" fmla="*/ 3166548 h 6046908"/>
              <a:gd name="connsiteX17" fmla="*/ 351466 w 4527226"/>
              <a:gd name="connsiteY17" fmla="*/ 3105588 h 6046908"/>
              <a:gd name="connsiteX18" fmla="*/ 397186 w 4527226"/>
              <a:gd name="connsiteY18" fmla="*/ 3021768 h 6046908"/>
              <a:gd name="connsiteX19" fmla="*/ 488626 w 4527226"/>
              <a:gd name="connsiteY19" fmla="*/ 2998908 h 6046908"/>
              <a:gd name="connsiteX20" fmla="*/ 471956 w 4527226"/>
              <a:gd name="connsiteY20" fmla="*/ 2942709 h 6046908"/>
              <a:gd name="connsiteX21" fmla="*/ 435286 w 4527226"/>
              <a:gd name="connsiteY21" fmla="*/ 2930328 h 6046908"/>
              <a:gd name="connsiteX22" fmla="*/ 389566 w 4527226"/>
              <a:gd name="connsiteY22" fmla="*/ 2930328 h 6046908"/>
              <a:gd name="connsiteX23" fmla="*/ 314000 w 4527226"/>
              <a:gd name="connsiteY23" fmla="*/ 2893495 h 6046908"/>
              <a:gd name="connsiteX24" fmla="*/ 320986 w 4527226"/>
              <a:gd name="connsiteY24" fmla="*/ 2846508 h 6046908"/>
              <a:gd name="connsiteX25" fmla="*/ 328606 w 4527226"/>
              <a:gd name="connsiteY25" fmla="*/ 2793168 h 6046908"/>
              <a:gd name="connsiteX26" fmla="*/ 313366 w 4527226"/>
              <a:gd name="connsiteY26" fmla="*/ 2732208 h 6046908"/>
              <a:gd name="connsiteX27" fmla="*/ 267646 w 4527226"/>
              <a:gd name="connsiteY27" fmla="*/ 2671248 h 6046908"/>
              <a:gd name="connsiteX28" fmla="*/ 176206 w 4527226"/>
              <a:gd name="connsiteY28" fmla="*/ 2656008 h 6046908"/>
              <a:gd name="connsiteX29" fmla="*/ 54286 w 4527226"/>
              <a:gd name="connsiteY29" fmla="*/ 2610288 h 6046908"/>
              <a:gd name="connsiteX30" fmla="*/ 7931 w 4527226"/>
              <a:gd name="connsiteY30" fmla="*/ 2563298 h 6046908"/>
              <a:gd name="connsiteX31" fmla="*/ 8566 w 4527226"/>
              <a:gd name="connsiteY31" fmla="*/ 2488368 h 6046908"/>
              <a:gd name="connsiteX32" fmla="*/ 92386 w 4527226"/>
              <a:gd name="connsiteY32" fmla="*/ 2335968 h 6046908"/>
              <a:gd name="connsiteX33" fmla="*/ 221926 w 4527226"/>
              <a:gd name="connsiteY33" fmla="*/ 2175948 h 6046908"/>
              <a:gd name="connsiteX34" fmla="*/ 282886 w 4527226"/>
              <a:gd name="connsiteY34" fmla="*/ 2084508 h 6046908"/>
              <a:gd name="connsiteX35" fmla="*/ 328606 w 4527226"/>
              <a:gd name="connsiteY35" fmla="*/ 1977828 h 6046908"/>
              <a:gd name="connsiteX36" fmla="*/ 359086 w 4527226"/>
              <a:gd name="connsiteY36" fmla="*/ 1871148 h 6046908"/>
              <a:gd name="connsiteX37" fmla="*/ 374326 w 4527226"/>
              <a:gd name="connsiteY37" fmla="*/ 1810188 h 6046908"/>
              <a:gd name="connsiteX38" fmla="*/ 343846 w 4527226"/>
              <a:gd name="connsiteY38" fmla="*/ 1756848 h 6046908"/>
              <a:gd name="connsiteX39" fmla="*/ 328606 w 4527226"/>
              <a:gd name="connsiteY39" fmla="*/ 1680648 h 6046908"/>
              <a:gd name="connsiteX40" fmla="*/ 412426 w 4527226"/>
              <a:gd name="connsiteY40" fmla="*/ 1474908 h 6046908"/>
              <a:gd name="connsiteX41" fmla="*/ 442906 w 4527226"/>
              <a:gd name="connsiteY41" fmla="*/ 1307268 h 6046908"/>
              <a:gd name="connsiteX42" fmla="*/ 465766 w 4527226"/>
              <a:gd name="connsiteY42" fmla="*/ 1192968 h 6046908"/>
              <a:gd name="connsiteX43" fmla="*/ 503866 w 4527226"/>
              <a:gd name="connsiteY43" fmla="*/ 1055808 h 6046908"/>
              <a:gd name="connsiteX44" fmla="*/ 557206 w 4527226"/>
              <a:gd name="connsiteY44" fmla="*/ 888168 h 6046908"/>
              <a:gd name="connsiteX45" fmla="*/ 503866 w 4527226"/>
              <a:gd name="connsiteY45" fmla="*/ 888168 h 6046908"/>
              <a:gd name="connsiteX46" fmla="*/ 412426 w 4527226"/>
              <a:gd name="connsiteY46" fmla="*/ 834828 h 6046908"/>
              <a:gd name="connsiteX47" fmla="*/ 328606 w 4527226"/>
              <a:gd name="connsiteY47" fmla="*/ 789108 h 6046908"/>
              <a:gd name="connsiteX48" fmla="*/ 260026 w 4527226"/>
              <a:gd name="connsiteY48" fmla="*/ 773868 h 6046908"/>
              <a:gd name="connsiteX49" fmla="*/ 214306 w 4527226"/>
              <a:gd name="connsiteY49" fmla="*/ 751008 h 6046908"/>
              <a:gd name="connsiteX50" fmla="*/ 260026 w 4527226"/>
              <a:gd name="connsiteY50" fmla="*/ 674808 h 6046908"/>
              <a:gd name="connsiteX51" fmla="*/ 374326 w 4527226"/>
              <a:gd name="connsiteY51" fmla="*/ 606228 h 6046908"/>
              <a:gd name="connsiteX52" fmla="*/ 557206 w 4527226"/>
              <a:gd name="connsiteY52" fmla="*/ 507168 h 6046908"/>
              <a:gd name="connsiteX53" fmla="*/ 656266 w 4527226"/>
              <a:gd name="connsiteY53" fmla="*/ 423348 h 6046908"/>
              <a:gd name="connsiteX54" fmla="*/ 892486 w 4527226"/>
              <a:gd name="connsiteY54" fmla="*/ 232848 h 6046908"/>
              <a:gd name="connsiteX55" fmla="*/ 1174426 w 4527226"/>
              <a:gd name="connsiteY55" fmla="*/ 80448 h 6046908"/>
              <a:gd name="connsiteX56" fmla="*/ 1593526 w 4527226"/>
              <a:gd name="connsiteY56" fmla="*/ 11868 h 6046908"/>
              <a:gd name="connsiteX57" fmla="*/ 1944046 w 4527226"/>
              <a:gd name="connsiteY57" fmla="*/ 4248 h 6046908"/>
              <a:gd name="connsiteX58" fmla="*/ 2172646 w 4527226"/>
              <a:gd name="connsiteY58" fmla="*/ 4248 h 6046908"/>
              <a:gd name="connsiteX59" fmla="*/ 2393626 w 4527226"/>
              <a:gd name="connsiteY59" fmla="*/ 57588 h 6046908"/>
              <a:gd name="connsiteX60" fmla="*/ 2667946 w 4527226"/>
              <a:gd name="connsiteY60" fmla="*/ 133788 h 6046908"/>
              <a:gd name="connsiteX61" fmla="*/ 2820346 w 4527226"/>
              <a:gd name="connsiteY61" fmla="*/ 202368 h 6046908"/>
              <a:gd name="connsiteX62" fmla="*/ 3102286 w 4527226"/>
              <a:gd name="connsiteY62" fmla="*/ 400488 h 6046908"/>
              <a:gd name="connsiteX63" fmla="*/ 3285166 w 4527226"/>
              <a:gd name="connsiteY63" fmla="*/ 651948 h 6046908"/>
              <a:gd name="connsiteX64" fmla="*/ 3407086 w 4527226"/>
              <a:gd name="connsiteY64" fmla="*/ 918648 h 6046908"/>
              <a:gd name="connsiteX65" fmla="*/ 3475666 w 4527226"/>
              <a:gd name="connsiteY65" fmla="*/ 1238688 h 6046908"/>
              <a:gd name="connsiteX66" fmla="*/ 3506146 w 4527226"/>
              <a:gd name="connsiteY66" fmla="*/ 1543488 h 6046908"/>
              <a:gd name="connsiteX67" fmla="*/ 3506146 w 4527226"/>
              <a:gd name="connsiteY67" fmla="*/ 1962588 h 6046908"/>
              <a:gd name="connsiteX68" fmla="*/ 3338506 w 4527226"/>
              <a:gd name="connsiteY68" fmla="*/ 2305488 h 6046908"/>
              <a:gd name="connsiteX69" fmla="*/ 3254686 w 4527226"/>
              <a:gd name="connsiteY69" fmla="*/ 2473128 h 6046908"/>
              <a:gd name="connsiteX70" fmla="*/ 3132766 w 4527226"/>
              <a:gd name="connsiteY70" fmla="*/ 2663628 h 6046908"/>
              <a:gd name="connsiteX71" fmla="*/ 3071806 w 4527226"/>
              <a:gd name="connsiteY71" fmla="*/ 2838888 h 6046908"/>
              <a:gd name="connsiteX72" fmla="*/ 3064186 w 4527226"/>
              <a:gd name="connsiteY72" fmla="*/ 2915088 h 6046908"/>
              <a:gd name="connsiteX73" fmla="*/ 3018466 w 4527226"/>
              <a:gd name="connsiteY73" fmla="*/ 3014148 h 6046908"/>
              <a:gd name="connsiteX74" fmla="*/ 2980366 w 4527226"/>
              <a:gd name="connsiteY74" fmla="*/ 3082728 h 6046908"/>
              <a:gd name="connsiteX75" fmla="*/ 2957506 w 4527226"/>
              <a:gd name="connsiteY75" fmla="*/ 3120828 h 6046908"/>
              <a:gd name="connsiteX76" fmla="*/ 2957506 w 4527226"/>
              <a:gd name="connsiteY76" fmla="*/ 3555168 h 6046908"/>
              <a:gd name="connsiteX77" fmla="*/ 3010846 w 4527226"/>
              <a:gd name="connsiteY77" fmla="*/ 3539928 h 6046908"/>
              <a:gd name="connsiteX78" fmla="*/ 3109906 w 4527226"/>
              <a:gd name="connsiteY78" fmla="*/ 3570408 h 6046908"/>
              <a:gd name="connsiteX79" fmla="*/ 3140386 w 4527226"/>
              <a:gd name="connsiteY79" fmla="*/ 3631368 h 6046908"/>
              <a:gd name="connsiteX80" fmla="*/ 3117526 w 4527226"/>
              <a:gd name="connsiteY80" fmla="*/ 3738048 h 6046908"/>
              <a:gd name="connsiteX81" fmla="*/ 3125146 w 4527226"/>
              <a:gd name="connsiteY81" fmla="*/ 4103808 h 6046908"/>
              <a:gd name="connsiteX82" fmla="*/ 3163246 w 4527226"/>
              <a:gd name="connsiteY82" fmla="*/ 4157148 h 6046908"/>
              <a:gd name="connsiteX83" fmla="*/ 3201346 w 4527226"/>
              <a:gd name="connsiteY83" fmla="*/ 4164768 h 6046908"/>
              <a:gd name="connsiteX84" fmla="*/ 3231826 w 4527226"/>
              <a:gd name="connsiteY84" fmla="*/ 4172388 h 6046908"/>
              <a:gd name="connsiteX85" fmla="*/ 3285166 w 4527226"/>
              <a:gd name="connsiteY85" fmla="*/ 4294308 h 6046908"/>
              <a:gd name="connsiteX86" fmla="*/ 3300406 w 4527226"/>
              <a:gd name="connsiteY86" fmla="*/ 4347648 h 6046908"/>
              <a:gd name="connsiteX87" fmla="*/ 3330886 w 4527226"/>
              <a:gd name="connsiteY87" fmla="*/ 4408608 h 6046908"/>
              <a:gd name="connsiteX88" fmla="*/ 3551866 w 4527226"/>
              <a:gd name="connsiteY88" fmla="*/ 4644828 h 6046908"/>
              <a:gd name="connsiteX89" fmla="*/ 3887146 w 4527226"/>
              <a:gd name="connsiteY89" fmla="*/ 5025828 h 6046908"/>
              <a:gd name="connsiteX90" fmla="*/ 4100506 w 4527226"/>
              <a:gd name="connsiteY90" fmla="*/ 5300148 h 6046908"/>
              <a:gd name="connsiteX91" fmla="*/ 4367206 w 4527226"/>
              <a:gd name="connsiteY91" fmla="*/ 5726868 h 6046908"/>
              <a:gd name="connsiteX92" fmla="*/ 4527226 w 4527226"/>
              <a:gd name="connsiteY92" fmla="*/ 6046908 h 6046908"/>
              <a:gd name="connsiteX0" fmla="*/ 701986 w 4527226"/>
              <a:gd name="connsiteY0" fmla="*/ 5002968 h 6046908"/>
              <a:gd name="connsiteX1" fmla="*/ 961066 w 4527226"/>
              <a:gd name="connsiteY1" fmla="*/ 4644828 h 6046908"/>
              <a:gd name="connsiteX2" fmla="*/ 1342066 w 4527226"/>
              <a:gd name="connsiteY2" fmla="*/ 4172388 h 6046908"/>
              <a:gd name="connsiteX3" fmla="*/ 1258246 w 4527226"/>
              <a:gd name="connsiteY3" fmla="*/ 4012368 h 6046908"/>
              <a:gd name="connsiteX4" fmla="*/ 1204906 w 4527226"/>
              <a:gd name="connsiteY4" fmla="*/ 3928548 h 6046908"/>
              <a:gd name="connsiteX5" fmla="*/ 1174426 w 4527226"/>
              <a:gd name="connsiteY5" fmla="*/ 3768528 h 6046908"/>
              <a:gd name="connsiteX6" fmla="*/ 1151566 w 4527226"/>
              <a:gd name="connsiteY6" fmla="*/ 3699948 h 6046908"/>
              <a:gd name="connsiteX7" fmla="*/ 1143946 w 4527226"/>
              <a:gd name="connsiteY7" fmla="*/ 3669468 h 6046908"/>
              <a:gd name="connsiteX8" fmla="*/ 1067746 w 4527226"/>
              <a:gd name="connsiteY8" fmla="*/ 3661848 h 6046908"/>
              <a:gd name="connsiteX9" fmla="*/ 938206 w 4527226"/>
              <a:gd name="connsiteY9" fmla="*/ 3669468 h 6046908"/>
              <a:gd name="connsiteX10" fmla="*/ 831526 w 4527226"/>
              <a:gd name="connsiteY10" fmla="*/ 3692328 h 6046908"/>
              <a:gd name="connsiteX11" fmla="*/ 610546 w 4527226"/>
              <a:gd name="connsiteY11" fmla="*/ 3738048 h 6046908"/>
              <a:gd name="connsiteX12" fmla="*/ 389566 w 4527226"/>
              <a:gd name="connsiteY12" fmla="*/ 3638988 h 6046908"/>
              <a:gd name="connsiteX13" fmla="*/ 381946 w 4527226"/>
              <a:gd name="connsiteY13" fmla="*/ 3326568 h 6046908"/>
              <a:gd name="connsiteX14" fmla="*/ 420046 w 4527226"/>
              <a:gd name="connsiteY14" fmla="*/ 3227508 h 6046908"/>
              <a:gd name="connsiteX15" fmla="*/ 389566 w 4527226"/>
              <a:gd name="connsiteY15" fmla="*/ 3166548 h 6046908"/>
              <a:gd name="connsiteX16" fmla="*/ 351466 w 4527226"/>
              <a:gd name="connsiteY16" fmla="*/ 3105588 h 6046908"/>
              <a:gd name="connsiteX17" fmla="*/ 397186 w 4527226"/>
              <a:gd name="connsiteY17" fmla="*/ 3021768 h 6046908"/>
              <a:gd name="connsiteX18" fmla="*/ 488626 w 4527226"/>
              <a:gd name="connsiteY18" fmla="*/ 2998908 h 6046908"/>
              <a:gd name="connsiteX19" fmla="*/ 471956 w 4527226"/>
              <a:gd name="connsiteY19" fmla="*/ 2942709 h 6046908"/>
              <a:gd name="connsiteX20" fmla="*/ 435286 w 4527226"/>
              <a:gd name="connsiteY20" fmla="*/ 2930328 h 6046908"/>
              <a:gd name="connsiteX21" fmla="*/ 389566 w 4527226"/>
              <a:gd name="connsiteY21" fmla="*/ 2930328 h 6046908"/>
              <a:gd name="connsiteX22" fmla="*/ 314000 w 4527226"/>
              <a:gd name="connsiteY22" fmla="*/ 2893495 h 6046908"/>
              <a:gd name="connsiteX23" fmla="*/ 320986 w 4527226"/>
              <a:gd name="connsiteY23" fmla="*/ 2846508 h 6046908"/>
              <a:gd name="connsiteX24" fmla="*/ 328606 w 4527226"/>
              <a:gd name="connsiteY24" fmla="*/ 2793168 h 6046908"/>
              <a:gd name="connsiteX25" fmla="*/ 313366 w 4527226"/>
              <a:gd name="connsiteY25" fmla="*/ 2732208 h 6046908"/>
              <a:gd name="connsiteX26" fmla="*/ 267646 w 4527226"/>
              <a:gd name="connsiteY26" fmla="*/ 2671248 h 6046908"/>
              <a:gd name="connsiteX27" fmla="*/ 176206 w 4527226"/>
              <a:gd name="connsiteY27" fmla="*/ 2656008 h 6046908"/>
              <a:gd name="connsiteX28" fmla="*/ 54286 w 4527226"/>
              <a:gd name="connsiteY28" fmla="*/ 2610288 h 6046908"/>
              <a:gd name="connsiteX29" fmla="*/ 7931 w 4527226"/>
              <a:gd name="connsiteY29" fmla="*/ 2563298 h 6046908"/>
              <a:gd name="connsiteX30" fmla="*/ 8566 w 4527226"/>
              <a:gd name="connsiteY30" fmla="*/ 2488368 h 6046908"/>
              <a:gd name="connsiteX31" fmla="*/ 92386 w 4527226"/>
              <a:gd name="connsiteY31" fmla="*/ 2335968 h 6046908"/>
              <a:gd name="connsiteX32" fmla="*/ 221926 w 4527226"/>
              <a:gd name="connsiteY32" fmla="*/ 2175948 h 6046908"/>
              <a:gd name="connsiteX33" fmla="*/ 282886 w 4527226"/>
              <a:gd name="connsiteY33" fmla="*/ 2084508 h 6046908"/>
              <a:gd name="connsiteX34" fmla="*/ 328606 w 4527226"/>
              <a:gd name="connsiteY34" fmla="*/ 1977828 h 6046908"/>
              <a:gd name="connsiteX35" fmla="*/ 359086 w 4527226"/>
              <a:gd name="connsiteY35" fmla="*/ 1871148 h 6046908"/>
              <a:gd name="connsiteX36" fmla="*/ 374326 w 4527226"/>
              <a:gd name="connsiteY36" fmla="*/ 1810188 h 6046908"/>
              <a:gd name="connsiteX37" fmla="*/ 343846 w 4527226"/>
              <a:gd name="connsiteY37" fmla="*/ 1756848 h 6046908"/>
              <a:gd name="connsiteX38" fmla="*/ 328606 w 4527226"/>
              <a:gd name="connsiteY38" fmla="*/ 1680648 h 6046908"/>
              <a:gd name="connsiteX39" fmla="*/ 412426 w 4527226"/>
              <a:gd name="connsiteY39" fmla="*/ 1474908 h 6046908"/>
              <a:gd name="connsiteX40" fmla="*/ 442906 w 4527226"/>
              <a:gd name="connsiteY40" fmla="*/ 1307268 h 6046908"/>
              <a:gd name="connsiteX41" fmla="*/ 465766 w 4527226"/>
              <a:gd name="connsiteY41" fmla="*/ 1192968 h 6046908"/>
              <a:gd name="connsiteX42" fmla="*/ 503866 w 4527226"/>
              <a:gd name="connsiteY42" fmla="*/ 1055808 h 6046908"/>
              <a:gd name="connsiteX43" fmla="*/ 557206 w 4527226"/>
              <a:gd name="connsiteY43" fmla="*/ 888168 h 6046908"/>
              <a:gd name="connsiteX44" fmla="*/ 503866 w 4527226"/>
              <a:gd name="connsiteY44" fmla="*/ 888168 h 6046908"/>
              <a:gd name="connsiteX45" fmla="*/ 412426 w 4527226"/>
              <a:gd name="connsiteY45" fmla="*/ 834828 h 6046908"/>
              <a:gd name="connsiteX46" fmla="*/ 328606 w 4527226"/>
              <a:gd name="connsiteY46" fmla="*/ 789108 h 6046908"/>
              <a:gd name="connsiteX47" fmla="*/ 260026 w 4527226"/>
              <a:gd name="connsiteY47" fmla="*/ 773868 h 6046908"/>
              <a:gd name="connsiteX48" fmla="*/ 214306 w 4527226"/>
              <a:gd name="connsiteY48" fmla="*/ 751008 h 6046908"/>
              <a:gd name="connsiteX49" fmla="*/ 260026 w 4527226"/>
              <a:gd name="connsiteY49" fmla="*/ 674808 h 6046908"/>
              <a:gd name="connsiteX50" fmla="*/ 374326 w 4527226"/>
              <a:gd name="connsiteY50" fmla="*/ 606228 h 6046908"/>
              <a:gd name="connsiteX51" fmla="*/ 557206 w 4527226"/>
              <a:gd name="connsiteY51" fmla="*/ 507168 h 6046908"/>
              <a:gd name="connsiteX52" fmla="*/ 656266 w 4527226"/>
              <a:gd name="connsiteY52" fmla="*/ 423348 h 6046908"/>
              <a:gd name="connsiteX53" fmla="*/ 892486 w 4527226"/>
              <a:gd name="connsiteY53" fmla="*/ 232848 h 6046908"/>
              <a:gd name="connsiteX54" fmla="*/ 1174426 w 4527226"/>
              <a:gd name="connsiteY54" fmla="*/ 80448 h 6046908"/>
              <a:gd name="connsiteX55" fmla="*/ 1593526 w 4527226"/>
              <a:gd name="connsiteY55" fmla="*/ 11868 h 6046908"/>
              <a:gd name="connsiteX56" fmla="*/ 1944046 w 4527226"/>
              <a:gd name="connsiteY56" fmla="*/ 4248 h 6046908"/>
              <a:gd name="connsiteX57" fmla="*/ 2172646 w 4527226"/>
              <a:gd name="connsiteY57" fmla="*/ 4248 h 6046908"/>
              <a:gd name="connsiteX58" fmla="*/ 2393626 w 4527226"/>
              <a:gd name="connsiteY58" fmla="*/ 57588 h 6046908"/>
              <a:gd name="connsiteX59" fmla="*/ 2667946 w 4527226"/>
              <a:gd name="connsiteY59" fmla="*/ 133788 h 6046908"/>
              <a:gd name="connsiteX60" fmla="*/ 2820346 w 4527226"/>
              <a:gd name="connsiteY60" fmla="*/ 202368 h 6046908"/>
              <a:gd name="connsiteX61" fmla="*/ 3102286 w 4527226"/>
              <a:gd name="connsiteY61" fmla="*/ 400488 h 6046908"/>
              <a:gd name="connsiteX62" fmla="*/ 3285166 w 4527226"/>
              <a:gd name="connsiteY62" fmla="*/ 651948 h 6046908"/>
              <a:gd name="connsiteX63" fmla="*/ 3407086 w 4527226"/>
              <a:gd name="connsiteY63" fmla="*/ 918648 h 6046908"/>
              <a:gd name="connsiteX64" fmla="*/ 3475666 w 4527226"/>
              <a:gd name="connsiteY64" fmla="*/ 1238688 h 6046908"/>
              <a:gd name="connsiteX65" fmla="*/ 3506146 w 4527226"/>
              <a:gd name="connsiteY65" fmla="*/ 1543488 h 6046908"/>
              <a:gd name="connsiteX66" fmla="*/ 3506146 w 4527226"/>
              <a:gd name="connsiteY66" fmla="*/ 1962588 h 6046908"/>
              <a:gd name="connsiteX67" fmla="*/ 3338506 w 4527226"/>
              <a:gd name="connsiteY67" fmla="*/ 2305488 h 6046908"/>
              <a:gd name="connsiteX68" fmla="*/ 3254686 w 4527226"/>
              <a:gd name="connsiteY68" fmla="*/ 2473128 h 6046908"/>
              <a:gd name="connsiteX69" fmla="*/ 3132766 w 4527226"/>
              <a:gd name="connsiteY69" fmla="*/ 2663628 h 6046908"/>
              <a:gd name="connsiteX70" fmla="*/ 3071806 w 4527226"/>
              <a:gd name="connsiteY70" fmla="*/ 2838888 h 6046908"/>
              <a:gd name="connsiteX71" fmla="*/ 3064186 w 4527226"/>
              <a:gd name="connsiteY71" fmla="*/ 2915088 h 6046908"/>
              <a:gd name="connsiteX72" fmla="*/ 3018466 w 4527226"/>
              <a:gd name="connsiteY72" fmla="*/ 3014148 h 6046908"/>
              <a:gd name="connsiteX73" fmla="*/ 2980366 w 4527226"/>
              <a:gd name="connsiteY73" fmla="*/ 3082728 h 6046908"/>
              <a:gd name="connsiteX74" fmla="*/ 2957506 w 4527226"/>
              <a:gd name="connsiteY74" fmla="*/ 3120828 h 6046908"/>
              <a:gd name="connsiteX75" fmla="*/ 2957506 w 4527226"/>
              <a:gd name="connsiteY75" fmla="*/ 3555168 h 6046908"/>
              <a:gd name="connsiteX76" fmla="*/ 3010846 w 4527226"/>
              <a:gd name="connsiteY76" fmla="*/ 3539928 h 6046908"/>
              <a:gd name="connsiteX77" fmla="*/ 3109906 w 4527226"/>
              <a:gd name="connsiteY77" fmla="*/ 3570408 h 6046908"/>
              <a:gd name="connsiteX78" fmla="*/ 3140386 w 4527226"/>
              <a:gd name="connsiteY78" fmla="*/ 3631368 h 6046908"/>
              <a:gd name="connsiteX79" fmla="*/ 3117526 w 4527226"/>
              <a:gd name="connsiteY79" fmla="*/ 3738048 h 6046908"/>
              <a:gd name="connsiteX80" fmla="*/ 3125146 w 4527226"/>
              <a:gd name="connsiteY80" fmla="*/ 4103808 h 6046908"/>
              <a:gd name="connsiteX81" fmla="*/ 3163246 w 4527226"/>
              <a:gd name="connsiteY81" fmla="*/ 4157148 h 6046908"/>
              <a:gd name="connsiteX82" fmla="*/ 3201346 w 4527226"/>
              <a:gd name="connsiteY82" fmla="*/ 4164768 h 6046908"/>
              <a:gd name="connsiteX83" fmla="*/ 3231826 w 4527226"/>
              <a:gd name="connsiteY83" fmla="*/ 4172388 h 6046908"/>
              <a:gd name="connsiteX84" fmla="*/ 3285166 w 4527226"/>
              <a:gd name="connsiteY84" fmla="*/ 4294308 h 6046908"/>
              <a:gd name="connsiteX85" fmla="*/ 3300406 w 4527226"/>
              <a:gd name="connsiteY85" fmla="*/ 4347648 h 6046908"/>
              <a:gd name="connsiteX86" fmla="*/ 3330886 w 4527226"/>
              <a:gd name="connsiteY86" fmla="*/ 4408608 h 6046908"/>
              <a:gd name="connsiteX87" fmla="*/ 3551866 w 4527226"/>
              <a:gd name="connsiteY87" fmla="*/ 4644828 h 6046908"/>
              <a:gd name="connsiteX88" fmla="*/ 3887146 w 4527226"/>
              <a:gd name="connsiteY88" fmla="*/ 5025828 h 6046908"/>
              <a:gd name="connsiteX89" fmla="*/ 4100506 w 4527226"/>
              <a:gd name="connsiteY89" fmla="*/ 5300148 h 6046908"/>
              <a:gd name="connsiteX90" fmla="*/ 4367206 w 4527226"/>
              <a:gd name="connsiteY90" fmla="*/ 5726868 h 6046908"/>
              <a:gd name="connsiteX91" fmla="*/ 4527226 w 4527226"/>
              <a:gd name="connsiteY91" fmla="*/ 6046908 h 6046908"/>
              <a:gd name="connsiteX0" fmla="*/ 707488 w 4527226"/>
              <a:gd name="connsiteY0" fmla="*/ 5008470 h 6046908"/>
              <a:gd name="connsiteX1" fmla="*/ 961066 w 4527226"/>
              <a:gd name="connsiteY1" fmla="*/ 4644828 h 6046908"/>
              <a:gd name="connsiteX2" fmla="*/ 1342066 w 4527226"/>
              <a:gd name="connsiteY2" fmla="*/ 4172388 h 6046908"/>
              <a:gd name="connsiteX3" fmla="*/ 1258246 w 4527226"/>
              <a:gd name="connsiteY3" fmla="*/ 4012368 h 6046908"/>
              <a:gd name="connsiteX4" fmla="*/ 1204906 w 4527226"/>
              <a:gd name="connsiteY4" fmla="*/ 3928548 h 6046908"/>
              <a:gd name="connsiteX5" fmla="*/ 1174426 w 4527226"/>
              <a:gd name="connsiteY5" fmla="*/ 3768528 h 6046908"/>
              <a:gd name="connsiteX6" fmla="*/ 1151566 w 4527226"/>
              <a:gd name="connsiteY6" fmla="*/ 3699948 h 6046908"/>
              <a:gd name="connsiteX7" fmla="*/ 1143946 w 4527226"/>
              <a:gd name="connsiteY7" fmla="*/ 3669468 h 6046908"/>
              <a:gd name="connsiteX8" fmla="*/ 1067746 w 4527226"/>
              <a:gd name="connsiteY8" fmla="*/ 3661848 h 6046908"/>
              <a:gd name="connsiteX9" fmla="*/ 938206 w 4527226"/>
              <a:gd name="connsiteY9" fmla="*/ 3669468 h 6046908"/>
              <a:gd name="connsiteX10" fmla="*/ 831526 w 4527226"/>
              <a:gd name="connsiteY10" fmla="*/ 3692328 h 6046908"/>
              <a:gd name="connsiteX11" fmla="*/ 610546 w 4527226"/>
              <a:gd name="connsiteY11" fmla="*/ 3738048 h 6046908"/>
              <a:gd name="connsiteX12" fmla="*/ 389566 w 4527226"/>
              <a:gd name="connsiteY12" fmla="*/ 3638988 h 6046908"/>
              <a:gd name="connsiteX13" fmla="*/ 381946 w 4527226"/>
              <a:gd name="connsiteY13" fmla="*/ 3326568 h 6046908"/>
              <a:gd name="connsiteX14" fmla="*/ 420046 w 4527226"/>
              <a:gd name="connsiteY14" fmla="*/ 3227508 h 6046908"/>
              <a:gd name="connsiteX15" fmla="*/ 389566 w 4527226"/>
              <a:gd name="connsiteY15" fmla="*/ 3166548 h 6046908"/>
              <a:gd name="connsiteX16" fmla="*/ 351466 w 4527226"/>
              <a:gd name="connsiteY16" fmla="*/ 3105588 h 6046908"/>
              <a:gd name="connsiteX17" fmla="*/ 397186 w 4527226"/>
              <a:gd name="connsiteY17" fmla="*/ 3021768 h 6046908"/>
              <a:gd name="connsiteX18" fmla="*/ 488626 w 4527226"/>
              <a:gd name="connsiteY18" fmla="*/ 2998908 h 6046908"/>
              <a:gd name="connsiteX19" fmla="*/ 471956 w 4527226"/>
              <a:gd name="connsiteY19" fmla="*/ 2942709 h 6046908"/>
              <a:gd name="connsiteX20" fmla="*/ 435286 w 4527226"/>
              <a:gd name="connsiteY20" fmla="*/ 2930328 h 6046908"/>
              <a:gd name="connsiteX21" fmla="*/ 389566 w 4527226"/>
              <a:gd name="connsiteY21" fmla="*/ 2930328 h 6046908"/>
              <a:gd name="connsiteX22" fmla="*/ 314000 w 4527226"/>
              <a:gd name="connsiteY22" fmla="*/ 2893495 h 6046908"/>
              <a:gd name="connsiteX23" fmla="*/ 320986 w 4527226"/>
              <a:gd name="connsiteY23" fmla="*/ 2846508 h 6046908"/>
              <a:gd name="connsiteX24" fmla="*/ 328606 w 4527226"/>
              <a:gd name="connsiteY24" fmla="*/ 2793168 h 6046908"/>
              <a:gd name="connsiteX25" fmla="*/ 313366 w 4527226"/>
              <a:gd name="connsiteY25" fmla="*/ 2732208 h 6046908"/>
              <a:gd name="connsiteX26" fmla="*/ 267646 w 4527226"/>
              <a:gd name="connsiteY26" fmla="*/ 2671248 h 6046908"/>
              <a:gd name="connsiteX27" fmla="*/ 176206 w 4527226"/>
              <a:gd name="connsiteY27" fmla="*/ 2656008 h 6046908"/>
              <a:gd name="connsiteX28" fmla="*/ 54286 w 4527226"/>
              <a:gd name="connsiteY28" fmla="*/ 2610288 h 6046908"/>
              <a:gd name="connsiteX29" fmla="*/ 7931 w 4527226"/>
              <a:gd name="connsiteY29" fmla="*/ 2563298 h 6046908"/>
              <a:gd name="connsiteX30" fmla="*/ 8566 w 4527226"/>
              <a:gd name="connsiteY30" fmla="*/ 2488368 h 6046908"/>
              <a:gd name="connsiteX31" fmla="*/ 92386 w 4527226"/>
              <a:gd name="connsiteY31" fmla="*/ 2335968 h 6046908"/>
              <a:gd name="connsiteX32" fmla="*/ 221926 w 4527226"/>
              <a:gd name="connsiteY32" fmla="*/ 2175948 h 6046908"/>
              <a:gd name="connsiteX33" fmla="*/ 282886 w 4527226"/>
              <a:gd name="connsiteY33" fmla="*/ 2084508 h 6046908"/>
              <a:gd name="connsiteX34" fmla="*/ 328606 w 4527226"/>
              <a:gd name="connsiteY34" fmla="*/ 1977828 h 6046908"/>
              <a:gd name="connsiteX35" fmla="*/ 359086 w 4527226"/>
              <a:gd name="connsiteY35" fmla="*/ 1871148 h 6046908"/>
              <a:gd name="connsiteX36" fmla="*/ 374326 w 4527226"/>
              <a:gd name="connsiteY36" fmla="*/ 1810188 h 6046908"/>
              <a:gd name="connsiteX37" fmla="*/ 343846 w 4527226"/>
              <a:gd name="connsiteY37" fmla="*/ 1756848 h 6046908"/>
              <a:gd name="connsiteX38" fmla="*/ 328606 w 4527226"/>
              <a:gd name="connsiteY38" fmla="*/ 1680648 h 6046908"/>
              <a:gd name="connsiteX39" fmla="*/ 412426 w 4527226"/>
              <a:gd name="connsiteY39" fmla="*/ 1474908 h 6046908"/>
              <a:gd name="connsiteX40" fmla="*/ 442906 w 4527226"/>
              <a:gd name="connsiteY40" fmla="*/ 1307268 h 6046908"/>
              <a:gd name="connsiteX41" fmla="*/ 465766 w 4527226"/>
              <a:gd name="connsiteY41" fmla="*/ 1192968 h 6046908"/>
              <a:gd name="connsiteX42" fmla="*/ 503866 w 4527226"/>
              <a:gd name="connsiteY42" fmla="*/ 1055808 h 6046908"/>
              <a:gd name="connsiteX43" fmla="*/ 557206 w 4527226"/>
              <a:gd name="connsiteY43" fmla="*/ 888168 h 6046908"/>
              <a:gd name="connsiteX44" fmla="*/ 503866 w 4527226"/>
              <a:gd name="connsiteY44" fmla="*/ 888168 h 6046908"/>
              <a:gd name="connsiteX45" fmla="*/ 412426 w 4527226"/>
              <a:gd name="connsiteY45" fmla="*/ 834828 h 6046908"/>
              <a:gd name="connsiteX46" fmla="*/ 328606 w 4527226"/>
              <a:gd name="connsiteY46" fmla="*/ 789108 h 6046908"/>
              <a:gd name="connsiteX47" fmla="*/ 260026 w 4527226"/>
              <a:gd name="connsiteY47" fmla="*/ 773868 h 6046908"/>
              <a:gd name="connsiteX48" fmla="*/ 214306 w 4527226"/>
              <a:gd name="connsiteY48" fmla="*/ 751008 h 6046908"/>
              <a:gd name="connsiteX49" fmla="*/ 260026 w 4527226"/>
              <a:gd name="connsiteY49" fmla="*/ 674808 h 6046908"/>
              <a:gd name="connsiteX50" fmla="*/ 374326 w 4527226"/>
              <a:gd name="connsiteY50" fmla="*/ 606228 h 6046908"/>
              <a:gd name="connsiteX51" fmla="*/ 557206 w 4527226"/>
              <a:gd name="connsiteY51" fmla="*/ 507168 h 6046908"/>
              <a:gd name="connsiteX52" fmla="*/ 656266 w 4527226"/>
              <a:gd name="connsiteY52" fmla="*/ 423348 h 6046908"/>
              <a:gd name="connsiteX53" fmla="*/ 892486 w 4527226"/>
              <a:gd name="connsiteY53" fmla="*/ 232848 h 6046908"/>
              <a:gd name="connsiteX54" fmla="*/ 1174426 w 4527226"/>
              <a:gd name="connsiteY54" fmla="*/ 80448 h 6046908"/>
              <a:gd name="connsiteX55" fmla="*/ 1593526 w 4527226"/>
              <a:gd name="connsiteY55" fmla="*/ 11868 h 6046908"/>
              <a:gd name="connsiteX56" fmla="*/ 1944046 w 4527226"/>
              <a:gd name="connsiteY56" fmla="*/ 4248 h 6046908"/>
              <a:gd name="connsiteX57" fmla="*/ 2172646 w 4527226"/>
              <a:gd name="connsiteY57" fmla="*/ 4248 h 6046908"/>
              <a:gd name="connsiteX58" fmla="*/ 2393626 w 4527226"/>
              <a:gd name="connsiteY58" fmla="*/ 57588 h 6046908"/>
              <a:gd name="connsiteX59" fmla="*/ 2667946 w 4527226"/>
              <a:gd name="connsiteY59" fmla="*/ 133788 h 6046908"/>
              <a:gd name="connsiteX60" fmla="*/ 2820346 w 4527226"/>
              <a:gd name="connsiteY60" fmla="*/ 202368 h 6046908"/>
              <a:gd name="connsiteX61" fmla="*/ 3102286 w 4527226"/>
              <a:gd name="connsiteY61" fmla="*/ 400488 h 6046908"/>
              <a:gd name="connsiteX62" fmla="*/ 3285166 w 4527226"/>
              <a:gd name="connsiteY62" fmla="*/ 651948 h 6046908"/>
              <a:gd name="connsiteX63" fmla="*/ 3407086 w 4527226"/>
              <a:gd name="connsiteY63" fmla="*/ 918648 h 6046908"/>
              <a:gd name="connsiteX64" fmla="*/ 3475666 w 4527226"/>
              <a:gd name="connsiteY64" fmla="*/ 1238688 h 6046908"/>
              <a:gd name="connsiteX65" fmla="*/ 3506146 w 4527226"/>
              <a:gd name="connsiteY65" fmla="*/ 1543488 h 6046908"/>
              <a:gd name="connsiteX66" fmla="*/ 3506146 w 4527226"/>
              <a:gd name="connsiteY66" fmla="*/ 1962588 h 6046908"/>
              <a:gd name="connsiteX67" fmla="*/ 3338506 w 4527226"/>
              <a:gd name="connsiteY67" fmla="*/ 2305488 h 6046908"/>
              <a:gd name="connsiteX68" fmla="*/ 3254686 w 4527226"/>
              <a:gd name="connsiteY68" fmla="*/ 2473128 h 6046908"/>
              <a:gd name="connsiteX69" fmla="*/ 3132766 w 4527226"/>
              <a:gd name="connsiteY69" fmla="*/ 2663628 h 6046908"/>
              <a:gd name="connsiteX70" fmla="*/ 3071806 w 4527226"/>
              <a:gd name="connsiteY70" fmla="*/ 2838888 h 6046908"/>
              <a:gd name="connsiteX71" fmla="*/ 3064186 w 4527226"/>
              <a:gd name="connsiteY71" fmla="*/ 2915088 h 6046908"/>
              <a:gd name="connsiteX72" fmla="*/ 3018466 w 4527226"/>
              <a:gd name="connsiteY72" fmla="*/ 3014148 h 6046908"/>
              <a:gd name="connsiteX73" fmla="*/ 2980366 w 4527226"/>
              <a:gd name="connsiteY73" fmla="*/ 3082728 h 6046908"/>
              <a:gd name="connsiteX74" fmla="*/ 2957506 w 4527226"/>
              <a:gd name="connsiteY74" fmla="*/ 3120828 h 6046908"/>
              <a:gd name="connsiteX75" fmla="*/ 2957506 w 4527226"/>
              <a:gd name="connsiteY75" fmla="*/ 3555168 h 6046908"/>
              <a:gd name="connsiteX76" fmla="*/ 3010846 w 4527226"/>
              <a:gd name="connsiteY76" fmla="*/ 3539928 h 6046908"/>
              <a:gd name="connsiteX77" fmla="*/ 3109906 w 4527226"/>
              <a:gd name="connsiteY77" fmla="*/ 3570408 h 6046908"/>
              <a:gd name="connsiteX78" fmla="*/ 3140386 w 4527226"/>
              <a:gd name="connsiteY78" fmla="*/ 3631368 h 6046908"/>
              <a:gd name="connsiteX79" fmla="*/ 3117526 w 4527226"/>
              <a:gd name="connsiteY79" fmla="*/ 3738048 h 6046908"/>
              <a:gd name="connsiteX80" fmla="*/ 3125146 w 4527226"/>
              <a:gd name="connsiteY80" fmla="*/ 4103808 h 6046908"/>
              <a:gd name="connsiteX81" fmla="*/ 3163246 w 4527226"/>
              <a:gd name="connsiteY81" fmla="*/ 4157148 h 6046908"/>
              <a:gd name="connsiteX82" fmla="*/ 3201346 w 4527226"/>
              <a:gd name="connsiteY82" fmla="*/ 4164768 h 6046908"/>
              <a:gd name="connsiteX83" fmla="*/ 3231826 w 4527226"/>
              <a:gd name="connsiteY83" fmla="*/ 4172388 h 6046908"/>
              <a:gd name="connsiteX84" fmla="*/ 3285166 w 4527226"/>
              <a:gd name="connsiteY84" fmla="*/ 4294308 h 6046908"/>
              <a:gd name="connsiteX85" fmla="*/ 3300406 w 4527226"/>
              <a:gd name="connsiteY85" fmla="*/ 4347648 h 6046908"/>
              <a:gd name="connsiteX86" fmla="*/ 3330886 w 4527226"/>
              <a:gd name="connsiteY86" fmla="*/ 4408608 h 6046908"/>
              <a:gd name="connsiteX87" fmla="*/ 3551866 w 4527226"/>
              <a:gd name="connsiteY87" fmla="*/ 4644828 h 6046908"/>
              <a:gd name="connsiteX88" fmla="*/ 3887146 w 4527226"/>
              <a:gd name="connsiteY88" fmla="*/ 5025828 h 6046908"/>
              <a:gd name="connsiteX89" fmla="*/ 4100506 w 4527226"/>
              <a:gd name="connsiteY89" fmla="*/ 5300148 h 6046908"/>
              <a:gd name="connsiteX90" fmla="*/ 4367206 w 4527226"/>
              <a:gd name="connsiteY90" fmla="*/ 5726868 h 6046908"/>
              <a:gd name="connsiteX91" fmla="*/ 4527226 w 4527226"/>
              <a:gd name="connsiteY91" fmla="*/ 6046908 h 6046908"/>
              <a:gd name="connsiteX0" fmla="*/ 707488 w 4367206"/>
              <a:gd name="connsiteY0" fmla="*/ 5008470 h 5726868"/>
              <a:gd name="connsiteX1" fmla="*/ 961066 w 4367206"/>
              <a:gd name="connsiteY1" fmla="*/ 4644828 h 5726868"/>
              <a:gd name="connsiteX2" fmla="*/ 1342066 w 4367206"/>
              <a:gd name="connsiteY2" fmla="*/ 4172388 h 5726868"/>
              <a:gd name="connsiteX3" fmla="*/ 1258246 w 4367206"/>
              <a:gd name="connsiteY3" fmla="*/ 4012368 h 5726868"/>
              <a:gd name="connsiteX4" fmla="*/ 1204906 w 4367206"/>
              <a:gd name="connsiteY4" fmla="*/ 3928548 h 5726868"/>
              <a:gd name="connsiteX5" fmla="*/ 1174426 w 4367206"/>
              <a:gd name="connsiteY5" fmla="*/ 3768528 h 5726868"/>
              <a:gd name="connsiteX6" fmla="*/ 1151566 w 4367206"/>
              <a:gd name="connsiteY6" fmla="*/ 3699948 h 5726868"/>
              <a:gd name="connsiteX7" fmla="*/ 1143946 w 4367206"/>
              <a:gd name="connsiteY7" fmla="*/ 3669468 h 5726868"/>
              <a:gd name="connsiteX8" fmla="*/ 1067746 w 4367206"/>
              <a:gd name="connsiteY8" fmla="*/ 3661848 h 5726868"/>
              <a:gd name="connsiteX9" fmla="*/ 938206 w 4367206"/>
              <a:gd name="connsiteY9" fmla="*/ 3669468 h 5726868"/>
              <a:gd name="connsiteX10" fmla="*/ 831526 w 4367206"/>
              <a:gd name="connsiteY10" fmla="*/ 3692328 h 5726868"/>
              <a:gd name="connsiteX11" fmla="*/ 610546 w 4367206"/>
              <a:gd name="connsiteY11" fmla="*/ 3738048 h 5726868"/>
              <a:gd name="connsiteX12" fmla="*/ 389566 w 4367206"/>
              <a:gd name="connsiteY12" fmla="*/ 3638988 h 5726868"/>
              <a:gd name="connsiteX13" fmla="*/ 381946 w 4367206"/>
              <a:gd name="connsiteY13" fmla="*/ 3326568 h 5726868"/>
              <a:gd name="connsiteX14" fmla="*/ 420046 w 4367206"/>
              <a:gd name="connsiteY14" fmla="*/ 3227508 h 5726868"/>
              <a:gd name="connsiteX15" fmla="*/ 389566 w 4367206"/>
              <a:gd name="connsiteY15" fmla="*/ 3166548 h 5726868"/>
              <a:gd name="connsiteX16" fmla="*/ 351466 w 4367206"/>
              <a:gd name="connsiteY16" fmla="*/ 3105588 h 5726868"/>
              <a:gd name="connsiteX17" fmla="*/ 397186 w 4367206"/>
              <a:gd name="connsiteY17" fmla="*/ 3021768 h 5726868"/>
              <a:gd name="connsiteX18" fmla="*/ 488626 w 4367206"/>
              <a:gd name="connsiteY18" fmla="*/ 2998908 h 5726868"/>
              <a:gd name="connsiteX19" fmla="*/ 471956 w 4367206"/>
              <a:gd name="connsiteY19" fmla="*/ 2942709 h 5726868"/>
              <a:gd name="connsiteX20" fmla="*/ 435286 w 4367206"/>
              <a:gd name="connsiteY20" fmla="*/ 2930328 h 5726868"/>
              <a:gd name="connsiteX21" fmla="*/ 389566 w 4367206"/>
              <a:gd name="connsiteY21" fmla="*/ 2930328 h 5726868"/>
              <a:gd name="connsiteX22" fmla="*/ 314000 w 4367206"/>
              <a:gd name="connsiteY22" fmla="*/ 2893495 h 5726868"/>
              <a:gd name="connsiteX23" fmla="*/ 320986 w 4367206"/>
              <a:gd name="connsiteY23" fmla="*/ 2846508 h 5726868"/>
              <a:gd name="connsiteX24" fmla="*/ 328606 w 4367206"/>
              <a:gd name="connsiteY24" fmla="*/ 2793168 h 5726868"/>
              <a:gd name="connsiteX25" fmla="*/ 313366 w 4367206"/>
              <a:gd name="connsiteY25" fmla="*/ 2732208 h 5726868"/>
              <a:gd name="connsiteX26" fmla="*/ 267646 w 4367206"/>
              <a:gd name="connsiteY26" fmla="*/ 2671248 h 5726868"/>
              <a:gd name="connsiteX27" fmla="*/ 176206 w 4367206"/>
              <a:gd name="connsiteY27" fmla="*/ 2656008 h 5726868"/>
              <a:gd name="connsiteX28" fmla="*/ 54286 w 4367206"/>
              <a:gd name="connsiteY28" fmla="*/ 2610288 h 5726868"/>
              <a:gd name="connsiteX29" fmla="*/ 7931 w 4367206"/>
              <a:gd name="connsiteY29" fmla="*/ 2563298 h 5726868"/>
              <a:gd name="connsiteX30" fmla="*/ 8566 w 4367206"/>
              <a:gd name="connsiteY30" fmla="*/ 2488368 h 5726868"/>
              <a:gd name="connsiteX31" fmla="*/ 92386 w 4367206"/>
              <a:gd name="connsiteY31" fmla="*/ 2335968 h 5726868"/>
              <a:gd name="connsiteX32" fmla="*/ 221926 w 4367206"/>
              <a:gd name="connsiteY32" fmla="*/ 2175948 h 5726868"/>
              <a:gd name="connsiteX33" fmla="*/ 282886 w 4367206"/>
              <a:gd name="connsiteY33" fmla="*/ 2084508 h 5726868"/>
              <a:gd name="connsiteX34" fmla="*/ 328606 w 4367206"/>
              <a:gd name="connsiteY34" fmla="*/ 1977828 h 5726868"/>
              <a:gd name="connsiteX35" fmla="*/ 359086 w 4367206"/>
              <a:gd name="connsiteY35" fmla="*/ 1871148 h 5726868"/>
              <a:gd name="connsiteX36" fmla="*/ 374326 w 4367206"/>
              <a:gd name="connsiteY36" fmla="*/ 1810188 h 5726868"/>
              <a:gd name="connsiteX37" fmla="*/ 343846 w 4367206"/>
              <a:gd name="connsiteY37" fmla="*/ 1756848 h 5726868"/>
              <a:gd name="connsiteX38" fmla="*/ 328606 w 4367206"/>
              <a:gd name="connsiteY38" fmla="*/ 1680648 h 5726868"/>
              <a:gd name="connsiteX39" fmla="*/ 412426 w 4367206"/>
              <a:gd name="connsiteY39" fmla="*/ 1474908 h 5726868"/>
              <a:gd name="connsiteX40" fmla="*/ 442906 w 4367206"/>
              <a:gd name="connsiteY40" fmla="*/ 1307268 h 5726868"/>
              <a:gd name="connsiteX41" fmla="*/ 465766 w 4367206"/>
              <a:gd name="connsiteY41" fmla="*/ 1192968 h 5726868"/>
              <a:gd name="connsiteX42" fmla="*/ 503866 w 4367206"/>
              <a:gd name="connsiteY42" fmla="*/ 1055808 h 5726868"/>
              <a:gd name="connsiteX43" fmla="*/ 557206 w 4367206"/>
              <a:gd name="connsiteY43" fmla="*/ 888168 h 5726868"/>
              <a:gd name="connsiteX44" fmla="*/ 503866 w 4367206"/>
              <a:gd name="connsiteY44" fmla="*/ 888168 h 5726868"/>
              <a:gd name="connsiteX45" fmla="*/ 412426 w 4367206"/>
              <a:gd name="connsiteY45" fmla="*/ 834828 h 5726868"/>
              <a:gd name="connsiteX46" fmla="*/ 328606 w 4367206"/>
              <a:gd name="connsiteY46" fmla="*/ 789108 h 5726868"/>
              <a:gd name="connsiteX47" fmla="*/ 260026 w 4367206"/>
              <a:gd name="connsiteY47" fmla="*/ 773868 h 5726868"/>
              <a:gd name="connsiteX48" fmla="*/ 214306 w 4367206"/>
              <a:gd name="connsiteY48" fmla="*/ 751008 h 5726868"/>
              <a:gd name="connsiteX49" fmla="*/ 260026 w 4367206"/>
              <a:gd name="connsiteY49" fmla="*/ 674808 h 5726868"/>
              <a:gd name="connsiteX50" fmla="*/ 374326 w 4367206"/>
              <a:gd name="connsiteY50" fmla="*/ 606228 h 5726868"/>
              <a:gd name="connsiteX51" fmla="*/ 557206 w 4367206"/>
              <a:gd name="connsiteY51" fmla="*/ 507168 h 5726868"/>
              <a:gd name="connsiteX52" fmla="*/ 656266 w 4367206"/>
              <a:gd name="connsiteY52" fmla="*/ 423348 h 5726868"/>
              <a:gd name="connsiteX53" fmla="*/ 892486 w 4367206"/>
              <a:gd name="connsiteY53" fmla="*/ 232848 h 5726868"/>
              <a:gd name="connsiteX54" fmla="*/ 1174426 w 4367206"/>
              <a:gd name="connsiteY54" fmla="*/ 80448 h 5726868"/>
              <a:gd name="connsiteX55" fmla="*/ 1593526 w 4367206"/>
              <a:gd name="connsiteY55" fmla="*/ 11868 h 5726868"/>
              <a:gd name="connsiteX56" fmla="*/ 1944046 w 4367206"/>
              <a:gd name="connsiteY56" fmla="*/ 4248 h 5726868"/>
              <a:gd name="connsiteX57" fmla="*/ 2172646 w 4367206"/>
              <a:gd name="connsiteY57" fmla="*/ 4248 h 5726868"/>
              <a:gd name="connsiteX58" fmla="*/ 2393626 w 4367206"/>
              <a:gd name="connsiteY58" fmla="*/ 57588 h 5726868"/>
              <a:gd name="connsiteX59" fmla="*/ 2667946 w 4367206"/>
              <a:gd name="connsiteY59" fmla="*/ 133788 h 5726868"/>
              <a:gd name="connsiteX60" fmla="*/ 2820346 w 4367206"/>
              <a:gd name="connsiteY60" fmla="*/ 202368 h 5726868"/>
              <a:gd name="connsiteX61" fmla="*/ 3102286 w 4367206"/>
              <a:gd name="connsiteY61" fmla="*/ 400488 h 5726868"/>
              <a:gd name="connsiteX62" fmla="*/ 3285166 w 4367206"/>
              <a:gd name="connsiteY62" fmla="*/ 651948 h 5726868"/>
              <a:gd name="connsiteX63" fmla="*/ 3407086 w 4367206"/>
              <a:gd name="connsiteY63" fmla="*/ 918648 h 5726868"/>
              <a:gd name="connsiteX64" fmla="*/ 3475666 w 4367206"/>
              <a:gd name="connsiteY64" fmla="*/ 1238688 h 5726868"/>
              <a:gd name="connsiteX65" fmla="*/ 3506146 w 4367206"/>
              <a:gd name="connsiteY65" fmla="*/ 1543488 h 5726868"/>
              <a:gd name="connsiteX66" fmla="*/ 3506146 w 4367206"/>
              <a:gd name="connsiteY66" fmla="*/ 1962588 h 5726868"/>
              <a:gd name="connsiteX67" fmla="*/ 3338506 w 4367206"/>
              <a:gd name="connsiteY67" fmla="*/ 2305488 h 5726868"/>
              <a:gd name="connsiteX68" fmla="*/ 3254686 w 4367206"/>
              <a:gd name="connsiteY68" fmla="*/ 2473128 h 5726868"/>
              <a:gd name="connsiteX69" fmla="*/ 3132766 w 4367206"/>
              <a:gd name="connsiteY69" fmla="*/ 2663628 h 5726868"/>
              <a:gd name="connsiteX70" fmla="*/ 3071806 w 4367206"/>
              <a:gd name="connsiteY70" fmla="*/ 2838888 h 5726868"/>
              <a:gd name="connsiteX71" fmla="*/ 3064186 w 4367206"/>
              <a:gd name="connsiteY71" fmla="*/ 2915088 h 5726868"/>
              <a:gd name="connsiteX72" fmla="*/ 3018466 w 4367206"/>
              <a:gd name="connsiteY72" fmla="*/ 3014148 h 5726868"/>
              <a:gd name="connsiteX73" fmla="*/ 2980366 w 4367206"/>
              <a:gd name="connsiteY73" fmla="*/ 3082728 h 5726868"/>
              <a:gd name="connsiteX74" fmla="*/ 2957506 w 4367206"/>
              <a:gd name="connsiteY74" fmla="*/ 3120828 h 5726868"/>
              <a:gd name="connsiteX75" fmla="*/ 2957506 w 4367206"/>
              <a:gd name="connsiteY75" fmla="*/ 3555168 h 5726868"/>
              <a:gd name="connsiteX76" fmla="*/ 3010846 w 4367206"/>
              <a:gd name="connsiteY76" fmla="*/ 3539928 h 5726868"/>
              <a:gd name="connsiteX77" fmla="*/ 3109906 w 4367206"/>
              <a:gd name="connsiteY77" fmla="*/ 3570408 h 5726868"/>
              <a:gd name="connsiteX78" fmla="*/ 3140386 w 4367206"/>
              <a:gd name="connsiteY78" fmla="*/ 3631368 h 5726868"/>
              <a:gd name="connsiteX79" fmla="*/ 3117526 w 4367206"/>
              <a:gd name="connsiteY79" fmla="*/ 3738048 h 5726868"/>
              <a:gd name="connsiteX80" fmla="*/ 3125146 w 4367206"/>
              <a:gd name="connsiteY80" fmla="*/ 4103808 h 5726868"/>
              <a:gd name="connsiteX81" fmla="*/ 3163246 w 4367206"/>
              <a:gd name="connsiteY81" fmla="*/ 4157148 h 5726868"/>
              <a:gd name="connsiteX82" fmla="*/ 3201346 w 4367206"/>
              <a:gd name="connsiteY82" fmla="*/ 4164768 h 5726868"/>
              <a:gd name="connsiteX83" fmla="*/ 3231826 w 4367206"/>
              <a:gd name="connsiteY83" fmla="*/ 4172388 h 5726868"/>
              <a:gd name="connsiteX84" fmla="*/ 3285166 w 4367206"/>
              <a:gd name="connsiteY84" fmla="*/ 4294308 h 5726868"/>
              <a:gd name="connsiteX85" fmla="*/ 3300406 w 4367206"/>
              <a:gd name="connsiteY85" fmla="*/ 4347648 h 5726868"/>
              <a:gd name="connsiteX86" fmla="*/ 3330886 w 4367206"/>
              <a:gd name="connsiteY86" fmla="*/ 4408608 h 5726868"/>
              <a:gd name="connsiteX87" fmla="*/ 3551866 w 4367206"/>
              <a:gd name="connsiteY87" fmla="*/ 4644828 h 5726868"/>
              <a:gd name="connsiteX88" fmla="*/ 3887146 w 4367206"/>
              <a:gd name="connsiteY88" fmla="*/ 5025828 h 5726868"/>
              <a:gd name="connsiteX89" fmla="*/ 4100506 w 4367206"/>
              <a:gd name="connsiteY89" fmla="*/ 5300148 h 5726868"/>
              <a:gd name="connsiteX90" fmla="*/ 4367206 w 4367206"/>
              <a:gd name="connsiteY90" fmla="*/ 5726868 h 5726868"/>
              <a:gd name="connsiteX0" fmla="*/ 707488 w 4100506"/>
              <a:gd name="connsiteY0" fmla="*/ 5008470 h 5300148"/>
              <a:gd name="connsiteX1" fmla="*/ 961066 w 4100506"/>
              <a:gd name="connsiteY1" fmla="*/ 4644828 h 5300148"/>
              <a:gd name="connsiteX2" fmla="*/ 1342066 w 4100506"/>
              <a:gd name="connsiteY2" fmla="*/ 4172388 h 5300148"/>
              <a:gd name="connsiteX3" fmla="*/ 1258246 w 4100506"/>
              <a:gd name="connsiteY3" fmla="*/ 4012368 h 5300148"/>
              <a:gd name="connsiteX4" fmla="*/ 1204906 w 4100506"/>
              <a:gd name="connsiteY4" fmla="*/ 3928548 h 5300148"/>
              <a:gd name="connsiteX5" fmla="*/ 1174426 w 4100506"/>
              <a:gd name="connsiteY5" fmla="*/ 3768528 h 5300148"/>
              <a:gd name="connsiteX6" fmla="*/ 1151566 w 4100506"/>
              <a:gd name="connsiteY6" fmla="*/ 3699948 h 5300148"/>
              <a:gd name="connsiteX7" fmla="*/ 1143946 w 4100506"/>
              <a:gd name="connsiteY7" fmla="*/ 3669468 h 5300148"/>
              <a:gd name="connsiteX8" fmla="*/ 1067746 w 4100506"/>
              <a:gd name="connsiteY8" fmla="*/ 3661848 h 5300148"/>
              <a:gd name="connsiteX9" fmla="*/ 938206 w 4100506"/>
              <a:gd name="connsiteY9" fmla="*/ 3669468 h 5300148"/>
              <a:gd name="connsiteX10" fmla="*/ 831526 w 4100506"/>
              <a:gd name="connsiteY10" fmla="*/ 3692328 h 5300148"/>
              <a:gd name="connsiteX11" fmla="*/ 610546 w 4100506"/>
              <a:gd name="connsiteY11" fmla="*/ 3738048 h 5300148"/>
              <a:gd name="connsiteX12" fmla="*/ 389566 w 4100506"/>
              <a:gd name="connsiteY12" fmla="*/ 3638988 h 5300148"/>
              <a:gd name="connsiteX13" fmla="*/ 381946 w 4100506"/>
              <a:gd name="connsiteY13" fmla="*/ 3326568 h 5300148"/>
              <a:gd name="connsiteX14" fmla="*/ 420046 w 4100506"/>
              <a:gd name="connsiteY14" fmla="*/ 3227508 h 5300148"/>
              <a:gd name="connsiteX15" fmla="*/ 389566 w 4100506"/>
              <a:gd name="connsiteY15" fmla="*/ 3166548 h 5300148"/>
              <a:gd name="connsiteX16" fmla="*/ 351466 w 4100506"/>
              <a:gd name="connsiteY16" fmla="*/ 3105588 h 5300148"/>
              <a:gd name="connsiteX17" fmla="*/ 397186 w 4100506"/>
              <a:gd name="connsiteY17" fmla="*/ 3021768 h 5300148"/>
              <a:gd name="connsiteX18" fmla="*/ 488626 w 4100506"/>
              <a:gd name="connsiteY18" fmla="*/ 2998908 h 5300148"/>
              <a:gd name="connsiteX19" fmla="*/ 471956 w 4100506"/>
              <a:gd name="connsiteY19" fmla="*/ 2942709 h 5300148"/>
              <a:gd name="connsiteX20" fmla="*/ 435286 w 4100506"/>
              <a:gd name="connsiteY20" fmla="*/ 2930328 h 5300148"/>
              <a:gd name="connsiteX21" fmla="*/ 389566 w 4100506"/>
              <a:gd name="connsiteY21" fmla="*/ 2930328 h 5300148"/>
              <a:gd name="connsiteX22" fmla="*/ 314000 w 4100506"/>
              <a:gd name="connsiteY22" fmla="*/ 2893495 h 5300148"/>
              <a:gd name="connsiteX23" fmla="*/ 320986 w 4100506"/>
              <a:gd name="connsiteY23" fmla="*/ 2846508 h 5300148"/>
              <a:gd name="connsiteX24" fmla="*/ 328606 w 4100506"/>
              <a:gd name="connsiteY24" fmla="*/ 2793168 h 5300148"/>
              <a:gd name="connsiteX25" fmla="*/ 313366 w 4100506"/>
              <a:gd name="connsiteY25" fmla="*/ 2732208 h 5300148"/>
              <a:gd name="connsiteX26" fmla="*/ 267646 w 4100506"/>
              <a:gd name="connsiteY26" fmla="*/ 2671248 h 5300148"/>
              <a:gd name="connsiteX27" fmla="*/ 176206 w 4100506"/>
              <a:gd name="connsiteY27" fmla="*/ 2656008 h 5300148"/>
              <a:gd name="connsiteX28" fmla="*/ 54286 w 4100506"/>
              <a:gd name="connsiteY28" fmla="*/ 2610288 h 5300148"/>
              <a:gd name="connsiteX29" fmla="*/ 7931 w 4100506"/>
              <a:gd name="connsiteY29" fmla="*/ 2563298 h 5300148"/>
              <a:gd name="connsiteX30" fmla="*/ 8566 w 4100506"/>
              <a:gd name="connsiteY30" fmla="*/ 2488368 h 5300148"/>
              <a:gd name="connsiteX31" fmla="*/ 92386 w 4100506"/>
              <a:gd name="connsiteY31" fmla="*/ 2335968 h 5300148"/>
              <a:gd name="connsiteX32" fmla="*/ 221926 w 4100506"/>
              <a:gd name="connsiteY32" fmla="*/ 2175948 h 5300148"/>
              <a:gd name="connsiteX33" fmla="*/ 282886 w 4100506"/>
              <a:gd name="connsiteY33" fmla="*/ 2084508 h 5300148"/>
              <a:gd name="connsiteX34" fmla="*/ 328606 w 4100506"/>
              <a:gd name="connsiteY34" fmla="*/ 1977828 h 5300148"/>
              <a:gd name="connsiteX35" fmla="*/ 359086 w 4100506"/>
              <a:gd name="connsiteY35" fmla="*/ 1871148 h 5300148"/>
              <a:gd name="connsiteX36" fmla="*/ 374326 w 4100506"/>
              <a:gd name="connsiteY36" fmla="*/ 1810188 h 5300148"/>
              <a:gd name="connsiteX37" fmla="*/ 343846 w 4100506"/>
              <a:gd name="connsiteY37" fmla="*/ 1756848 h 5300148"/>
              <a:gd name="connsiteX38" fmla="*/ 328606 w 4100506"/>
              <a:gd name="connsiteY38" fmla="*/ 1680648 h 5300148"/>
              <a:gd name="connsiteX39" fmla="*/ 412426 w 4100506"/>
              <a:gd name="connsiteY39" fmla="*/ 1474908 h 5300148"/>
              <a:gd name="connsiteX40" fmla="*/ 442906 w 4100506"/>
              <a:gd name="connsiteY40" fmla="*/ 1307268 h 5300148"/>
              <a:gd name="connsiteX41" fmla="*/ 465766 w 4100506"/>
              <a:gd name="connsiteY41" fmla="*/ 1192968 h 5300148"/>
              <a:gd name="connsiteX42" fmla="*/ 503866 w 4100506"/>
              <a:gd name="connsiteY42" fmla="*/ 1055808 h 5300148"/>
              <a:gd name="connsiteX43" fmla="*/ 557206 w 4100506"/>
              <a:gd name="connsiteY43" fmla="*/ 888168 h 5300148"/>
              <a:gd name="connsiteX44" fmla="*/ 503866 w 4100506"/>
              <a:gd name="connsiteY44" fmla="*/ 888168 h 5300148"/>
              <a:gd name="connsiteX45" fmla="*/ 412426 w 4100506"/>
              <a:gd name="connsiteY45" fmla="*/ 834828 h 5300148"/>
              <a:gd name="connsiteX46" fmla="*/ 328606 w 4100506"/>
              <a:gd name="connsiteY46" fmla="*/ 789108 h 5300148"/>
              <a:gd name="connsiteX47" fmla="*/ 260026 w 4100506"/>
              <a:gd name="connsiteY47" fmla="*/ 773868 h 5300148"/>
              <a:gd name="connsiteX48" fmla="*/ 214306 w 4100506"/>
              <a:gd name="connsiteY48" fmla="*/ 751008 h 5300148"/>
              <a:gd name="connsiteX49" fmla="*/ 260026 w 4100506"/>
              <a:gd name="connsiteY49" fmla="*/ 674808 h 5300148"/>
              <a:gd name="connsiteX50" fmla="*/ 374326 w 4100506"/>
              <a:gd name="connsiteY50" fmla="*/ 606228 h 5300148"/>
              <a:gd name="connsiteX51" fmla="*/ 557206 w 4100506"/>
              <a:gd name="connsiteY51" fmla="*/ 507168 h 5300148"/>
              <a:gd name="connsiteX52" fmla="*/ 656266 w 4100506"/>
              <a:gd name="connsiteY52" fmla="*/ 423348 h 5300148"/>
              <a:gd name="connsiteX53" fmla="*/ 892486 w 4100506"/>
              <a:gd name="connsiteY53" fmla="*/ 232848 h 5300148"/>
              <a:gd name="connsiteX54" fmla="*/ 1174426 w 4100506"/>
              <a:gd name="connsiteY54" fmla="*/ 80448 h 5300148"/>
              <a:gd name="connsiteX55" fmla="*/ 1593526 w 4100506"/>
              <a:gd name="connsiteY55" fmla="*/ 11868 h 5300148"/>
              <a:gd name="connsiteX56" fmla="*/ 1944046 w 4100506"/>
              <a:gd name="connsiteY56" fmla="*/ 4248 h 5300148"/>
              <a:gd name="connsiteX57" fmla="*/ 2172646 w 4100506"/>
              <a:gd name="connsiteY57" fmla="*/ 4248 h 5300148"/>
              <a:gd name="connsiteX58" fmla="*/ 2393626 w 4100506"/>
              <a:gd name="connsiteY58" fmla="*/ 57588 h 5300148"/>
              <a:gd name="connsiteX59" fmla="*/ 2667946 w 4100506"/>
              <a:gd name="connsiteY59" fmla="*/ 133788 h 5300148"/>
              <a:gd name="connsiteX60" fmla="*/ 2820346 w 4100506"/>
              <a:gd name="connsiteY60" fmla="*/ 202368 h 5300148"/>
              <a:gd name="connsiteX61" fmla="*/ 3102286 w 4100506"/>
              <a:gd name="connsiteY61" fmla="*/ 400488 h 5300148"/>
              <a:gd name="connsiteX62" fmla="*/ 3285166 w 4100506"/>
              <a:gd name="connsiteY62" fmla="*/ 651948 h 5300148"/>
              <a:gd name="connsiteX63" fmla="*/ 3407086 w 4100506"/>
              <a:gd name="connsiteY63" fmla="*/ 918648 h 5300148"/>
              <a:gd name="connsiteX64" fmla="*/ 3475666 w 4100506"/>
              <a:gd name="connsiteY64" fmla="*/ 1238688 h 5300148"/>
              <a:gd name="connsiteX65" fmla="*/ 3506146 w 4100506"/>
              <a:gd name="connsiteY65" fmla="*/ 1543488 h 5300148"/>
              <a:gd name="connsiteX66" fmla="*/ 3506146 w 4100506"/>
              <a:gd name="connsiteY66" fmla="*/ 1962588 h 5300148"/>
              <a:gd name="connsiteX67" fmla="*/ 3338506 w 4100506"/>
              <a:gd name="connsiteY67" fmla="*/ 2305488 h 5300148"/>
              <a:gd name="connsiteX68" fmla="*/ 3254686 w 4100506"/>
              <a:gd name="connsiteY68" fmla="*/ 2473128 h 5300148"/>
              <a:gd name="connsiteX69" fmla="*/ 3132766 w 4100506"/>
              <a:gd name="connsiteY69" fmla="*/ 2663628 h 5300148"/>
              <a:gd name="connsiteX70" fmla="*/ 3071806 w 4100506"/>
              <a:gd name="connsiteY70" fmla="*/ 2838888 h 5300148"/>
              <a:gd name="connsiteX71" fmla="*/ 3064186 w 4100506"/>
              <a:gd name="connsiteY71" fmla="*/ 2915088 h 5300148"/>
              <a:gd name="connsiteX72" fmla="*/ 3018466 w 4100506"/>
              <a:gd name="connsiteY72" fmla="*/ 3014148 h 5300148"/>
              <a:gd name="connsiteX73" fmla="*/ 2980366 w 4100506"/>
              <a:gd name="connsiteY73" fmla="*/ 3082728 h 5300148"/>
              <a:gd name="connsiteX74" fmla="*/ 2957506 w 4100506"/>
              <a:gd name="connsiteY74" fmla="*/ 3120828 h 5300148"/>
              <a:gd name="connsiteX75" fmla="*/ 2957506 w 4100506"/>
              <a:gd name="connsiteY75" fmla="*/ 3555168 h 5300148"/>
              <a:gd name="connsiteX76" fmla="*/ 3010846 w 4100506"/>
              <a:gd name="connsiteY76" fmla="*/ 3539928 h 5300148"/>
              <a:gd name="connsiteX77" fmla="*/ 3109906 w 4100506"/>
              <a:gd name="connsiteY77" fmla="*/ 3570408 h 5300148"/>
              <a:gd name="connsiteX78" fmla="*/ 3140386 w 4100506"/>
              <a:gd name="connsiteY78" fmla="*/ 3631368 h 5300148"/>
              <a:gd name="connsiteX79" fmla="*/ 3117526 w 4100506"/>
              <a:gd name="connsiteY79" fmla="*/ 3738048 h 5300148"/>
              <a:gd name="connsiteX80" fmla="*/ 3125146 w 4100506"/>
              <a:gd name="connsiteY80" fmla="*/ 4103808 h 5300148"/>
              <a:gd name="connsiteX81" fmla="*/ 3163246 w 4100506"/>
              <a:gd name="connsiteY81" fmla="*/ 4157148 h 5300148"/>
              <a:gd name="connsiteX82" fmla="*/ 3201346 w 4100506"/>
              <a:gd name="connsiteY82" fmla="*/ 4164768 h 5300148"/>
              <a:gd name="connsiteX83" fmla="*/ 3231826 w 4100506"/>
              <a:gd name="connsiteY83" fmla="*/ 4172388 h 5300148"/>
              <a:gd name="connsiteX84" fmla="*/ 3285166 w 4100506"/>
              <a:gd name="connsiteY84" fmla="*/ 4294308 h 5300148"/>
              <a:gd name="connsiteX85" fmla="*/ 3300406 w 4100506"/>
              <a:gd name="connsiteY85" fmla="*/ 4347648 h 5300148"/>
              <a:gd name="connsiteX86" fmla="*/ 3330886 w 4100506"/>
              <a:gd name="connsiteY86" fmla="*/ 4408608 h 5300148"/>
              <a:gd name="connsiteX87" fmla="*/ 3551866 w 4100506"/>
              <a:gd name="connsiteY87" fmla="*/ 4644828 h 5300148"/>
              <a:gd name="connsiteX88" fmla="*/ 3887146 w 4100506"/>
              <a:gd name="connsiteY88" fmla="*/ 5025828 h 5300148"/>
              <a:gd name="connsiteX89" fmla="*/ 4100506 w 4100506"/>
              <a:gd name="connsiteY89" fmla="*/ 5300148 h 5300148"/>
              <a:gd name="connsiteX0" fmla="*/ 707488 w 3887146"/>
              <a:gd name="connsiteY0" fmla="*/ 5008470 h 5025828"/>
              <a:gd name="connsiteX1" fmla="*/ 961066 w 3887146"/>
              <a:gd name="connsiteY1" fmla="*/ 4644828 h 5025828"/>
              <a:gd name="connsiteX2" fmla="*/ 1342066 w 3887146"/>
              <a:gd name="connsiteY2" fmla="*/ 4172388 h 5025828"/>
              <a:gd name="connsiteX3" fmla="*/ 1258246 w 3887146"/>
              <a:gd name="connsiteY3" fmla="*/ 4012368 h 5025828"/>
              <a:gd name="connsiteX4" fmla="*/ 1204906 w 3887146"/>
              <a:gd name="connsiteY4" fmla="*/ 3928548 h 5025828"/>
              <a:gd name="connsiteX5" fmla="*/ 1174426 w 3887146"/>
              <a:gd name="connsiteY5" fmla="*/ 3768528 h 5025828"/>
              <a:gd name="connsiteX6" fmla="*/ 1151566 w 3887146"/>
              <a:gd name="connsiteY6" fmla="*/ 3699948 h 5025828"/>
              <a:gd name="connsiteX7" fmla="*/ 1143946 w 3887146"/>
              <a:gd name="connsiteY7" fmla="*/ 3669468 h 5025828"/>
              <a:gd name="connsiteX8" fmla="*/ 1067746 w 3887146"/>
              <a:gd name="connsiteY8" fmla="*/ 3661848 h 5025828"/>
              <a:gd name="connsiteX9" fmla="*/ 938206 w 3887146"/>
              <a:gd name="connsiteY9" fmla="*/ 3669468 h 5025828"/>
              <a:gd name="connsiteX10" fmla="*/ 831526 w 3887146"/>
              <a:gd name="connsiteY10" fmla="*/ 3692328 h 5025828"/>
              <a:gd name="connsiteX11" fmla="*/ 610546 w 3887146"/>
              <a:gd name="connsiteY11" fmla="*/ 3738048 h 5025828"/>
              <a:gd name="connsiteX12" fmla="*/ 389566 w 3887146"/>
              <a:gd name="connsiteY12" fmla="*/ 3638988 h 5025828"/>
              <a:gd name="connsiteX13" fmla="*/ 381946 w 3887146"/>
              <a:gd name="connsiteY13" fmla="*/ 3326568 h 5025828"/>
              <a:gd name="connsiteX14" fmla="*/ 420046 w 3887146"/>
              <a:gd name="connsiteY14" fmla="*/ 3227508 h 5025828"/>
              <a:gd name="connsiteX15" fmla="*/ 389566 w 3887146"/>
              <a:gd name="connsiteY15" fmla="*/ 3166548 h 5025828"/>
              <a:gd name="connsiteX16" fmla="*/ 351466 w 3887146"/>
              <a:gd name="connsiteY16" fmla="*/ 3105588 h 5025828"/>
              <a:gd name="connsiteX17" fmla="*/ 397186 w 3887146"/>
              <a:gd name="connsiteY17" fmla="*/ 3021768 h 5025828"/>
              <a:gd name="connsiteX18" fmla="*/ 488626 w 3887146"/>
              <a:gd name="connsiteY18" fmla="*/ 2998908 h 5025828"/>
              <a:gd name="connsiteX19" fmla="*/ 471956 w 3887146"/>
              <a:gd name="connsiteY19" fmla="*/ 2942709 h 5025828"/>
              <a:gd name="connsiteX20" fmla="*/ 435286 w 3887146"/>
              <a:gd name="connsiteY20" fmla="*/ 2930328 h 5025828"/>
              <a:gd name="connsiteX21" fmla="*/ 389566 w 3887146"/>
              <a:gd name="connsiteY21" fmla="*/ 2930328 h 5025828"/>
              <a:gd name="connsiteX22" fmla="*/ 314000 w 3887146"/>
              <a:gd name="connsiteY22" fmla="*/ 2893495 h 5025828"/>
              <a:gd name="connsiteX23" fmla="*/ 320986 w 3887146"/>
              <a:gd name="connsiteY23" fmla="*/ 2846508 h 5025828"/>
              <a:gd name="connsiteX24" fmla="*/ 328606 w 3887146"/>
              <a:gd name="connsiteY24" fmla="*/ 2793168 h 5025828"/>
              <a:gd name="connsiteX25" fmla="*/ 313366 w 3887146"/>
              <a:gd name="connsiteY25" fmla="*/ 2732208 h 5025828"/>
              <a:gd name="connsiteX26" fmla="*/ 267646 w 3887146"/>
              <a:gd name="connsiteY26" fmla="*/ 2671248 h 5025828"/>
              <a:gd name="connsiteX27" fmla="*/ 176206 w 3887146"/>
              <a:gd name="connsiteY27" fmla="*/ 2656008 h 5025828"/>
              <a:gd name="connsiteX28" fmla="*/ 54286 w 3887146"/>
              <a:gd name="connsiteY28" fmla="*/ 2610288 h 5025828"/>
              <a:gd name="connsiteX29" fmla="*/ 7931 w 3887146"/>
              <a:gd name="connsiteY29" fmla="*/ 2563298 h 5025828"/>
              <a:gd name="connsiteX30" fmla="*/ 8566 w 3887146"/>
              <a:gd name="connsiteY30" fmla="*/ 2488368 h 5025828"/>
              <a:gd name="connsiteX31" fmla="*/ 92386 w 3887146"/>
              <a:gd name="connsiteY31" fmla="*/ 2335968 h 5025828"/>
              <a:gd name="connsiteX32" fmla="*/ 221926 w 3887146"/>
              <a:gd name="connsiteY32" fmla="*/ 2175948 h 5025828"/>
              <a:gd name="connsiteX33" fmla="*/ 282886 w 3887146"/>
              <a:gd name="connsiteY33" fmla="*/ 2084508 h 5025828"/>
              <a:gd name="connsiteX34" fmla="*/ 328606 w 3887146"/>
              <a:gd name="connsiteY34" fmla="*/ 1977828 h 5025828"/>
              <a:gd name="connsiteX35" fmla="*/ 359086 w 3887146"/>
              <a:gd name="connsiteY35" fmla="*/ 1871148 h 5025828"/>
              <a:gd name="connsiteX36" fmla="*/ 374326 w 3887146"/>
              <a:gd name="connsiteY36" fmla="*/ 1810188 h 5025828"/>
              <a:gd name="connsiteX37" fmla="*/ 343846 w 3887146"/>
              <a:gd name="connsiteY37" fmla="*/ 1756848 h 5025828"/>
              <a:gd name="connsiteX38" fmla="*/ 328606 w 3887146"/>
              <a:gd name="connsiteY38" fmla="*/ 1680648 h 5025828"/>
              <a:gd name="connsiteX39" fmla="*/ 412426 w 3887146"/>
              <a:gd name="connsiteY39" fmla="*/ 1474908 h 5025828"/>
              <a:gd name="connsiteX40" fmla="*/ 442906 w 3887146"/>
              <a:gd name="connsiteY40" fmla="*/ 1307268 h 5025828"/>
              <a:gd name="connsiteX41" fmla="*/ 465766 w 3887146"/>
              <a:gd name="connsiteY41" fmla="*/ 1192968 h 5025828"/>
              <a:gd name="connsiteX42" fmla="*/ 503866 w 3887146"/>
              <a:gd name="connsiteY42" fmla="*/ 1055808 h 5025828"/>
              <a:gd name="connsiteX43" fmla="*/ 557206 w 3887146"/>
              <a:gd name="connsiteY43" fmla="*/ 888168 h 5025828"/>
              <a:gd name="connsiteX44" fmla="*/ 503866 w 3887146"/>
              <a:gd name="connsiteY44" fmla="*/ 888168 h 5025828"/>
              <a:gd name="connsiteX45" fmla="*/ 412426 w 3887146"/>
              <a:gd name="connsiteY45" fmla="*/ 834828 h 5025828"/>
              <a:gd name="connsiteX46" fmla="*/ 328606 w 3887146"/>
              <a:gd name="connsiteY46" fmla="*/ 789108 h 5025828"/>
              <a:gd name="connsiteX47" fmla="*/ 260026 w 3887146"/>
              <a:gd name="connsiteY47" fmla="*/ 773868 h 5025828"/>
              <a:gd name="connsiteX48" fmla="*/ 214306 w 3887146"/>
              <a:gd name="connsiteY48" fmla="*/ 751008 h 5025828"/>
              <a:gd name="connsiteX49" fmla="*/ 260026 w 3887146"/>
              <a:gd name="connsiteY49" fmla="*/ 674808 h 5025828"/>
              <a:gd name="connsiteX50" fmla="*/ 374326 w 3887146"/>
              <a:gd name="connsiteY50" fmla="*/ 606228 h 5025828"/>
              <a:gd name="connsiteX51" fmla="*/ 557206 w 3887146"/>
              <a:gd name="connsiteY51" fmla="*/ 507168 h 5025828"/>
              <a:gd name="connsiteX52" fmla="*/ 656266 w 3887146"/>
              <a:gd name="connsiteY52" fmla="*/ 423348 h 5025828"/>
              <a:gd name="connsiteX53" fmla="*/ 892486 w 3887146"/>
              <a:gd name="connsiteY53" fmla="*/ 232848 h 5025828"/>
              <a:gd name="connsiteX54" fmla="*/ 1174426 w 3887146"/>
              <a:gd name="connsiteY54" fmla="*/ 80448 h 5025828"/>
              <a:gd name="connsiteX55" fmla="*/ 1593526 w 3887146"/>
              <a:gd name="connsiteY55" fmla="*/ 11868 h 5025828"/>
              <a:gd name="connsiteX56" fmla="*/ 1944046 w 3887146"/>
              <a:gd name="connsiteY56" fmla="*/ 4248 h 5025828"/>
              <a:gd name="connsiteX57" fmla="*/ 2172646 w 3887146"/>
              <a:gd name="connsiteY57" fmla="*/ 4248 h 5025828"/>
              <a:gd name="connsiteX58" fmla="*/ 2393626 w 3887146"/>
              <a:gd name="connsiteY58" fmla="*/ 57588 h 5025828"/>
              <a:gd name="connsiteX59" fmla="*/ 2667946 w 3887146"/>
              <a:gd name="connsiteY59" fmla="*/ 133788 h 5025828"/>
              <a:gd name="connsiteX60" fmla="*/ 2820346 w 3887146"/>
              <a:gd name="connsiteY60" fmla="*/ 202368 h 5025828"/>
              <a:gd name="connsiteX61" fmla="*/ 3102286 w 3887146"/>
              <a:gd name="connsiteY61" fmla="*/ 400488 h 5025828"/>
              <a:gd name="connsiteX62" fmla="*/ 3285166 w 3887146"/>
              <a:gd name="connsiteY62" fmla="*/ 651948 h 5025828"/>
              <a:gd name="connsiteX63" fmla="*/ 3407086 w 3887146"/>
              <a:gd name="connsiteY63" fmla="*/ 918648 h 5025828"/>
              <a:gd name="connsiteX64" fmla="*/ 3475666 w 3887146"/>
              <a:gd name="connsiteY64" fmla="*/ 1238688 h 5025828"/>
              <a:gd name="connsiteX65" fmla="*/ 3506146 w 3887146"/>
              <a:gd name="connsiteY65" fmla="*/ 1543488 h 5025828"/>
              <a:gd name="connsiteX66" fmla="*/ 3506146 w 3887146"/>
              <a:gd name="connsiteY66" fmla="*/ 1962588 h 5025828"/>
              <a:gd name="connsiteX67" fmla="*/ 3338506 w 3887146"/>
              <a:gd name="connsiteY67" fmla="*/ 2305488 h 5025828"/>
              <a:gd name="connsiteX68" fmla="*/ 3254686 w 3887146"/>
              <a:gd name="connsiteY68" fmla="*/ 2473128 h 5025828"/>
              <a:gd name="connsiteX69" fmla="*/ 3132766 w 3887146"/>
              <a:gd name="connsiteY69" fmla="*/ 2663628 h 5025828"/>
              <a:gd name="connsiteX70" fmla="*/ 3071806 w 3887146"/>
              <a:gd name="connsiteY70" fmla="*/ 2838888 h 5025828"/>
              <a:gd name="connsiteX71" fmla="*/ 3064186 w 3887146"/>
              <a:gd name="connsiteY71" fmla="*/ 2915088 h 5025828"/>
              <a:gd name="connsiteX72" fmla="*/ 3018466 w 3887146"/>
              <a:gd name="connsiteY72" fmla="*/ 3014148 h 5025828"/>
              <a:gd name="connsiteX73" fmla="*/ 2980366 w 3887146"/>
              <a:gd name="connsiteY73" fmla="*/ 3082728 h 5025828"/>
              <a:gd name="connsiteX74" fmla="*/ 2957506 w 3887146"/>
              <a:gd name="connsiteY74" fmla="*/ 3120828 h 5025828"/>
              <a:gd name="connsiteX75" fmla="*/ 2957506 w 3887146"/>
              <a:gd name="connsiteY75" fmla="*/ 3555168 h 5025828"/>
              <a:gd name="connsiteX76" fmla="*/ 3010846 w 3887146"/>
              <a:gd name="connsiteY76" fmla="*/ 3539928 h 5025828"/>
              <a:gd name="connsiteX77" fmla="*/ 3109906 w 3887146"/>
              <a:gd name="connsiteY77" fmla="*/ 3570408 h 5025828"/>
              <a:gd name="connsiteX78" fmla="*/ 3140386 w 3887146"/>
              <a:gd name="connsiteY78" fmla="*/ 3631368 h 5025828"/>
              <a:gd name="connsiteX79" fmla="*/ 3117526 w 3887146"/>
              <a:gd name="connsiteY79" fmla="*/ 3738048 h 5025828"/>
              <a:gd name="connsiteX80" fmla="*/ 3125146 w 3887146"/>
              <a:gd name="connsiteY80" fmla="*/ 4103808 h 5025828"/>
              <a:gd name="connsiteX81" fmla="*/ 3163246 w 3887146"/>
              <a:gd name="connsiteY81" fmla="*/ 4157148 h 5025828"/>
              <a:gd name="connsiteX82" fmla="*/ 3201346 w 3887146"/>
              <a:gd name="connsiteY82" fmla="*/ 4164768 h 5025828"/>
              <a:gd name="connsiteX83" fmla="*/ 3231826 w 3887146"/>
              <a:gd name="connsiteY83" fmla="*/ 4172388 h 5025828"/>
              <a:gd name="connsiteX84" fmla="*/ 3285166 w 3887146"/>
              <a:gd name="connsiteY84" fmla="*/ 4294308 h 5025828"/>
              <a:gd name="connsiteX85" fmla="*/ 3300406 w 3887146"/>
              <a:gd name="connsiteY85" fmla="*/ 4347648 h 5025828"/>
              <a:gd name="connsiteX86" fmla="*/ 3330886 w 3887146"/>
              <a:gd name="connsiteY86" fmla="*/ 4408608 h 5025828"/>
              <a:gd name="connsiteX87" fmla="*/ 3551866 w 3887146"/>
              <a:gd name="connsiteY87" fmla="*/ 4644828 h 5025828"/>
              <a:gd name="connsiteX88" fmla="*/ 3887146 w 3887146"/>
              <a:gd name="connsiteY88" fmla="*/ 5025828 h 5025828"/>
              <a:gd name="connsiteX0" fmla="*/ 707488 w 3884395"/>
              <a:gd name="connsiteY0" fmla="*/ 5008470 h 5017575"/>
              <a:gd name="connsiteX1" fmla="*/ 961066 w 3884395"/>
              <a:gd name="connsiteY1" fmla="*/ 4644828 h 5017575"/>
              <a:gd name="connsiteX2" fmla="*/ 1342066 w 3884395"/>
              <a:gd name="connsiteY2" fmla="*/ 4172388 h 5017575"/>
              <a:gd name="connsiteX3" fmla="*/ 1258246 w 3884395"/>
              <a:gd name="connsiteY3" fmla="*/ 4012368 h 5017575"/>
              <a:gd name="connsiteX4" fmla="*/ 1204906 w 3884395"/>
              <a:gd name="connsiteY4" fmla="*/ 3928548 h 5017575"/>
              <a:gd name="connsiteX5" fmla="*/ 1174426 w 3884395"/>
              <a:gd name="connsiteY5" fmla="*/ 3768528 h 5017575"/>
              <a:gd name="connsiteX6" fmla="*/ 1151566 w 3884395"/>
              <a:gd name="connsiteY6" fmla="*/ 3699948 h 5017575"/>
              <a:gd name="connsiteX7" fmla="*/ 1143946 w 3884395"/>
              <a:gd name="connsiteY7" fmla="*/ 3669468 h 5017575"/>
              <a:gd name="connsiteX8" fmla="*/ 1067746 w 3884395"/>
              <a:gd name="connsiteY8" fmla="*/ 3661848 h 5017575"/>
              <a:gd name="connsiteX9" fmla="*/ 938206 w 3884395"/>
              <a:gd name="connsiteY9" fmla="*/ 3669468 h 5017575"/>
              <a:gd name="connsiteX10" fmla="*/ 831526 w 3884395"/>
              <a:gd name="connsiteY10" fmla="*/ 3692328 h 5017575"/>
              <a:gd name="connsiteX11" fmla="*/ 610546 w 3884395"/>
              <a:gd name="connsiteY11" fmla="*/ 3738048 h 5017575"/>
              <a:gd name="connsiteX12" fmla="*/ 389566 w 3884395"/>
              <a:gd name="connsiteY12" fmla="*/ 3638988 h 5017575"/>
              <a:gd name="connsiteX13" fmla="*/ 381946 w 3884395"/>
              <a:gd name="connsiteY13" fmla="*/ 3326568 h 5017575"/>
              <a:gd name="connsiteX14" fmla="*/ 420046 w 3884395"/>
              <a:gd name="connsiteY14" fmla="*/ 3227508 h 5017575"/>
              <a:gd name="connsiteX15" fmla="*/ 389566 w 3884395"/>
              <a:gd name="connsiteY15" fmla="*/ 3166548 h 5017575"/>
              <a:gd name="connsiteX16" fmla="*/ 351466 w 3884395"/>
              <a:gd name="connsiteY16" fmla="*/ 3105588 h 5017575"/>
              <a:gd name="connsiteX17" fmla="*/ 397186 w 3884395"/>
              <a:gd name="connsiteY17" fmla="*/ 3021768 h 5017575"/>
              <a:gd name="connsiteX18" fmla="*/ 488626 w 3884395"/>
              <a:gd name="connsiteY18" fmla="*/ 2998908 h 5017575"/>
              <a:gd name="connsiteX19" fmla="*/ 471956 w 3884395"/>
              <a:gd name="connsiteY19" fmla="*/ 2942709 h 5017575"/>
              <a:gd name="connsiteX20" fmla="*/ 435286 w 3884395"/>
              <a:gd name="connsiteY20" fmla="*/ 2930328 h 5017575"/>
              <a:gd name="connsiteX21" fmla="*/ 389566 w 3884395"/>
              <a:gd name="connsiteY21" fmla="*/ 2930328 h 5017575"/>
              <a:gd name="connsiteX22" fmla="*/ 314000 w 3884395"/>
              <a:gd name="connsiteY22" fmla="*/ 2893495 h 5017575"/>
              <a:gd name="connsiteX23" fmla="*/ 320986 w 3884395"/>
              <a:gd name="connsiteY23" fmla="*/ 2846508 h 5017575"/>
              <a:gd name="connsiteX24" fmla="*/ 328606 w 3884395"/>
              <a:gd name="connsiteY24" fmla="*/ 2793168 h 5017575"/>
              <a:gd name="connsiteX25" fmla="*/ 313366 w 3884395"/>
              <a:gd name="connsiteY25" fmla="*/ 2732208 h 5017575"/>
              <a:gd name="connsiteX26" fmla="*/ 267646 w 3884395"/>
              <a:gd name="connsiteY26" fmla="*/ 2671248 h 5017575"/>
              <a:gd name="connsiteX27" fmla="*/ 176206 w 3884395"/>
              <a:gd name="connsiteY27" fmla="*/ 2656008 h 5017575"/>
              <a:gd name="connsiteX28" fmla="*/ 54286 w 3884395"/>
              <a:gd name="connsiteY28" fmla="*/ 2610288 h 5017575"/>
              <a:gd name="connsiteX29" fmla="*/ 7931 w 3884395"/>
              <a:gd name="connsiteY29" fmla="*/ 2563298 h 5017575"/>
              <a:gd name="connsiteX30" fmla="*/ 8566 w 3884395"/>
              <a:gd name="connsiteY30" fmla="*/ 2488368 h 5017575"/>
              <a:gd name="connsiteX31" fmla="*/ 92386 w 3884395"/>
              <a:gd name="connsiteY31" fmla="*/ 2335968 h 5017575"/>
              <a:gd name="connsiteX32" fmla="*/ 221926 w 3884395"/>
              <a:gd name="connsiteY32" fmla="*/ 2175948 h 5017575"/>
              <a:gd name="connsiteX33" fmla="*/ 282886 w 3884395"/>
              <a:gd name="connsiteY33" fmla="*/ 2084508 h 5017575"/>
              <a:gd name="connsiteX34" fmla="*/ 328606 w 3884395"/>
              <a:gd name="connsiteY34" fmla="*/ 1977828 h 5017575"/>
              <a:gd name="connsiteX35" fmla="*/ 359086 w 3884395"/>
              <a:gd name="connsiteY35" fmla="*/ 1871148 h 5017575"/>
              <a:gd name="connsiteX36" fmla="*/ 374326 w 3884395"/>
              <a:gd name="connsiteY36" fmla="*/ 1810188 h 5017575"/>
              <a:gd name="connsiteX37" fmla="*/ 343846 w 3884395"/>
              <a:gd name="connsiteY37" fmla="*/ 1756848 h 5017575"/>
              <a:gd name="connsiteX38" fmla="*/ 328606 w 3884395"/>
              <a:gd name="connsiteY38" fmla="*/ 1680648 h 5017575"/>
              <a:gd name="connsiteX39" fmla="*/ 412426 w 3884395"/>
              <a:gd name="connsiteY39" fmla="*/ 1474908 h 5017575"/>
              <a:gd name="connsiteX40" fmla="*/ 442906 w 3884395"/>
              <a:gd name="connsiteY40" fmla="*/ 1307268 h 5017575"/>
              <a:gd name="connsiteX41" fmla="*/ 465766 w 3884395"/>
              <a:gd name="connsiteY41" fmla="*/ 1192968 h 5017575"/>
              <a:gd name="connsiteX42" fmla="*/ 503866 w 3884395"/>
              <a:gd name="connsiteY42" fmla="*/ 1055808 h 5017575"/>
              <a:gd name="connsiteX43" fmla="*/ 557206 w 3884395"/>
              <a:gd name="connsiteY43" fmla="*/ 888168 h 5017575"/>
              <a:gd name="connsiteX44" fmla="*/ 503866 w 3884395"/>
              <a:gd name="connsiteY44" fmla="*/ 888168 h 5017575"/>
              <a:gd name="connsiteX45" fmla="*/ 412426 w 3884395"/>
              <a:gd name="connsiteY45" fmla="*/ 834828 h 5017575"/>
              <a:gd name="connsiteX46" fmla="*/ 328606 w 3884395"/>
              <a:gd name="connsiteY46" fmla="*/ 789108 h 5017575"/>
              <a:gd name="connsiteX47" fmla="*/ 260026 w 3884395"/>
              <a:gd name="connsiteY47" fmla="*/ 773868 h 5017575"/>
              <a:gd name="connsiteX48" fmla="*/ 214306 w 3884395"/>
              <a:gd name="connsiteY48" fmla="*/ 751008 h 5017575"/>
              <a:gd name="connsiteX49" fmla="*/ 260026 w 3884395"/>
              <a:gd name="connsiteY49" fmla="*/ 674808 h 5017575"/>
              <a:gd name="connsiteX50" fmla="*/ 374326 w 3884395"/>
              <a:gd name="connsiteY50" fmla="*/ 606228 h 5017575"/>
              <a:gd name="connsiteX51" fmla="*/ 557206 w 3884395"/>
              <a:gd name="connsiteY51" fmla="*/ 507168 h 5017575"/>
              <a:gd name="connsiteX52" fmla="*/ 656266 w 3884395"/>
              <a:gd name="connsiteY52" fmla="*/ 423348 h 5017575"/>
              <a:gd name="connsiteX53" fmla="*/ 892486 w 3884395"/>
              <a:gd name="connsiteY53" fmla="*/ 232848 h 5017575"/>
              <a:gd name="connsiteX54" fmla="*/ 1174426 w 3884395"/>
              <a:gd name="connsiteY54" fmla="*/ 80448 h 5017575"/>
              <a:gd name="connsiteX55" fmla="*/ 1593526 w 3884395"/>
              <a:gd name="connsiteY55" fmla="*/ 11868 h 5017575"/>
              <a:gd name="connsiteX56" fmla="*/ 1944046 w 3884395"/>
              <a:gd name="connsiteY56" fmla="*/ 4248 h 5017575"/>
              <a:gd name="connsiteX57" fmla="*/ 2172646 w 3884395"/>
              <a:gd name="connsiteY57" fmla="*/ 4248 h 5017575"/>
              <a:gd name="connsiteX58" fmla="*/ 2393626 w 3884395"/>
              <a:gd name="connsiteY58" fmla="*/ 57588 h 5017575"/>
              <a:gd name="connsiteX59" fmla="*/ 2667946 w 3884395"/>
              <a:gd name="connsiteY59" fmla="*/ 133788 h 5017575"/>
              <a:gd name="connsiteX60" fmla="*/ 2820346 w 3884395"/>
              <a:gd name="connsiteY60" fmla="*/ 202368 h 5017575"/>
              <a:gd name="connsiteX61" fmla="*/ 3102286 w 3884395"/>
              <a:gd name="connsiteY61" fmla="*/ 400488 h 5017575"/>
              <a:gd name="connsiteX62" fmla="*/ 3285166 w 3884395"/>
              <a:gd name="connsiteY62" fmla="*/ 651948 h 5017575"/>
              <a:gd name="connsiteX63" fmla="*/ 3407086 w 3884395"/>
              <a:gd name="connsiteY63" fmla="*/ 918648 h 5017575"/>
              <a:gd name="connsiteX64" fmla="*/ 3475666 w 3884395"/>
              <a:gd name="connsiteY64" fmla="*/ 1238688 h 5017575"/>
              <a:gd name="connsiteX65" fmla="*/ 3506146 w 3884395"/>
              <a:gd name="connsiteY65" fmla="*/ 1543488 h 5017575"/>
              <a:gd name="connsiteX66" fmla="*/ 3506146 w 3884395"/>
              <a:gd name="connsiteY66" fmla="*/ 1962588 h 5017575"/>
              <a:gd name="connsiteX67" fmla="*/ 3338506 w 3884395"/>
              <a:gd name="connsiteY67" fmla="*/ 2305488 h 5017575"/>
              <a:gd name="connsiteX68" fmla="*/ 3254686 w 3884395"/>
              <a:gd name="connsiteY68" fmla="*/ 2473128 h 5017575"/>
              <a:gd name="connsiteX69" fmla="*/ 3132766 w 3884395"/>
              <a:gd name="connsiteY69" fmla="*/ 2663628 h 5017575"/>
              <a:gd name="connsiteX70" fmla="*/ 3071806 w 3884395"/>
              <a:gd name="connsiteY70" fmla="*/ 2838888 h 5017575"/>
              <a:gd name="connsiteX71" fmla="*/ 3064186 w 3884395"/>
              <a:gd name="connsiteY71" fmla="*/ 2915088 h 5017575"/>
              <a:gd name="connsiteX72" fmla="*/ 3018466 w 3884395"/>
              <a:gd name="connsiteY72" fmla="*/ 3014148 h 5017575"/>
              <a:gd name="connsiteX73" fmla="*/ 2980366 w 3884395"/>
              <a:gd name="connsiteY73" fmla="*/ 3082728 h 5017575"/>
              <a:gd name="connsiteX74" fmla="*/ 2957506 w 3884395"/>
              <a:gd name="connsiteY74" fmla="*/ 3120828 h 5017575"/>
              <a:gd name="connsiteX75" fmla="*/ 2957506 w 3884395"/>
              <a:gd name="connsiteY75" fmla="*/ 3555168 h 5017575"/>
              <a:gd name="connsiteX76" fmla="*/ 3010846 w 3884395"/>
              <a:gd name="connsiteY76" fmla="*/ 3539928 h 5017575"/>
              <a:gd name="connsiteX77" fmla="*/ 3109906 w 3884395"/>
              <a:gd name="connsiteY77" fmla="*/ 3570408 h 5017575"/>
              <a:gd name="connsiteX78" fmla="*/ 3140386 w 3884395"/>
              <a:gd name="connsiteY78" fmla="*/ 3631368 h 5017575"/>
              <a:gd name="connsiteX79" fmla="*/ 3117526 w 3884395"/>
              <a:gd name="connsiteY79" fmla="*/ 3738048 h 5017575"/>
              <a:gd name="connsiteX80" fmla="*/ 3125146 w 3884395"/>
              <a:gd name="connsiteY80" fmla="*/ 4103808 h 5017575"/>
              <a:gd name="connsiteX81" fmla="*/ 3163246 w 3884395"/>
              <a:gd name="connsiteY81" fmla="*/ 4157148 h 5017575"/>
              <a:gd name="connsiteX82" fmla="*/ 3201346 w 3884395"/>
              <a:gd name="connsiteY82" fmla="*/ 4164768 h 5017575"/>
              <a:gd name="connsiteX83" fmla="*/ 3231826 w 3884395"/>
              <a:gd name="connsiteY83" fmla="*/ 4172388 h 5017575"/>
              <a:gd name="connsiteX84" fmla="*/ 3285166 w 3884395"/>
              <a:gd name="connsiteY84" fmla="*/ 4294308 h 5017575"/>
              <a:gd name="connsiteX85" fmla="*/ 3300406 w 3884395"/>
              <a:gd name="connsiteY85" fmla="*/ 4347648 h 5017575"/>
              <a:gd name="connsiteX86" fmla="*/ 3330886 w 3884395"/>
              <a:gd name="connsiteY86" fmla="*/ 4408608 h 5017575"/>
              <a:gd name="connsiteX87" fmla="*/ 3551866 w 3884395"/>
              <a:gd name="connsiteY87" fmla="*/ 4644828 h 5017575"/>
              <a:gd name="connsiteX88" fmla="*/ 3884395 w 3884395"/>
              <a:gd name="connsiteY88" fmla="*/ 5017575 h 5017575"/>
              <a:gd name="connsiteX0" fmla="*/ 707488 w 3889897"/>
              <a:gd name="connsiteY0" fmla="*/ 5008470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163246 w 3889897"/>
              <a:gd name="connsiteY81" fmla="*/ 4157148 h 5020326"/>
              <a:gd name="connsiteX82" fmla="*/ 3201346 w 3889897"/>
              <a:gd name="connsiteY82" fmla="*/ 4164768 h 5020326"/>
              <a:gd name="connsiteX83" fmla="*/ 3231826 w 3889897"/>
              <a:gd name="connsiteY83" fmla="*/ 4172388 h 5020326"/>
              <a:gd name="connsiteX84" fmla="*/ 3285166 w 3889897"/>
              <a:gd name="connsiteY84" fmla="*/ 4294308 h 5020326"/>
              <a:gd name="connsiteX85" fmla="*/ 3300406 w 3889897"/>
              <a:gd name="connsiteY85" fmla="*/ 4347648 h 5020326"/>
              <a:gd name="connsiteX86" fmla="*/ 3330886 w 3889897"/>
              <a:gd name="connsiteY86" fmla="*/ 4408608 h 5020326"/>
              <a:gd name="connsiteX87" fmla="*/ 3551866 w 3889897"/>
              <a:gd name="connsiteY87" fmla="*/ 4644828 h 5020326"/>
              <a:gd name="connsiteX88" fmla="*/ 3889897 w 3889897"/>
              <a:gd name="connsiteY88" fmla="*/ 5020326 h 5020326"/>
              <a:gd name="connsiteX0" fmla="*/ 704737 w 3889897"/>
              <a:gd name="connsiteY0" fmla="*/ 5016723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163246 w 3889897"/>
              <a:gd name="connsiteY81" fmla="*/ 4157148 h 5020326"/>
              <a:gd name="connsiteX82" fmla="*/ 3201346 w 3889897"/>
              <a:gd name="connsiteY82" fmla="*/ 4164768 h 5020326"/>
              <a:gd name="connsiteX83" fmla="*/ 3231826 w 3889897"/>
              <a:gd name="connsiteY83" fmla="*/ 4172388 h 5020326"/>
              <a:gd name="connsiteX84" fmla="*/ 3285166 w 3889897"/>
              <a:gd name="connsiteY84" fmla="*/ 4294308 h 5020326"/>
              <a:gd name="connsiteX85" fmla="*/ 3300406 w 3889897"/>
              <a:gd name="connsiteY85" fmla="*/ 4347648 h 5020326"/>
              <a:gd name="connsiteX86" fmla="*/ 3330886 w 3889897"/>
              <a:gd name="connsiteY86" fmla="*/ 4408608 h 5020326"/>
              <a:gd name="connsiteX87" fmla="*/ 3551866 w 3889897"/>
              <a:gd name="connsiteY87" fmla="*/ 4644828 h 5020326"/>
              <a:gd name="connsiteX88" fmla="*/ 3889897 w 3889897"/>
              <a:gd name="connsiteY88" fmla="*/ 5020326 h 5020326"/>
              <a:gd name="connsiteX0" fmla="*/ 710239 w 3889897"/>
              <a:gd name="connsiteY0" fmla="*/ 5024991 h 5024991"/>
              <a:gd name="connsiteX1" fmla="*/ 961066 w 3889897"/>
              <a:gd name="connsiteY1" fmla="*/ 4644828 h 5024991"/>
              <a:gd name="connsiteX2" fmla="*/ 1342066 w 3889897"/>
              <a:gd name="connsiteY2" fmla="*/ 4172388 h 5024991"/>
              <a:gd name="connsiteX3" fmla="*/ 1258246 w 3889897"/>
              <a:gd name="connsiteY3" fmla="*/ 4012368 h 5024991"/>
              <a:gd name="connsiteX4" fmla="*/ 1204906 w 3889897"/>
              <a:gd name="connsiteY4" fmla="*/ 3928548 h 5024991"/>
              <a:gd name="connsiteX5" fmla="*/ 1174426 w 3889897"/>
              <a:gd name="connsiteY5" fmla="*/ 3768528 h 5024991"/>
              <a:gd name="connsiteX6" fmla="*/ 1151566 w 3889897"/>
              <a:gd name="connsiteY6" fmla="*/ 3699948 h 5024991"/>
              <a:gd name="connsiteX7" fmla="*/ 1143946 w 3889897"/>
              <a:gd name="connsiteY7" fmla="*/ 3669468 h 5024991"/>
              <a:gd name="connsiteX8" fmla="*/ 1067746 w 3889897"/>
              <a:gd name="connsiteY8" fmla="*/ 3661848 h 5024991"/>
              <a:gd name="connsiteX9" fmla="*/ 938206 w 3889897"/>
              <a:gd name="connsiteY9" fmla="*/ 3669468 h 5024991"/>
              <a:gd name="connsiteX10" fmla="*/ 831526 w 3889897"/>
              <a:gd name="connsiteY10" fmla="*/ 3692328 h 5024991"/>
              <a:gd name="connsiteX11" fmla="*/ 610546 w 3889897"/>
              <a:gd name="connsiteY11" fmla="*/ 3738048 h 5024991"/>
              <a:gd name="connsiteX12" fmla="*/ 389566 w 3889897"/>
              <a:gd name="connsiteY12" fmla="*/ 3638988 h 5024991"/>
              <a:gd name="connsiteX13" fmla="*/ 381946 w 3889897"/>
              <a:gd name="connsiteY13" fmla="*/ 3326568 h 5024991"/>
              <a:gd name="connsiteX14" fmla="*/ 420046 w 3889897"/>
              <a:gd name="connsiteY14" fmla="*/ 3227508 h 5024991"/>
              <a:gd name="connsiteX15" fmla="*/ 389566 w 3889897"/>
              <a:gd name="connsiteY15" fmla="*/ 3166548 h 5024991"/>
              <a:gd name="connsiteX16" fmla="*/ 351466 w 3889897"/>
              <a:gd name="connsiteY16" fmla="*/ 3105588 h 5024991"/>
              <a:gd name="connsiteX17" fmla="*/ 397186 w 3889897"/>
              <a:gd name="connsiteY17" fmla="*/ 3021768 h 5024991"/>
              <a:gd name="connsiteX18" fmla="*/ 488626 w 3889897"/>
              <a:gd name="connsiteY18" fmla="*/ 2998908 h 5024991"/>
              <a:gd name="connsiteX19" fmla="*/ 471956 w 3889897"/>
              <a:gd name="connsiteY19" fmla="*/ 2942709 h 5024991"/>
              <a:gd name="connsiteX20" fmla="*/ 435286 w 3889897"/>
              <a:gd name="connsiteY20" fmla="*/ 2930328 h 5024991"/>
              <a:gd name="connsiteX21" fmla="*/ 389566 w 3889897"/>
              <a:gd name="connsiteY21" fmla="*/ 2930328 h 5024991"/>
              <a:gd name="connsiteX22" fmla="*/ 314000 w 3889897"/>
              <a:gd name="connsiteY22" fmla="*/ 2893495 h 5024991"/>
              <a:gd name="connsiteX23" fmla="*/ 320986 w 3889897"/>
              <a:gd name="connsiteY23" fmla="*/ 2846508 h 5024991"/>
              <a:gd name="connsiteX24" fmla="*/ 328606 w 3889897"/>
              <a:gd name="connsiteY24" fmla="*/ 2793168 h 5024991"/>
              <a:gd name="connsiteX25" fmla="*/ 313366 w 3889897"/>
              <a:gd name="connsiteY25" fmla="*/ 2732208 h 5024991"/>
              <a:gd name="connsiteX26" fmla="*/ 267646 w 3889897"/>
              <a:gd name="connsiteY26" fmla="*/ 2671248 h 5024991"/>
              <a:gd name="connsiteX27" fmla="*/ 176206 w 3889897"/>
              <a:gd name="connsiteY27" fmla="*/ 2656008 h 5024991"/>
              <a:gd name="connsiteX28" fmla="*/ 54286 w 3889897"/>
              <a:gd name="connsiteY28" fmla="*/ 2610288 h 5024991"/>
              <a:gd name="connsiteX29" fmla="*/ 7931 w 3889897"/>
              <a:gd name="connsiteY29" fmla="*/ 2563298 h 5024991"/>
              <a:gd name="connsiteX30" fmla="*/ 8566 w 3889897"/>
              <a:gd name="connsiteY30" fmla="*/ 2488368 h 5024991"/>
              <a:gd name="connsiteX31" fmla="*/ 92386 w 3889897"/>
              <a:gd name="connsiteY31" fmla="*/ 2335968 h 5024991"/>
              <a:gd name="connsiteX32" fmla="*/ 221926 w 3889897"/>
              <a:gd name="connsiteY32" fmla="*/ 2175948 h 5024991"/>
              <a:gd name="connsiteX33" fmla="*/ 282886 w 3889897"/>
              <a:gd name="connsiteY33" fmla="*/ 2084508 h 5024991"/>
              <a:gd name="connsiteX34" fmla="*/ 328606 w 3889897"/>
              <a:gd name="connsiteY34" fmla="*/ 1977828 h 5024991"/>
              <a:gd name="connsiteX35" fmla="*/ 359086 w 3889897"/>
              <a:gd name="connsiteY35" fmla="*/ 1871148 h 5024991"/>
              <a:gd name="connsiteX36" fmla="*/ 374326 w 3889897"/>
              <a:gd name="connsiteY36" fmla="*/ 1810188 h 5024991"/>
              <a:gd name="connsiteX37" fmla="*/ 343846 w 3889897"/>
              <a:gd name="connsiteY37" fmla="*/ 1756848 h 5024991"/>
              <a:gd name="connsiteX38" fmla="*/ 328606 w 3889897"/>
              <a:gd name="connsiteY38" fmla="*/ 1680648 h 5024991"/>
              <a:gd name="connsiteX39" fmla="*/ 412426 w 3889897"/>
              <a:gd name="connsiteY39" fmla="*/ 1474908 h 5024991"/>
              <a:gd name="connsiteX40" fmla="*/ 442906 w 3889897"/>
              <a:gd name="connsiteY40" fmla="*/ 1307268 h 5024991"/>
              <a:gd name="connsiteX41" fmla="*/ 465766 w 3889897"/>
              <a:gd name="connsiteY41" fmla="*/ 1192968 h 5024991"/>
              <a:gd name="connsiteX42" fmla="*/ 503866 w 3889897"/>
              <a:gd name="connsiteY42" fmla="*/ 1055808 h 5024991"/>
              <a:gd name="connsiteX43" fmla="*/ 557206 w 3889897"/>
              <a:gd name="connsiteY43" fmla="*/ 888168 h 5024991"/>
              <a:gd name="connsiteX44" fmla="*/ 503866 w 3889897"/>
              <a:gd name="connsiteY44" fmla="*/ 888168 h 5024991"/>
              <a:gd name="connsiteX45" fmla="*/ 412426 w 3889897"/>
              <a:gd name="connsiteY45" fmla="*/ 834828 h 5024991"/>
              <a:gd name="connsiteX46" fmla="*/ 328606 w 3889897"/>
              <a:gd name="connsiteY46" fmla="*/ 789108 h 5024991"/>
              <a:gd name="connsiteX47" fmla="*/ 260026 w 3889897"/>
              <a:gd name="connsiteY47" fmla="*/ 773868 h 5024991"/>
              <a:gd name="connsiteX48" fmla="*/ 214306 w 3889897"/>
              <a:gd name="connsiteY48" fmla="*/ 751008 h 5024991"/>
              <a:gd name="connsiteX49" fmla="*/ 260026 w 3889897"/>
              <a:gd name="connsiteY49" fmla="*/ 674808 h 5024991"/>
              <a:gd name="connsiteX50" fmla="*/ 374326 w 3889897"/>
              <a:gd name="connsiteY50" fmla="*/ 606228 h 5024991"/>
              <a:gd name="connsiteX51" fmla="*/ 557206 w 3889897"/>
              <a:gd name="connsiteY51" fmla="*/ 507168 h 5024991"/>
              <a:gd name="connsiteX52" fmla="*/ 656266 w 3889897"/>
              <a:gd name="connsiteY52" fmla="*/ 423348 h 5024991"/>
              <a:gd name="connsiteX53" fmla="*/ 892486 w 3889897"/>
              <a:gd name="connsiteY53" fmla="*/ 232848 h 5024991"/>
              <a:gd name="connsiteX54" fmla="*/ 1174426 w 3889897"/>
              <a:gd name="connsiteY54" fmla="*/ 80448 h 5024991"/>
              <a:gd name="connsiteX55" fmla="*/ 1593526 w 3889897"/>
              <a:gd name="connsiteY55" fmla="*/ 11868 h 5024991"/>
              <a:gd name="connsiteX56" fmla="*/ 1944046 w 3889897"/>
              <a:gd name="connsiteY56" fmla="*/ 4248 h 5024991"/>
              <a:gd name="connsiteX57" fmla="*/ 2172646 w 3889897"/>
              <a:gd name="connsiteY57" fmla="*/ 4248 h 5024991"/>
              <a:gd name="connsiteX58" fmla="*/ 2393626 w 3889897"/>
              <a:gd name="connsiteY58" fmla="*/ 57588 h 5024991"/>
              <a:gd name="connsiteX59" fmla="*/ 2667946 w 3889897"/>
              <a:gd name="connsiteY59" fmla="*/ 133788 h 5024991"/>
              <a:gd name="connsiteX60" fmla="*/ 2820346 w 3889897"/>
              <a:gd name="connsiteY60" fmla="*/ 202368 h 5024991"/>
              <a:gd name="connsiteX61" fmla="*/ 3102286 w 3889897"/>
              <a:gd name="connsiteY61" fmla="*/ 400488 h 5024991"/>
              <a:gd name="connsiteX62" fmla="*/ 3285166 w 3889897"/>
              <a:gd name="connsiteY62" fmla="*/ 651948 h 5024991"/>
              <a:gd name="connsiteX63" fmla="*/ 3407086 w 3889897"/>
              <a:gd name="connsiteY63" fmla="*/ 918648 h 5024991"/>
              <a:gd name="connsiteX64" fmla="*/ 3475666 w 3889897"/>
              <a:gd name="connsiteY64" fmla="*/ 1238688 h 5024991"/>
              <a:gd name="connsiteX65" fmla="*/ 3506146 w 3889897"/>
              <a:gd name="connsiteY65" fmla="*/ 1543488 h 5024991"/>
              <a:gd name="connsiteX66" fmla="*/ 3506146 w 3889897"/>
              <a:gd name="connsiteY66" fmla="*/ 1962588 h 5024991"/>
              <a:gd name="connsiteX67" fmla="*/ 3338506 w 3889897"/>
              <a:gd name="connsiteY67" fmla="*/ 2305488 h 5024991"/>
              <a:gd name="connsiteX68" fmla="*/ 3254686 w 3889897"/>
              <a:gd name="connsiteY68" fmla="*/ 2473128 h 5024991"/>
              <a:gd name="connsiteX69" fmla="*/ 3132766 w 3889897"/>
              <a:gd name="connsiteY69" fmla="*/ 2663628 h 5024991"/>
              <a:gd name="connsiteX70" fmla="*/ 3071806 w 3889897"/>
              <a:gd name="connsiteY70" fmla="*/ 2838888 h 5024991"/>
              <a:gd name="connsiteX71" fmla="*/ 3064186 w 3889897"/>
              <a:gd name="connsiteY71" fmla="*/ 2915088 h 5024991"/>
              <a:gd name="connsiteX72" fmla="*/ 3018466 w 3889897"/>
              <a:gd name="connsiteY72" fmla="*/ 3014148 h 5024991"/>
              <a:gd name="connsiteX73" fmla="*/ 2980366 w 3889897"/>
              <a:gd name="connsiteY73" fmla="*/ 3082728 h 5024991"/>
              <a:gd name="connsiteX74" fmla="*/ 2957506 w 3889897"/>
              <a:gd name="connsiteY74" fmla="*/ 3120828 h 5024991"/>
              <a:gd name="connsiteX75" fmla="*/ 2957506 w 3889897"/>
              <a:gd name="connsiteY75" fmla="*/ 3555168 h 5024991"/>
              <a:gd name="connsiteX76" fmla="*/ 3010846 w 3889897"/>
              <a:gd name="connsiteY76" fmla="*/ 3539928 h 5024991"/>
              <a:gd name="connsiteX77" fmla="*/ 3109906 w 3889897"/>
              <a:gd name="connsiteY77" fmla="*/ 3570408 h 5024991"/>
              <a:gd name="connsiteX78" fmla="*/ 3140386 w 3889897"/>
              <a:gd name="connsiteY78" fmla="*/ 3631368 h 5024991"/>
              <a:gd name="connsiteX79" fmla="*/ 3117526 w 3889897"/>
              <a:gd name="connsiteY79" fmla="*/ 3738048 h 5024991"/>
              <a:gd name="connsiteX80" fmla="*/ 3125146 w 3889897"/>
              <a:gd name="connsiteY80" fmla="*/ 4103808 h 5024991"/>
              <a:gd name="connsiteX81" fmla="*/ 3163246 w 3889897"/>
              <a:gd name="connsiteY81" fmla="*/ 4157148 h 5024991"/>
              <a:gd name="connsiteX82" fmla="*/ 3201346 w 3889897"/>
              <a:gd name="connsiteY82" fmla="*/ 4164768 h 5024991"/>
              <a:gd name="connsiteX83" fmla="*/ 3231826 w 3889897"/>
              <a:gd name="connsiteY83" fmla="*/ 4172388 h 5024991"/>
              <a:gd name="connsiteX84" fmla="*/ 3285166 w 3889897"/>
              <a:gd name="connsiteY84" fmla="*/ 4294308 h 5024991"/>
              <a:gd name="connsiteX85" fmla="*/ 3300406 w 3889897"/>
              <a:gd name="connsiteY85" fmla="*/ 4347648 h 5024991"/>
              <a:gd name="connsiteX86" fmla="*/ 3330886 w 3889897"/>
              <a:gd name="connsiteY86" fmla="*/ 4408608 h 5024991"/>
              <a:gd name="connsiteX87" fmla="*/ 3551866 w 3889897"/>
              <a:gd name="connsiteY87" fmla="*/ 4644828 h 5024991"/>
              <a:gd name="connsiteX88" fmla="*/ 3889897 w 3889897"/>
              <a:gd name="connsiteY88" fmla="*/ 5020326 h 5024991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163246 w 3889897"/>
              <a:gd name="connsiteY81" fmla="*/ 4157148 h 5020326"/>
              <a:gd name="connsiteX82" fmla="*/ 3201346 w 3889897"/>
              <a:gd name="connsiteY82" fmla="*/ 4164768 h 5020326"/>
              <a:gd name="connsiteX83" fmla="*/ 3231826 w 3889897"/>
              <a:gd name="connsiteY83" fmla="*/ 4172388 h 5020326"/>
              <a:gd name="connsiteX84" fmla="*/ 3285166 w 3889897"/>
              <a:gd name="connsiteY84" fmla="*/ 4294308 h 5020326"/>
              <a:gd name="connsiteX85" fmla="*/ 3300406 w 3889897"/>
              <a:gd name="connsiteY85" fmla="*/ 4347648 h 5020326"/>
              <a:gd name="connsiteX86" fmla="*/ 3330886 w 3889897"/>
              <a:gd name="connsiteY86" fmla="*/ 4408608 h 5020326"/>
              <a:gd name="connsiteX87" fmla="*/ 3551866 w 3889897"/>
              <a:gd name="connsiteY87" fmla="*/ 4644828 h 5020326"/>
              <a:gd name="connsiteX88" fmla="*/ 3889897 w 3889897"/>
              <a:gd name="connsiteY88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201346 w 3889897"/>
              <a:gd name="connsiteY81" fmla="*/ 4164768 h 5020326"/>
              <a:gd name="connsiteX82" fmla="*/ 3231826 w 3889897"/>
              <a:gd name="connsiteY82" fmla="*/ 4172388 h 5020326"/>
              <a:gd name="connsiteX83" fmla="*/ 3285166 w 3889897"/>
              <a:gd name="connsiteY83" fmla="*/ 4294308 h 5020326"/>
              <a:gd name="connsiteX84" fmla="*/ 3300406 w 3889897"/>
              <a:gd name="connsiteY84" fmla="*/ 4347648 h 5020326"/>
              <a:gd name="connsiteX85" fmla="*/ 3330886 w 3889897"/>
              <a:gd name="connsiteY85" fmla="*/ 4408608 h 5020326"/>
              <a:gd name="connsiteX86" fmla="*/ 3551866 w 3889897"/>
              <a:gd name="connsiteY86" fmla="*/ 4644828 h 5020326"/>
              <a:gd name="connsiteX87" fmla="*/ 3889897 w 3889897"/>
              <a:gd name="connsiteY87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231826 w 3889897"/>
              <a:gd name="connsiteY81" fmla="*/ 4172388 h 5020326"/>
              <a:gd name="connsiteX82" fmla="*/ 3285166 w 3889897"/>
              <a:gd name="connsiteY82" fmla="*/ 4294308 h 5020326"/>
              <a:gd name="connsiteX83" fmla="*/ 3300406 w 3889897"/>
              <a:gd name="connsiteY83" fmla="*/ 4347648 h 5020326"/>
              <a:gd name="connsiteX84" fmla="*/ 3330886 w 3889897"/>
              <a:gd name="connsiteY84" fmla="*/ 4408608 h 5020326"/>
              <a:gd name="connsiteX85" fmla="*/ 3551866 w 3889897"/>
              <a:gd name="connsiteY85" fmla="*/ 4644828 h 5020326"/>
              <a:gd name="connsiteX86" fmla="*/ 3889897 w 3889897"/>
              <a:gd name="connsiteY86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43946 w 3889897"/>
              <a:gd name="connsiteY6" fmla="*/ 3669468 h 5020326"/>
              <a:gd name="connsiteX7" fmla="*/ 1067746 w 3889897"/>
              <a:gd name="connsiteY7" fmla="*/ 3661848 h 5020326"/>
              <a:gd name="connsiteX8" fmla="*/ 938206 w 3889897"/>
              <a:gd name="connsiteY8" fmla="*/ 3669468 h 5020326"/>
              <a:gd name="connsiteX9" fmla="*/ 831526 w 3889897"/>
              <a:gd name="connsiteY9" fmla="*/ 3692328 h 5020326"/>
              <a:gd name="connsiteX10" fmla="*/ 610546 w 3889897"/>
              <a:gd name="connsiteY10" fmla="*/ 3738048 h 5020326"/>
              <a:gd name="connsiteX11" fmla="*/ 389566 w 3889897"/>
              <a:gd name="connsiteY11" fmla="*/ 3638988 h 5020326"/>
              <a:gd name="connsiteX12" fmla="*/ 381946 w 3889897"/>
              <a:gd name="connsiteY12" fmla="*/ 3326568 h 5020326"/>
              <a:gd name="connsiteX13" fmla="*/ 420046 w 3889897"/>
              <a:gd name="connsiteY13" fmla="*/ 3227508 h 5020326"/>
              <a:gd name="connsiteX14" fmla="*/ 389566 w 3889897"/>
              <a:gd name="connsiteY14" fmla="*/ 3166548 h 5020326"/>
              <a:gd name="connsiteX15" fmla="*/ 351466 w 3889897"/>
              <a:gd name="connsiteY15" fmla="*/ 3105588 h 5020326"/>
              <a:gd name="connsiteX16" fmla="*/ 397186 w 3889897"/>
              <a:gd name="connsiteY16" fmla="*/ 3021768 h 5020326"/>
              <a:gd name="connsiteX17" fmla="*/ 488626 w 3889897"/>
              <a:gd name="connsiteY17" fmla="*/ 2998908 h 5020326"/>
              <a:gd name="connsiteX18" fmla="*/ 471956 w 3889897"/>
              <a:gd name="connsiteY18" fmla="*/ 2942709 h 5020326"/>
              <a:gd name="connsiteX19" fmla="*/ 435286 w 3889897"/>
              <a:gd name="connsiteY19" fmla="*/ 2930328 h 5020326"/>
              <a:gd name="connsiteX20" fmla="*/ 389566 w 3889897"/>
              <a:gd name="connsiteY20" fmla="*/ 2930328 h 5020326"/>
              <a:gd name="connsiteX21" fmla="*/ 314000 w 3889897"/>
              <a:gd name="connsiteY21" fmla="*/ 2893495 h 5020326"/>
              <a:gd name="connsiteX22" fmla="*/ 320986 w 3889897"/>
              <a:gd name="connsiteY22" fmla="*/ 2846508 h 5020326"/>
              <a:gd name="connsiteX23" fmla="*/ 328606 w 3889897"/>
              <a:gd name="connsiteY23" fmla="*/ 2793168 h 5020326"/>
              <a:gd name="connsiteX24" fmla="*/ 313366 w 3889897"/>
              <a:gd name="connsiteY24" fmla="*/ 2732208 h 5020326"/>
              <a:gd name="connsiteX25" fmla="*/ 267646 w 3889897"/>
              <a:gd name="connsiteY25" fmla="*/ 2671248 h 5020326"/>
              <a:gd name="connsiteX26" fmla="*/ 176206 w 3889897"/>
              <a:gd name="connsiteY26" fmla="*/ 2656008 h 5020326"/>
              <a:gd name="connsiteX27" fmla="*/ 54286 w 3889897"/>
              <a:gd name="connsiteY27" fmla="*/ 2610288 h 5020326"/>
              <a:gd name="connsiteX28" fmla="*/ 7931 w 3889897"/>
              <a:gd name="connsiteY28" fmla="*/ 2563298 h 5020326"/>
              <a:gd name="connsiteX29" fmla="*/ 8566 w 3889897"/>
              <a:gd name="connsiteY29" fmla="*/ 2488368 h 5020326"/>
              <a:gd name="connsiteX30" fmla="*/ 92386 w 3889897"/>
              <a:gd name="connsiteY30" fmla="*/ 2335968 h 5020326"/>
              <a:gd name="connsiteX31" fmla="*/ 221926 w 3889897"/>
              <a:gd name="connsiteY31" fmla="*/ 2175948 h 5020326"/>
              <a:gd name="connsiteX32" fmla="*/ 282886 w 3889897"/>
              <a:gd name="connsiteY32" fmla="*/ 2084508 h 5020326"/>
              <a:gd name="connsiteX33" fmla="*/ 328606 w 3889897"/>
              <a:gd name="connsiteY33" fmla="*/ 1977828 h 5020326"/>
              <a:gd name="connsiteX34" fmla="*/ 359086 w 3889897"/>
              <a:gd name="connsiteY34" fmla="*/ 1871148 h 5020326"/>
              <a:gd name="connsiteX35" fmla="*/ 374326 w 3889897"/>
              <a:gd name="connsiteY35" fmla="*/ 1810188 h 5020326"/>
              <a:gd name="connsiteX36" fmla="*/ 343846 w 3889897"/>
              <a:gd name="connsiteY36" fmla="*/ 1756848 h 5020326"/>
              <a:gd name="connsiteX37" fmla="*/ 328606 w 3889897"/>
              <a:gd name="connsiteY37" fmla="*/ 1680648 h 5020326"/>
              <a:gd name="connsiteX38" fmla="*/ 412426 w 3889897"/>
              <a:gd name="connsiteY38" fmla="*/ 1474908 h 5020326"/>
              <a:gd name="connsiteX39" fmla="*/ 442906 w 3889897"/>
              <a:gd name="connsiteY39" fmla="*/ 1307268 h 5020326"/>
              <a:gd name="connsiteX40" fmla="*/ 465766 w 3889897"/>
              <a:gd name="connsiteY40" fmla="*/ 1192968 h 5020326"/>
              <a:gd name="connsiteX41" fmla="*/ 503866 w 3889897"/>
              <a:gd name="connsiteY41" fmla="*/ 1055808 h 5020326"/>
              <a:gd name="connsiteX42" fmla="*/ 557206 w 3889897"/>
              <a:gd name="connsiteY42" fmla="*/ 888168 h 5020326"/>
              <a:gd name="connsiteX43" fmla="*/ 503866 w 3889897"/>
              <a:gd name="connsiteY43" fmla="*/ 888168 h 5020326"/>
              <a:gd name="connsiteX44" fmla="*/ 412426 w 3889897"/>
              <a:gd name="connsiteY44" fmla="*/ 834828 h 5020326"/>
              <a:gd name="connsiteX45" fmla="*/ 328606 w 3889897"/>
              <a:gd name="connsiteY45" fmla="*/ 789108 h 5020326"/>
              <a:gd name="connsiteX46" fmla="*/ 260026 w 3889897"/>
              <a:gd name="connsiteY46" fmla="*/ 773868 h 5020326"/>
              <a:gd name="connsiteX47" fmla="*/ 214306 w 3889897"/>
              <a:gd name="connsiteY47" fmla="*/ 751008 h 5020326"/>
              <a:gd name="connsiteX48" fmla="*/ 260026 w 3889897"/>
              <a:gd name="connsiteY48" fmla="*/ 674808 h 5020326"/>
              <a:gd name="connsiteX49" fmla="*/ 374326 w 3889897"/>
              <a:gd name="connsiteY49" fmla="*/ 606228 h 5020326"/>
              <a:gd name="connsiteX50" fmla="*/ 557206 w 3889897"/>
              <a:gd name="connsiteY50" fmla="*/ 507168 h 5020326"/>
              <a:gd name="connsiteX51" fmla="*/ 656266 w 3889897"/>
              <a:gd name="connsiteY51" fmla="*/ 423348 h 5020326"/>
              <a:gd name="connsiteX52" fmla="*/ 892486 w 3889897"/>
              <a:gd name="connsiteY52" fmla="*/ 232848 h 5020326"/>
              <a:gd name="connsiteX53" fmla="*/ 1174426 w 3889897"/>
              <a:gd name="connsiteY53" fmla="*/ 80448 h 5020326"/>
              <a:gd name="connsiteX54" fmla="*/ 1593526 w 3889897"/>
              <a:gd name="connsiteY54" fmla="*/ 11868 h 5020326"/>
              <a:gd name="connsiteX55" fmla="*/ 1944046 w 3889897"/>
              <a:gd name="connsiteY55" fmla="*/ 4248 h 5020326"/>
              <a:gd name="connsiteX56" fmla="*/ 2172646 w 3889897"/>
              <a:gd name="connsiteY56" fmla="*/ 4248 h 5020326"/>
              <a:gd name="connsiteX57" fmla="*/ 2393626 w 3889897"/>
              <a:gd name="connsiteY57" fmla="*/ 57588 h 5020326"/>
              <a:gd name="connsiteX58" fmla="*/ 2667946 w 3889897"/>
              <a:gd name="connsiteY58" fmla="*/ 133788 h 5020326"/>
              <a:gd name="connsiteX59" fmla="*/ 2820346 w 3889897"/>
              <a:gd name="connsiteY59" fmla="*/ 202368 h 5020326"/>
              <a:gd name="connsiteX60" fmla="*/ 3102286 w 3889897"/>
              <a:gd name="connsiteY60" fmla="*/ 400488 h 5020326"/>
              <a:gd name="connsiteX61" fmla="*/ 3285166 w 3889897"/>
              <a:gd name="connsiteY61" fmla="*/ 651948 h 5020326"/>
              <a:gd name="connsiteX62" fmla="*/ 3407086 w 3889897"/>
              <a:gd name="connsiteY62" fmla="*/ 918648 h 5020326"/>
              <a:gd name="connsiteX63" fmla="*/ 3475666 w 3889897"/>
              <a:gd name="connsiteY63" fmla="*/ 1238688 h 5020326"/>
              <a:gd name="connsiteX64" fmla="*/ 3506146 w 3889897"/>
              <a:gd name="connsiteY64" fmla="*/ 1543488 h 5020326"/>
              <a:gd name="connsiteX65" fmla="*/ 3506146 w 3889897"/>
              <a:gd name="connsiteY65" fmla="*/ 1962588 h 5020326"/>
              <a:gd name="connsiteX66" fmla="*/ 3338506 w 3889897"/>
              <a:gd name="connsiteY66" fmla="*/ 2305488 h 5020326"/>
              <a:gd name="connsiteX67" fmla="*/ 3254686 w 3889897"/>
              <a:gd name="connsiteY67" fmla="*/ 2473128 h 5020326"/>
              <a:gd name="connsiteX68" fmla="*/ 3132766 w 3889897"/>
              <a:gd name="connsiteY68" fmla="*/ 2663628 h 5020326"/>
              <a:gd name="connsiteX69" fmla="*/ 3071806 w 3889897"/>
              <a:gd name="connsiteY69" fmla="*/ 2838888 h 5020326"/>
              <a:gd name="connsiteX70" fmla="*/ 3064186 w 3889897"/>
              <a:gd name="connsiteY70" fmla="*/ 2915088 h 5020326"/>
              <a:gd name="connsiteX71" fmla="*/ 3018466 w 3889897"/>
              <a:gd name="connsiteY71" fmla="*/ 3014148 h 5020326"/>
              <a:gd name="connsiteX72" fmla="*/ 2980366 w 3889897"/>
              <a:gd name="connsiteY72" fmla="*/ 3082728 h 5020326"/>
              <a:gd name="connsiteX73" fmla="*/ 2957506 w 3889897"/>
              <a:gd name="connsiteY73" fmla="*/ 3120828 h 5020326"/>
              <a:gd name="connsiteX74" fmla="*/ 2957506 w 3889897"/>
              <a:gd name="connsiteY74" fmla="*/ 3555168 h 5020326"/>
              <a:gd name="connsiteX75" fmla="*/ 3010846 w 3889897"/>
              <a:gd name="connsiteY75" fmla="*/ 3539928 h 5020326"/>
              <a:gd name="connsiteX76" fmla="*/ 3109906 w 3889897"/>
              <a:gd name="connsiteY76" fmla="*/ 3570408 h 5020326"/>
              <a:gd name="connsiteX77" fmla="*/ 3140386 w 3889897"/>
              <a:gd name="connsiteY77" fmla="*/ 3631368 h 5020326"/>
              <a:gd name="connsiteX78" fmla="*/ 3117526 w 3889897"/>
              <a:gd name="connsiteY78" fmla="*/ 3738048 h 5020326"/>
              <a:gd name="connsiteX79" fmla="*/ 3125146 w 3889897"/>
              <a:gd name="connsiteY79" fmla="*/ 4103808 h 5020326"/>
              <a:gd name="connsiteX80" fmla="*/ 3231826 w 3889897"/>
              <a:gd name="connsiteY80" fmla="*/ 4172388 h 5020326"/>
              <a:gd name="connsiteX81" fmla="*/ 3285166 w 3889897"/>
              <a:gd name="connsiteY81" fmla="*/ 4294308 h 5020326"/>
              <a:gd name="connsiteX82" fmla="*/ 3300406 w 3889897"/>
              <a:gd name="connsiteY82" fmla="*/ 4347648 h 5020326"/>
              <a:gd name="connsiteX83" fmla="*/ 3330886 w 3889897"/>
              <a:gd name="connsiteY83" fmla="*/ 4408608 h 5020326"/>
              <a:gd name="connsiteX84" fmla="*/ 3551866 w 3889897"/>
              <a:gd name="connsiteY84" fmla="*/ 4644828 h 5020326"/>
              <a:gd name="connsiteX85" fmla="*/ 3889897 w 3889897"/>
              <a:gd name="connsiteY85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43946 w 3889897"/>
              <a:gd name="connsiteY6" fmla="*/ 3669468 h 5020326"/>
              <a:gd name="connsiteX7" fmla="*/ 1067746 w 3889897"/>
              <a:gd name="connsiteY7" fmla="*/ 3661848 h 5020326"/>
              <a:gd name="connsiteX8" fmla="*/ 938206 w 3889897"/>
              <a:gd name="connsiteY8" fmla="*/ 3669468 h 5020326"/>
              <a:gd name="connsiteX9" fmla="*/ 831526 w 3889897"/>
              <a:gd name="connsiteY9" fmla="*/ 3692328 h 5020326"/>
              <a:gd name="connsiteX10" fmla="*/ 610546 w 3889897"/>
              <a:gd name="connsiteY10" fmla="*/ 3738048 h 5020326"/>
              <a:gd name="connsiteX11" fmla="*/ 389566 w 3889897"/>
              <a:gd name="connsiteY11" fmla="*/ 3638988 h 5020326"/>
              <a:gd name="connsiteX12" fmla="*/ 381946 w 3889897"/>
              <a:gd name="connsiteY12" fmla="*/ 3326568 h 5020326"/>
              <a:gd name="connsiteX13" fmla="*/ 420046 w 3889897"/>
              <a:gd name="connsiteY13" fmla="*/ 3227508 h 5020326"/>
              <a:gd name="connsiteX14" fmla="*/ 389566 w 3889897"/>
              <a:gd name="connsiteY14" fmla="*/ 3166548 h 5020326"/>
              <a:gd name="connsiteX15" fmla="*/ 351466 w 3889897"/>
              <a:gd name="connsiteY15" fmla="*/ 3105588 h 5020326"/>
              <a:gd name="connsiteX16" fmla="*/ 397186 w 3889897"/>
              <a:gd name="connsiteY16" fmla="*/ 3021768 h 5020326"/>
              <a:gd name="connsiteX17" fmla="*/ 488626 w 3889897"/>
              <a:gd name="connsiteY17" fmla="*/ 2998908 h 5020326"/>
              <a:gd name="connsiteX18" fmla="*/ 471956 w 3889897"/>
              <a:gd name="connsiteY18" fmla="*/ 2942709 h 5020326"/>
              <a:gd name="connsiteX19" fmla="*/ 435286 w 3889897"/>
              <a:gd name="connsiteY19" fmla="*/ 2930328 h 5020326"/>
              <a:gd name="connsiteX20" fmla="*/ 389566 w 3889897"/>
              <a:gd name="connsiteY20" fmla="*/ 2930328 h 5020326"/>
              <a:gd name="connsiteX21" fmla="*/ 314000 w 3889897"/>
              <a:gd name="connsiteY21" fmla="*/ 2893495 h 5020326"/>
              <a:gd name="connsiteX22" fmla="*/ 320986 w 3889897"/>
              <a:gd name="connsiteY22" fmla="*/ 2846508 h 5020326"/>
              <a:gd name="connsiteX23" fmla="*/ 328606 w 3889897"/>
              <a:gd name="connsiteY23" fmla="*/ 2793168 h 5020326"/>
              <a:gd name="connsiteX24" fmla="*/ 313366 w 3889897"/>
              <a:gd name="connsiteY24" fmla="*/ 2732208 h 5020326"/>
              <a:gd name="connsiteX25" fmla="*/ 267646 w 3889897"/>
              <a:gd name="connsiteY25" fmla="*/ 2671248 h 5020326"/>
              <a:gd name="connsiteX26" fmla="*/ 176206 w 3889897"/>
              <a:gd name="connsiteY26" fmla="*/ 2656008 h 5020326"/>
              <a:gd name="connsiteX27" fmla="*/ 54286 w 3889897"/>
              <a:gd name="connsiteY27" fmla="*/ 2610288 h 5020326"/>
              <a:gd name="connsiteX28" fmla="*/ 7931 w 3889897"/>
              <a:gd name="connsiteY28" fmla="*/ 2563298 h 5020326"/>
              <a:gd name="connsiteX29" fmla="*/ 8566 w 3889897"/>
              <a:gd name="connsiteY29" fmla="*/ 2488368 h 5020326"/>
              <a:gd name="connsiteX30" fmla="*/ 92386 w 3889897"/>
              <a:gd name="connsiteY30" fmla="*/ 2335968 h 5020326"/>
              <a:gd name="connsiteX31" fmla="*/ 221926 w 3889897"/>
              <a:gd name="connsiteY31" fmla="*/ 2175948 h 5020326"/>
              <a:gd name="connsiteX32" fmla="*/ 282886 w 3889897"/>
              <a:gd name="connsiteY32" fmla="*/ 2084508 h 5020326"/>
              <a:gd name="connsiteX33" fmla="*/ 328606 w 3889897"/>
              <a:gd name="connsiteY33" fmla="*/ 1977828 h 5020326"/>
              <a:gd name="connsiteX34" fmla="*/ 359086 w 3889897"/>
              <a:gd name="connsiteY34" fmla="*/ 1871148 h 5020326"/>
              <a:gd name="connsiteX35" fmla="*/ 374326 w 3889897"/>
              <a:gd name="connsiteY35" fmla="*/ 1810188 h 5020326"/>
              <a:gd name="connsiteX36" fmla="*/ 343846 w 3889897"/>
              <a:gd name="connsiteY36" fmla="*/ 1756848 h 5020326"/>
              <a:gd name="connsiteX37" fmla="*/ 328606 w 3889897"/>
              <a:gd name="connsiteY37" fmla="*/ 1680648 h 5020326"/>
              <a:gd name="connsiteX38" fmla="*/ 412426 w 3889897"/>
              <a:gd name="connsiteY38" fmla="*/ 1474908 h 5020326"/>
              <a:gd name="connsiteX39" fmla="*/ 442906 w 3889897"/>
              <a:gd name="connsiteY39" fmla="*/ 1307268 h 5020326"/>
              <a:gd name="connsiteX40" fmla="*/ 465766 w 3889897"/>
              <a:gd name="connsiteY40" fmla="*/ 1192968 h 5020326"/>
              <a:gd name="connsiteX41" fmla="*/ 503866 w 3889897"/>
              <a:gd name="connsiteY41" fmla="*/ 1055808 h 5020326"/>
              <a:gd name="connsiteX42" fmla="*/ 557206 w 3889897"/>
              <a:gd name="connsiteY42" fmla="*/ 888168 h 5020326"/>
              <a:gd name="connsiteX43" fmla="*/ 503866 w 3889897"/>
              <a:gd name="connsiteY43" fmla="*/ 888168 h 5020326"/>
              <a:gd name="connsiteX44" fmla="*/ 412426 w 3889897"/>
              <a:gd name="connsiteY44" fmla="*/ 834828 h 5020326"/>
              <a:gd name="connsiteX45" fmla="*/ 328606 w 3889897"/>
              <a:gd name="connsiteY45" fmla="*/ 789108 h 5020326"/>
              <a:gd name="connsiteX46" fmla="*/ 260026 w 3889897"/>
              <a:gd name="connsiteY46" fmla="*/ 773868 h 5020326"/>
              <a:gd name="connsiteX47" fmla="*/ 214306 w 3889897"/>
              <a:gd name="connsiteY47" fmla="*/ 751008 h 5020326"/>
              <a:gd name="connsiteX48" fmla="*/ 260026 w 3889897"/>
              <a:gd name="connsiteY48" fmla="*/ 674808 h 5020326"/>
              <a:gd name="connsiteX49" fmla="*/ 374326 w 3889897"/>
              <a:gd name="connsiteY49" fmla="*/ 606228 h 5020326"/>
              <a:gd name="connsiteX50" fmla="*/ 557206 w 3889897"/>
              <a:gd name="connsiteY50" fmla="*/ 507168 h 5020326"/>
              <a:gd name="connsiteX51" fmla="*/ 656266 w 3889897"/>
              <a:gd name="connsiteY51" fmla="*/ 423348 h 5020326"/>
              <a:gd name="connsiteX52" fmla="*/ 892486 w 3889897"/>
              <a:gd name="connsiteY52" fmla="*/ 232848 h 5020326"/>
              <a:gd name="connsiteX53" fmla="*/ 1174426 w 3889897"/>
              <a:gd name="connsiteY53" fmla="*/ 80448 h 5020326"/>
              <a:gd name="connsiteX54" fmla="*/ 1593526 w 3889897"/>
              <a:gd name="connsiteY54" fmla="*/ 11868 h 5020326"/>
              <a:gd name="connsiteX55" fmla="*/ 1944046 w 3889897"/>
              <a:gd name="connsiteY55" fmla="*/ 4248 h 5020326"/>
              <a:gd name="connsiteX56" fmla="*/ 2172646 w 3889897"/>
              <a:gd name="connsiteY56" fmla="*/ 4248 h 5020326"/>
              <a:gd name="connsiteX57" fmla="*/ 2393626 w 3889897"/>
              <a:gd name="connsiteY57" fmla="*/ 57588 h 5020326"/>
              <a:gd name="connsiteX58" fmla="*/ 2667946 w 3889897"/>
              <a:gd name="connsiteY58" fmla="*/ 133788 h 5020326"/>
              <a:gd name="connsiteX59" fmla="*/ 2820346 w 3889897"/>
              <a:gd name="connsiteY59" fmla="*/ 202368 h 5020326"/>
              <a:gd name="connsiteX60" fmla="*/ 3102286 w 3889897"/>
              <a:gd name="connsiteY60" fmla="*/ 400488 h 5020326"/>
              <a:gd name="connsiteX61" fmla="*/ 3285166 w 3889897"/>
              <a:gd name="connsiteY61" fmla="*/ 651948 h 5020326"/>
              <a:gd name="connsiteX62" fmla="*/ 3407086 w 3889897"/>
              <a:gd name="connsiteY62" fmla="*/ 918648 h 5020326"/>
              <a:gd name="connsiteX63" fmla="*/ 3475666 w 3889897"/>
              <a:gd name="connsiteY63" fmla="*/ 1238688 h 5020326"/>
              <a:gd name="connsiteX64" fmla="*/ 3506146 w 3889897"/>
              <a:gd name="connsiteY64" fmla="*/ 1543488 h 5020326"/>
              <a:gd name="connsiteX65" fmla="*/ 3506146 w 3889897"/>
              <a:gd name="connsiteY65" fmla="*/ 1962588 h 5020326"/>
              <a:gd name="connsiteX66" fmla="*/ 3338506 w 3889897"/>
              <a:gd name="connsiteY66" fmla="*/ 2305488 h 5020326"/>
              <a:gd name="connsiteX67" fmla="*/ 3254686 w 3889897"/>
              <a:gd name="connsiteY67" fmla="*/ 2473128 h 5020326"/>
              <a:gd name="connsiteX68" fmla="*/ 3132766 w 3889897"/>
              <a:gd name="connsiteY68" fmla="*/ 2663628 h 5020326"/>
              <a:gd name="connsiteX69" fmla="*/ 3071806 w 3889897"/>
              <a:gd name="connsiteY69" fmla="*/ 2838888 h 5020326"/>
              <a:gd name="connsiteX70" fmla="*/ 3064186 w 3889897"/>
              <a:gd name="connsiteY70" fmla="*/ 2915088 h 5020326"/>
              <a:gd name="connsiteX71" fmla="*/ 3018466 w 3889897"/>
              <a:gd name="connsiteY71" fmla="*/ 3014148 h 5020326"/>
              <a:gd name="connsiteX72" fmla="*/ 2980366 w 3889897"/>
              <a:gd name="connsiteY72" fmla="*/ 3082728 h 5020326"/>
              <a:gd name="connsiteX73" fmla="*/ 2957506 w 3889897"/>
              <a:gd name="connsiteY73" fmla="*/ 3120828 h 5020326"/>
              <a:gd name="connsiteX74" fmla="*/ 2957506 w 3889897"/>
              <a:gd name="connsiteY74" fmla="*/ 3555168 h 5020326"/>
              <a:gd name="connsiteX75" fmla="*/ 3010846 w 3889897"/>
              <a:gd name="connsiteY75" fmla="*/ 3539928 h 5020326"/>
              <a:gd name="connsiteX76" fmla="*/ 3109906 w 3889897"/>
              <a:gd name="connsiteY76" fmla="*/ 3570408 h 5020326"/>
              <a:gd name="connsiteX77" fmla="*/ 3140386 w 3889897"/>
              <a:gd name="connsiteY77" fmla="*/ 3631368 h 5020326"/>
              <a:gd name="connsiteX78" fmla="*/ 3117526 w 3889897"/>
              <a:gd name="connsiteY78" fmla="*/ 3738048 h 5020326"/>
              <a:gd name="connsiteX79" fmla="*/ 3125146 w 3889897"/>
              <a:gd name="connsiteY79" fmla="*/ 4103808 h 5020326"/>
              <a:gd name="connsiteX80" fmla="*/ 3231826 w 3889897"/>
              <a:gd name="connsiteY80" fmla="*/ 4172388 h 5020326"/>
              <a:gd name="connsiteX81" fmla="*/ 3285166 w 3889897"/>
              <a:gd name="connsiteY81" fmla="*/ 4294308 h 5020326"/>
              <a:gd name="connsiteX82" fmla="*/ 3330886 w 3889897"/>
              <a:gd name="connsiteY82" fmla="*/ 4408608 h 5020326"/>
              <a:gd name="connsiteX83" fmla="*/ 3551866 w 3889897"/>
              <a:gd name="connsiteY83" fmla="*/ 4644828 h 5020326"/>
              <a:gd name="connsiteX84" fmla="*/ 3889897 w 3889897"/>
              <a:gd name="connsiteY84" fmla="*/ 5020326 h 5020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3889897" h="5020326">
                <a:moveTo>
                  <a:pt x="712990" y="5019479"/>
                </a:moveTo>
                <a:cubicBezTo>
                  <a:pt x="766965" y="4944867"/>
                  <a:pt x="856220" y="4786010"/>
                  <a:pt x="961066" y="4644828"/>
                </a:cubicBezTo>
                <a:cubicBezTo>
                  <a:pt x="1065912" y="4503646"/>
                  <a:pt x="1292536" y="4277798"/>
                  <a:pt x="1342066" y="4172388"/>
                </a:cubicBezTo>
                <a:cubicBezTo>
                  <a:pt x="1391596" y="4066978"/>
                  <a:pt x="1281106" y="4053008"/>
                  <a:pt x="1258246" y="4012368"/>
                </a:cubicBezTo>
                <a:cubicBezTo>
                  <a:pt x="1235386" y="3971728"/>
                  <a:pt x="1218876" y="3969188"/>
                  <a:pt x="1204906" y="3928548"/>
                </a:cubicBezTo>
                <a:cubicBezTo>
                  <a:pt x="1190936" y="3887908"/>
                  <a:pt x="1184586" y="3811708"/>
                  <a:pt x="1174426" y="3768528"/>
                </a:cubicBezTo>
                <a:cubicBezTo>
                  <a:pt x="1164266" y="3725348"/>
                  <a:pt x="1161726" y="3687248"/>
                  <a:pt x="1143946" y="3669468"/>
                </a:cubicBezTo>
                <a:cubicBezTo>
                  <a:pt x="1126166" y="3651688"/>
                  <a:pt x="1102036" y="3661848"/>
                  <a:pt x="1067746" y="3661848"/>
                </a:cubicBezTo>
                <a:cubicBezTo>
                  <a:pt x="1033456" y="3661848"/>
                  <a:pt x="977576" y="3664388"/>
                  <a:pt x="938206" y="3669468"/>
                </a:cubicBezTo>
                <a:cubicBezTo>
                  <a:pt x="898836" y="3674548"/>
                  <a:pt x="831526" y="3692328"/>
                  <a:pt x="831526" y="3692328"/>
                </a:cubicBezTo>
                <a:cubicBezTo>
                  <a:pt x="776916" y="3703758"/>
                  <a:pt x="684206" y="3746938"/>
                  <a:pt x="610546" y="3738048"/>
                </a:cubicBezTo>
                <a:cubicBezTo>
                  <a:pt x="536886" y="3729158"/>
                  <a:pt x="427666" y="3707568"/>
                  <a:pt x="389566" y="3638988"/>
                </a:cubicBezTo>
                <a:cubicBezTo>
                  <a:pt x="351466" y="3570408"/>
                  <a:pt x="376866" y="3395148"/>
                  <a:pt x="381946" y="3326568"/>
                </a:cubicBezTo>
                <a:cubicBezTo>
                  <a:pt x="387026" y="3257988"/>
                  <a:pt x="418776" y="3254178"/>
                  <a:pt x="420046" y="3227508"/>
                </a:cubicBezTo>
                <a:cubicBezTo>
                  <a:pt x="421316" y="3200838"/>
                  <a:pt x="400996" y="3186868"/>
                  <a:pt x="389566" y="3166548"/>
                </a:cubicBezTo>
                <a:cubicBezTo>
                  <a:pt x="378136" y="3146228"/>
                  <a:pt x="350196" y="3129718"/>
                  <a:pt x="351466" y="3105588"/>
                </a:cubicBezTo>
                <a:cubicBezTo>
                  <a:pt x="352736" y="3081458"/>
                  <a:pt x="374326" y="3039548"/>
                  <a:pt x="397186" y="3021768"/>
                </a:cubicBezTo>
                <a:cubicBezTo>
                  <a:pt x="420046" y="3003988"/>
                  <a:pt x="476164" y="3012084"/>
                  <a:pt x="488626" y="2998908"/>
                </a:cubicBezTo>
                <a:cubicBezTo>
                  <a:pt x="501088" y="2985732"/>
                  <a:pt x="480846" y="2954139"/>
                  <a:pt x="471956" y="2942709"/>
                </a:cubicBezTo>
                <a:cubicBezTo>
                  <a:pt x="463066" y="2931279"/>
                  <a:pt x="449018" y="2932392"/>
                  <a:pt x="435286" y="2930328"/>
                </a:cubicBezTo>
                <a:cubicBezTo>
                  <a:pt x="421554" y="2928265"/>
                  <a:pt x="409780" y="2936467"/>
                  <a:pt x="389566" y="2930328"/>
                </a:cubicBezTo>
                <a:cubicBezTo>
                  <a:pt x="369352" y="2924189"/>
                  <a:pt x="325430" y="2907465"/>
                  <a:pt x="314000" y="2893495"/>
                </a:cubicBezTo>
                <a:cubicBezTo>
                  <a:pt x="302570" y="2879525"/>
                  <a:pt x="318552" y="2863229"/>
                  <a:pt x="320986" y="2846508"/>
                </a:cubicBezTo>
                <a:cubicBezTo>
                  <a:pt x="323420" y="2829787"/>
                  <a:pt x="329876" y="2812218"/>
                  <a:pt x="328606" y="2793168"/>
                </a:cubicBezTo>
                <a:cubicBezTo>
                  <a:pt x="327336" y="2774118"/>
                  <a:pt x="323526" y="2752528"/>
                  <a:pt x="313366" y="2732208"/>
                </a:cubicBezTo>
                <a:cubicBezTo>
                  <a:pt x="303206" y="2711888"/>
                  <a:pt x="290506" y="2683948"/>
                  <a:pt x="267646" y="2671248"/>
                </a:cubicBezTo>
                <a:cubicBezTo>
                  <a:pt x="244786" y="2658548"/>
                  <a:pt x="211766" y="2666168"/>
                  <a:pt x="176206" y="2656008"/>
                </a:cubicBezTo>
                <a:cubicBezTo>
                  <a:pt x="140646" y="2645848"/>
                  <a:pt x="82332" y="2625740"/>
                  <a:pt x="54286" y="2610288"/>
                </a:cubicBezTo>
                <a:cubicBezTo>
                  <a:pt x="26240" y="2594836"/>
                  <a:pt x="15551" y="2583618"/>
                  <a:pt x="7931" y="2563298"/>
                </a:cubicBezTo>
                <a:cubicBezTo>
                  <a:pt x="311" y="2542978"/>
                  <a:pt x="-5510" y="2526256"/>
                  <a:pt x="8566" y="2488368"/>
                </a:cubicBezTo>
                <a:cubicBezTo>
                  <a:pt x="22642" y="2450480"/>
                  <a:pt x="56826" y="2388038"/>
                  <a:pt x="92386" y="2335968"/>
                </a:cubicBezTo>
                <a:cubicBezTo>
                  <a:pt x="127946" y="2283898"/>
                  <a:pt x="190176" y="2217858"/>
                  <a:pt x="221926" y="2175948"/>
                </a:cubicBezTo>
                <a:cubicBezTo>
                  <a:pt x="253676" y="2134038"/>
                  <a:pt x="265106" y="2117528"/>
                  <a:pt x="282886" y="2084508"/>
                </a:cubicBezTo>
                <a:cubicBezTo>
                  <a:pt x="300666" y="2051488"/>
                  <a:pt x="315906" y="2013388"/>
                  <a:pt x="328606" y="1977828"/>
                </a:cubicBezTo>
                <a:cubicBezTo>
                  <a:pt x="341306" y="1942268"/>
                  <a:pt x="351466" y="1899088"/>
                  <a:pt x="359086" y="1871148"/>
                </a:cubicBezTo>
                <a:cubicBezTo>
                  <a:pt x="366706" y="1843208"/>
                  <a:pt x="376866" y="1829238"/>
                  <a:pt x="374326" y="1810188"/>
                </a:cubicBezTo>
                <a:cubicBezTo>
                  <a:pt x="371786" y="1791138"/>
                  <a:pt x="351466" y="1778438"/>
                  <a:pt x="343846" y="1756848"/>
                </a:cubicBezTo>
                <a:cubicBezTo>
                  <a:pt x="336226" y="1735258"/>
                  <a:pt x="317176" y="1727638"/>
                  <a:pt x="328606" y="1680648"/>
                </a:cubicBezTo>
                <a:cubicBezTo>
                  <a:pt x="340036" y="1633658"/>
                  <a:pt x="393376" y="1537138"/>
                  <a:pt x="412426" y="1474908"/>
                </a:cubicBezTo>
                <a:cubicBezTo>
                  <a:pt x="431476" y="1412678"/>
                  <a:pt x="434016" y="1354258"/>
                  <a:pt x="442906" y="1307268"/>
                </a:cubicBezTo>
                <a:cubicBezTo>
                  <a:pt x="451796" y="1260278"/>
                  <a:pt x="455606" y="1234878"/>
                  <a:pt x="465766" y="1192968"/>
                </a:cubicBezTo>
                <a:cubicBezTo>
                  <a:pt x="475926" y="1151058"/>
                  <a:pt x="488626" y="1106608"/>
                  <a:pt x="503866" y="1055808"/>
                </a:cubicBezTo>
                <a:cubicBezTo>
                  <a:pt x="519106" y="1005008"/>
                  <a:pt x="557206" y="916108"/>
                  <a:pt x="557206" y="888168"/>
                </a:cubicBezTo>
                <a:cubicBezTo>
                  <a:pt x="557206" y="860228"/>
                  <a:pt x="527996" y="897058"/>
                  <a:pt x="503866" y="888168"/>
                </a:cubicBezTo>
                <a:cubicBezTo>
                  <a:pt x="479736" y="879278"/>
                  <a:pt x="441636" y="851338"/>
                  <a:pt x="412426" y="834828"/>
                </a:cubicBezTo>
                <a:cubicBezTo>
                  <a:pt x="383216" y="818318"/>
                  <a:pt x="354006" y="799268"/>
                  <a:pt x="328606" y="789108"/>
                </a:cubicBezTo>
                <a:cubicBezTo>
                  <a:pt x="303206" y="778948"/>
                  <a:pt x="279076" y="780218"/>
                  <a:pt x="260026" y="773868"/>
                </a:cubicBezTo>
                <a:cubicBezTo>
                  <a:pt x="240976" y="767518"/>
                  <a:pt x="214306" y="767518"/>
                  <a:pt x="214306" y="751008"/>
                </a:cubicBezTo>
                <a:cubicBezTo>
                  <a:pt x="214306" y="734498"/>
                  <a:pt x="233356" y="698938"/>
                  <a:pt x="260026" y="674808"/>
                </a:cubicBezTo>
                <a:cubicBezTo>
                  <a:pt x="286696" y="650678"/>
                  <a:pt x="324796" y="634168"/>
                  <a:pt x="374326" y="606228"/>
                </a:cubicBezTo>
                <a:cubicBezTo>
                  <a:pt x="423856" y="578288"/>
                  <a:pt x="510216" y="537648"/>
                  <a:pt x="557206" y="507168"/>
                </a:cubicBezTo>
                <a:cubicBezTo>
                  <a:pt x="604196" y="476688"/>
                  <a:pt x="600386" y="469068"/>
                  <a:pt x="656266" y="423348"/>
                </a:cubicBezTo>
                <a:cubicBezTo>
                  <a:pt x="712146" y="377628"/>
                  <a:pt x="806126" y="289998"/>
                  <a:pt x="892486" y="232848"/>
                </a:cubicBezTo>
                <a:cubicBezTo>
                  <a:pt x="978846" y="175698"/>
                  <a:pt x="1057586" y="117278"/>
                  <a:pt x="1174426" y="80448"/>
                </a:cubicBezTo>
                <a:cubicBezTo>
                  <a:pt x="1291266" y="43618"/>
                  <a:pt x="1465256" y="24568"/>
                  <a:pt x="1593526" y="11868"/>
                </a:cubicBezTo>
                <a:cubicBezTo>
                  <a:pt x="1721796" y="-832"/>
                  <a:pt x="1847526" y="5518"/>
                  <a:pt x="1944046" y="4248"/>
                </a:cubicBezTo>
                <a:cubicBezTo>
                  <a:pt x="2040566" y="2978"/>
                  <a:pt x="2097716" y="-4642"/>
                  <a:pt x="2172646" y="4248"/>
                </a:cubicBezTo>
                <a:cubicBezTo>
                  <a:pt x="2247576" y="13138"/>
                  <a:pt x="2311076" y="35998"/>
                  <a:pt x="2393626" y="57588"/>
                </a:cubicBezTo>
                <a:cubicBezTo>
                  <a:pt x="2476176" y="79178"/>
                  <a:pt x="2596826" y="109658"/>
                  <a:pt x="2667946" y="133788"/>
                </a:cubicBezTo>
                <a:cubicBezTo>
                  <a:pt x="2739066" y="157918"/>
                  <a:pt x="2747956" y="157918"/>
                  <a:pt x="2820346" y="202368"/>
                </a:cubicBezTo>
                <a:cubicBezTo>
                  <a:pt x="2892736" y="246818"/>
                  <a:pt x="3024816" y="325558"/>
                  <a:pt x="3102286" y="400488"/>
                </a:cubicBezTo>
                <a:cubicBezTo>
                  <a:pt x="3179756" y="475418"/>
                  <a:pt x="3234366" y="565588"/>
                  <a:pt x="3285166" y="651948"/>
                </a:cubicBezTo>
                <a:cubicBezTo>
                  <a:pt x="3335966" y="738308"/>
                  <a:pt x="3375336" y="820858"/>
                  <a:pt x="3407086" y="918648"/>
                </a:cubicBezTo>
                <a:cubicBezTo>
                  <a:pt x="3438836" y="1016438"/>
                  <a:pt x="3459156" y="1134548"/>
                  <a:pt x="3475666" y="1238688"/>
                </a:cubicBezTo>
                <a:cubicBezTo>
                  <a:pt x="3492176" y="1342828"/>
                  <a:pt x="3501066" y="1422838"/>
                  <a:pt x="3506146" y="1543488"/>
                </a:cubicBezTo>
                <a:cubicBezTo>
                  <a:pt x="3511226" y="1664138"/>
                  <a:pt x="3534086" y="1835588"/>
                  <a:pt x="3506146" y="1962588"/>
                </a:cubicBezTo>
                <a:cubicBezTo>
                  <a:pt x="3478206" y="2089588"/>
                  <a:pt x="3380416" y="2220398"/>
                  <a:pt x="3338506" y="2305488"/>
                </a:cubicBezTo>
                <a:cubicBezTo>
                  <a:pt x="3296596" y="2390578"/>
                  <a:pt x="3288976" y="2413438"/>
                  <a:pt x="3254686" y="2473128"/>
                </a:cubicBezTo>
                <a:cubicBezTo>
                  <a:pt x="3220396" y="2532818"/>
                  <a:pt x="3163246" y="2602668"/>
                  <a:pt x="3132766" y="2663628"/>
                </a:cubicBezTo>
                <a:cubicBezTo>
                  <a:pt x="3102286" y="2724588"/>
                  <a:pt x="3083236" y="2796978"/>
                  <a:pt x="3071806" y="2838888"/>
                </a:cubicBezTo>
                <a:cubicBezTo>
                  <a:pt x="3060376" y="2880798"/>
                  <a:pt x="3073076" y="2885878"/>
                  <a:pt x="3064186" y="2915088"/>
                </a:cubicBezTo>
                <a:cubicBezTo>
                  <a:pt x="3055296" y="2944298"/>
                  <a:pt x="3032436" y="2986208"/>
                  <a:pt x="3018466" y="3014148"/>
                </a:cubicBezTo>
                <a:cubicBezTo>
                  <a:pt x="3004496" y="3042088"/>
                  <a:pt x="2990526" y="3064948"/>
                  <a:pt x="2980366" y="3082728"/>
                </a:cubicBezTo>
                <a:cubicBezTo>
                  <a:pt x="2970206" y="3100508"/>
                  <a:pt x="2961316" y="3042088"/>
                  <a:pt x="2957506" y="3120828"/>
                </a:cubicBezTo>
                <a:cubicBezTo>
                  <a:pt x="2953696" y="3199568"/>
                  <a:pt x="2948616" y="3485318"/>
                  <a:pt x="2957506" y="3555168"/>
                </a:cubicBezTo>
                <a:cubicBezTo>
                  <a:pt x="2966396" y="3625018"/>
                  <a:pt x="2985446" y="3537388"/>
                  <a:pt x="3010846" y="3539928"/>
                </a:cubicBezTo>
                <a:cubicBezTo>
                  <a:pt x="3036246" y="3542468"/>
                  <a:pt x="3088316" y="3555168"/>
                  <a:pt x="3109906" y="3570408"/>
                </a:cubicBezTo>
                <a:cubicBezTo>
                  <a:pt x="3131496" y="3585648"/>
                  <a:pt x="3139116" y="3603428"/>
                  <a:pt x="3140386" y="3631368"/>
                </a:cubicBezTo>
                <a:cubicBezTo>
                  <a:pt x="3141656" y="3659308"/>
                  <a:pt x="3120066" y="3659308"/>
                  <a:pt x="3117526" y="3738048"/>
                </a:cubicBezTo>
                <a:cubicBezTo>
                  <a:pt x="3114986" y="3816788"/>
                  <a:pt x="3106096" y="4031418"/>
                  <a:pt x="3125146" y="4103808"/>
                </a:cubicBezTo>
                <a:cubicBezTo>
                  <a:pt x="3144196" y="4176198"/>
                  <a:pt x="3205156" y="4140638"/>
                  <a:pt x="3231826" y="4172388"/>
                </a:cubicBezTo>
                <a:cubicBezTo>
                  <a:pt x="3258496" y="4204138"/>
                  <a:pt x="3268656" y="4254938"/>
                  <a:pt x="3285166" y="4294308"/>
                </a:cubicBezTo>
                <a:cubicBezTo>
                  <a:pt x="3301676" y="4333678"/>
                  <a:pt x="3286436" y="4350188"/>
                  <a:pt x="3330886" y="4408608"/>
                </a:cubicBezTo>
                <a:cubicBezTo>
                  <a:pt x="3372796" y="4458138"/>
                  <a:pt x="3458698" y="4542875"/>
                  <a:pt x="3551866" y="4644828"/>
                </a:cubicBezTo>
                <a:cubicBezTo>
                  <a:pt x="3645035" y="4746781"/>
                  <a:pt x="3798457" y="4911106"/>
                  <a:pt x="3889897" y="5020326"/>
                </a:cubicBezTo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>
            <a:outerShdw blurRad="101600" dist="635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reeform 5"/>
          <p:cNvSpPr/>
          <p:nvPr/>
        </p:nvSpPr>
        <p:spPr>
          <a:xfrm>
            <a:off x="1266479" y="2659931"/>
            <a:ext cx="897300" cy="922942"/>
          </a:xfrm>
          <a:custGeom>
            <a:avLst/>
            <a:gdLst>
              <a:gd name="connsiteX0" fmla="*/ 1106997 w 2213994"/>
              <a:gd name="connsiteY0" fmla="*/ 432449 h 2180359"/>
              <a:gd name="connsiteX1" fmla="*/ 431357 w 2213994"/>
              <a:gd name="connsiteY1" fmla="*/ 1108089 h 2180359"/>
              <a:gd name="connsiteX2" fmla="*/ 1106997 w 2213994"/>
              <a:gd name="connsiteY2" fmla="*/ 1783729 h 2180359"/>
              <a:gd name="connsiteX3" fmla="*/ 1782637 w 2213994"/>
              <a:gd name="connsiteY3" fmla="*/ 1108089 h 2180359"/>
              <a:gd name="connsiteX4" fmla="*/ 1106997 w 2213994"/>
              <a:gd name="connsiteY4" fmla="*/ 432449 h 2180359"/>
              <a:gd name="connsiteX5" fmla="*/ 1016339 w 2213994"/>
              <a:gd name="connsiteY5" fmla="*/ 0 h 2180359"/>
              <a:gd name="connsiteX6" fmla="*/ 1197655 w 2213994"/>
              <a:gd name="connsiteY6" fmla="*/ 0 h 2180359"/>
              <a:gd name="connsiteX7" fmla="*/ 1237062 w 2213994"/>
              <a:gd name="connsiteY7" fmla="*/ 223520 h 2180359"/>
              <a:gd name="connsiteX8" fmla="*/ 1575952 w 2213994"/>
              <a:gd name="connsiteY8" fmla="*/ 346866 h 2180359"/>
              <a:gd name="connsiteX9" fmla="*/ 1749815 w 2213994"/>
              <a:gd name="connsiteY9" fmla="*/ 200970 h 2180359"/>
              <a:gd name="connsiteX10" fmla="*/ 1888711 w 2213994"/>
              <a:gd name="connsiteY10" fmla="*/ 317518 h 2180359"/>
              <a:gd name="connsiteX11" fmla="*/ 1775222 w 2213994"/>
              <a:gd name="connsiteY11" fmla="*/ 514074 h 2180359"/>
              <a:gd name="connsiteX12" fmla="*/ 1955541 w 2213994"/>
              <a:gd name="connsiteY12" fmla="*/ 826396 h 2180359"/>
              <a:gd name="connsiteX13" fmla="*/ 2182509 w 2213994"/>
              <a:gd name="connsiteY13" fmla="*/ 826390 h 2180359"/>
              <a:gd name="connsiteX14" fmla="*/ 2213994 w 2213994"/>
              <a:gd name="connsiteY14" fmla="*/ 1004952 h 2180359"/>
              <a:gd name="connsiteX15" fmla="*/ 2000713 w 2213994"/>
              <a:gd name="connsiteY15" fmla="*/ 1082574 h 2180359"/>
              <a:gd name="connsiteX16" fmla="*/ 1938089 w 2213994"/>
              <a:gd name="connsiteY16" fmla="*/ 1437734 h 2180359"/>
              <a:gd name="connsiteX17" fmla="*/ 2111959 w 2213994"/>
              <a:gd name="connsiteY17" fmla="*/ 1583621 h 2180359"/>
              <a:gd name="connsiteX18" fmla="*/ 2021301 w 2213994"/>
              <a:gd name="connsiteY18" fmla="*/ 1740646 h 2180359"/>
              <a:gd name="connsiteX19" fmla="*/ 1808024 w 2213994"/>
              <a:gd name="connsiteY19" fmla="*/ 1663013 h 2180359"/>
              <a:gd name="connsiteX20" fmla="*/ 1531759 w 2213994"/>
              <a:gd name="connsiteY20" fmla="*/ 1894827 h 2180359"/>
              <a:gd name="connsiteX21" fmla="*/ 1571177 w 2213994"/>
              <a:gd name="connsiteY21" fmla="*/ 2118345 h 2180359"/>
              <a:gd name="connsiteX22" fmla="*/ 1400795 w 2213994"/>
              <a:gd name="connsiteY22" fmla="*/ 2180359 h 2180359"/>
              <a:gd name="connsiteX23" fmla="*/ 1287316 w 2213994"/>
              <a:gd name="connsiteY23" fmla="*/ 1983797 h 2180359"/>
              <a:gd name="connsiteX24" fmla="*/ 926677 w 2213994"/>
              <a:gd name="connsiteY24" fmla="*/ 1983797 h 2180359"/>
              <a:gd name="connsiteX25" fmla="*/ 813199 w 2213994"/>
              <a:gd name="connsiteY25" fmla="*/ 2180359 h 2180359"/>
              <a:gd name="connsiteX26" fmla="*/ 642817 w 2213994"/>
              <a:gd name="connsiteY26" fmla="*/ 2118345 h 2180359"/>
              <a:gd name="connsiteX27" fmla="*/ 682236 w 2213994"/>
              <a:gd name="connsiteY27" fmla="*/ 1894827 h 2180359"/>
              <a:gd name="connsiteX28" fmla="*/ 405971 w 2213994"/>
              <a:gd name="connsiteY28" fmla="*/ 1663013 h 2180359"/>
              <a:gd name="connsiteX29" fmla="*/ 192693 w 2213994"/>
              <a:gd name="connsiteY29" fmla="*/ 1740646 h 2180359"/>
              <a:gd name="connsiteX30" fmla="*/ 102035 w 2213994"/>
              <a:gd name="connsiteY30" fmla="*/ 1583621 h 2180359"/>
              <a:gd name="connsiteX31" fmla="*/ 275905 w 2213994"/>
              <a:gd name="connsiteY31" fmla="*/ 1437734 h 2180359"/>
              <a:gd name="connsiteX32" fmla="*/ 213281 w 2213994"/>
              <a:gd name="connsiteY32" fmla="*/ 1082574 h 2180359"/>
              <a:gd name="connsiteX33" fmla="*/ 0 w 2213994"/>
              <a:gd name="connsiteY33" fmla="*/ 1004952 h 2180359"/>
              <a:gd name="connsiteX34" fmla="*/ 31485 w 2213994"/>
              <a:gd name="connsiteY34" fmla="*/ 826390 h 2180359"/>
              <a:gd name="connsiteX35" fmla="*/ 258452 w 2213994"/>
              <a:gd name="connsiteY35" fmla="*/ 826396 h 2180359"/>
              <a:gd name="connsiteX36" fmla="*/ 438771 w 2213994"/>
              <a:gd name="connsiteY36" fmla="*/ 514074 h 2180359"/>
              <a:gd name="connsiteX37" fmla="*/ 325283 w 2213994"/>
              <a:gd name="connsiteY37" fmla="*/ 317518 h 2180359"/>
              <a:gd name="connsiteX38" fmla="*/ 464179 w 2213994"/>
              <a:gd name="connsiteY38" fmla="*/ 200970 h 2180359"/>
              <a:gd name="connsiteX39" fmla="*/ 638042 w 2213994"/>
              <a:gd name="connsiteY39" fmla="*/ 346866 h 2180359"/>
              <a:gd name="connsiteX40" fmla="*/ 976932 w 2213994"/>
              <a:gd name="connsiteY40" fmla="*/ 223520 h 2180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213994" h="2180359">
                <a:moveTo>
                  <a:pt x="1106997" y="432449"/>
                </a:moveTo>
                <a:cubicBezTo>
                  <a:pt x="733851" y="432449"/>
                  <a:pt x="431357" y="734943"/>
                  <a:pt x="431357" y="1108089"/>
                </a:cubicBezTo>
                <a:cubicBezTo>
                  <a:pt x="431357" y="1481235"/>
                  <a:pt x="733851" y="1783729"/>
                  <a:pt x="1106997" y="1783729"/>
                </a:cubicBezTo>
                <a:cubicBezTo>
                  <a:pt x="1480143" y="1783729"/>
                  <a:pt x="1782637" y="1481235"/>
                  <a:pt x="1782637" y="1108089"/>
                </a:cubicBezTo>
                <a:cubicBezTo>
                  <a:pt x="1782637" y="734943"/>
                  <a:pt x="1480143" y="432449"/>
                  <a:pt x="1106997" y="432449"/>
                </a:cubicBezTo>
                <a:close/>
                <a:moveTo>
                  <a:pt x="1016339" y="0"/>
                </a:moveTo>
                <a:lnTo>
                  <a:pt x="1197655" y="0"/>
                </a:lnTo>
                <a:lnTo>
                  <a:pt x="1237062" y="223520"/>
                </a:lnTo>
                <a:cubicBezTo>
                  <a:pt x="1357231" y="241189"/>
                  <a:pt x="1472539" y="283158"/>
                  <a:pt x="1575952" y="346866"/>
                </a:cubicBezTo>
                <a:lnTo>
                  <a:pt x="1749815" y="200970"/>
                </a:lnTo>
                <a:lnTo>
                  <a:pt x="1888711" y="317518"/>
                </a:lnTo>
                <a:lnTo>
                  <a:pt x="1775222" y="514074"/>
                </a:lnTo>
                <a:cubicBezTo>
                  <a:pt x="1855919" y="604853"/>
                  <a:pt x="1917273" y="711121"/>
                  <a:pt x="1955541" y="826396"/>
                </a:cubicBezTo>
                <a:lnTo>
                  <a:pt x="2182509" y="826390"/>
                </a:lnTo>
                <a:lnTo>
                  <a:pt x="2213994" y="1004952"/>
                </a:lnTo>
                <a:lnTo>
                  <a:pt x="2000713" y="1082574"/>
                </a:lnTo>
                <a:cubicBezTo>
                  <a:pt x="2004179" y="1203985"/>
                  <a:pt x="1982871" y="1324830"/>
                  <a:pt x="1938089" y="1437734"/>
                </a:cubicBezTo>
                <a:lnTo>
                  <a:pt x="2111959" y="1583621"/>
                </a:lnTo>
                <a:lnTo>
                  <a:pt x="2021301" y="1740646"/>
                </a:lnTo>
                <a:lnTo>
                  <a:pt x="1808024" y="1663013"/>
                </a:lnTo>
                <a:cubicBezTo>
                  <a:pt x="1732638" y="1758248"/>
                  <a:pt x="1638637" y="1837123"/>
                  <a:pt x="1531759" y="1894827"/>
                </a:cubicBezTo>
                <a:lnTo>
                  <a:pt x="1571177" y="2118345"/>
                </a:lnTo>
                <a:lnTo>
                  <a:pt x="1400795" y="2180359"/>
                </a:lnTo>
                <a:lnTo>
                  <a:pt x="1287316" y="1983797"/>
                </a:lnTo>
                <a:cubicBezTo>
                  <a:pt x="1168351" y="2008293"/>
                  <a:pt x="1045642" y="2008293"/>
                  <a:pt x="926677" y="1983797"/>
                </a:cubicBezTo>
                <a:lnTo>
                  <a:pt x="813199" y="2180359"/>
                </a:lnTo>
                <a:lnTo>
                  <a:pt x="642817" y="2118345"/>
                </a:lnTo>
                <a:lnTo>
                  <a:pt x="682236" y="1894827"/>
                </a:lnTo>
                <a:cubicBezTo>
                  <a:pt x="575358" y="1837123"/>
                  <a:pt x="481357" y="1758247"/>
                  <a:pt x="405971" y="1663013"/>
                </a:cubicBezTo>
                <a:lnTo>
                  <a:pt x="192693" y="1740646"/>
                </a:lnTo>
                <a:lnTo>
                  <a:pt x="102035" y="1583621"/>
                </a:lnTo>
                <a:lnTo>
                  <a:pt x="275905" y="1437734"/>
                </a:lnTo>
                <a:cubicBezTo>
                  <a:pt x="231123" y="1324830"/>
                  <a:pt x="209814" y="1203985"/>
                  <a:pt x="213281" y="1082574"/>
                </a:cubicBezTo>
                <a:lnTo>
                  <a:pt x="0" y="1004952"/>
                </a:lnTo>
                <a:lnTo>
                  <a:pt x="31485" y="826390"/>
                </a:lnTo>
                <a:lnTo>
                  <a:pt x="258452" y="826396"/>
                </a:lnTo>
                <a:cubicBezTo>
                  <a:pt x="296720" y="711121"/>
                  <a:pt x="358074" y="604852"/>
                  <a:pt x="438771" y="514074"/>
                </a:cubicBezTo>
                <a:lnTo>
                  <a:pt x="325283" y="317518"/>
                </a:lnTo>
                <a:lnTo>
                  <a:pt x="464179" y="200970"/>
                </a:lnTo>
                <a:lnTo>
                  <a:pt x="638042" y="346866"/>
                </a:lnTo>
                <a:cubicBezTo>
                  <a:pt x="741454" y="283158"/>
                  <a:pt x="856763" y="241190"/>
                  <a:pt x="976932" y="223520"/>
                </a:cubicBezTo>
                <a:close/>
              </a:path>
            </a:pathLst>
          </a:custGeom>
          <a:solidFill>
            <a:srgbClr val="84DFFE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6" name="Freeform 6"/>
          <p:cNvSpPr/>
          <p:nvPr/>
        </p:nvSpPr>
        <p:spPr>
          <a:xfrm>
            <a:off x="1775197" y="3335345"/>
            <a:ext cx="1006916" cy="1035691"/>
          </a:xfrm>
          <a:custGeom>
            <a:avLst/>
            <a:gdLst>
              <a:gd name="connsiteX0" fmla="*/ 1106997 w 2213994"/>
              <a:gd name="connsiteY0" fmla="*/ 561989 h 2180359"/>
              <a:gd name="connsiteX1" fmla="*/ 560897 w 2213994"/>
              <a:gd name="connsiteY1" fmla="*/ 1108089 h 2180359"/>
              <a:gd name="connsiteX2" fmla="*/ 1106997 w 2213994"/>
              <a:gd name="connsiteY2" fmla="*/ 1654189 h 2180359"/>
              <a:gd name="connsiteX3" fmla="*/ 1653097 w 2213994"/>
              <a:gd name="connsiteY3" fmla="*/ 1108089 h 2180359"/>
              <a:gd name="connsiteX4" fmla="*/ 1106997 w 2213994"/>
              <a:gd name="connsiteY4" fmla="*/ 561989 h 2180359"/>
              <a:gd name="connsiteX5" fmla="*/ 1016339 w 2213994"/>
              <a:gd name="connsiteY5" fmla="*/ 0 h 2180359"/>
              <a:gd name="connsiteX6" fmla="*/ 1197655 w 2213994"/>
              <a:gd name="connsiteY6" fmla="*/ 0 h 2180359"/>
              <a:gd name="connsiteX7" fmla="*/ 1237062 w 2213994"/>
              <a:gd name="connsiteY7" fmla="*/ 223520 h 2180359"/>
              <a:gd name="connsiteX8" fmla="*/ 1575952 w 2213994"/>
              <a:gd name="connsiteY8" fmla="*/ 346866 h 2180359"/>
              <a:gd name="connsiteX9" fmla="*/ 1749815 w 2213994"/>
              <a:gd name="connsiteY9" fmla="*/ 200970 h 2180359"/>
              <a:gd name="connsiteX10" fmla="*/ 1888711 w 2213994"/>
              <a:gd name="connsiteY10" fmla="*/ 317518 h 2180359"/>
              <a:gd name="connsiteX11" fmla="*/ 1775222 w 2213994"/>
              <a:gd name="connsiteY11" fmla="*/ 514074 h 2180359"/>
              <a:gd name="connsiteX12" fmla="*/ 1955541 w 2213994"/>
              <a:gd name="connsiteY12" fmla="*/ 826396 h 2180359"/>
              <a:gd name="connsiteX13" fmla="*/ 2182509 w 2213994"/>
              <a:gd name="connsiteY13" fmla="*/ 826390 h 2180359"/>
              <a:gd name="connsiteX14" fmla="*/ 2213994 w 2213994"/>
              <a:gd name="connsiteY14" fmla="*/ 1004952 h 2180359"/>
              <a:gd name="connsiteX15" fmla="*/ 2000713 w 2213994"/>
              <a:gd name="connsiteY15" fmla="*/ 1082574 h 2180359"/>
              <a:gd name="connsiteX16" fmla="*/ 1938089 w 2213994"/>
              <a:gd name="connsiteY16" fmla="*/ 1437734 h 2180359"/>
              <a:gd name="connsiteX17" fmla="*/ 2111959 w 2213994"/>
              <a:gd name="connsiteY17" fmla="*/ 1583621 h 2180359"/>
              <a:gd name="connsiteX18" fmla="*/ 2021301 w 2213994"/>
              <a:gd name="connsiteY18" fmla="*/ 1740646 h 2180359"/>
              <a:gd name="connsiteX19" fmla="*/ 1808024 w 2213994"/>
              <a:gd name="connsiteY19" fmla="*/ 1663013 h 2180359"/>
              <a:gd name="connsiteX20" fmla="*/ 1531759 w 2213994"/>
              <a:gd name="connsiteY20" fmla="*/ 1894827 h 2180359"/>
              <a:gd name="connsiteX21" fmla="*/ 1571177 w 2213994"/>
              <a:gd name="connsiteY21" fmla="*/ 2118345 h 2180359"/>
              <a:gd name="connsiteX22" fmla="*/ 1400795 w 2213994"/>
              <a:gd name="connsiteY22" fmla="*/ 2180359 h 2180359"/>
              <a:gd name="connsiteX23" fmla="*/ 1287316 w 2213994"/>
              <a:gd name="connsiteY23" fmla="*/ 1983797 h 2180359"/>
              <a:gd name="connsiteX24" fmla="*/ 926677 w 2213994"/>
              <a:gd name="connsiteY24" fmla="*/ 1983797 h 2180359"/>
              <a:gd name="connsiteX25" fmla="*/ 813199 w 2213994"/>
              <a:gd name="connsiteY25" fmla="*/ 2180359 h 2180359"/>
              <a:gd name="connsiteX26" fmla="*/ 642817 w 2213994"/>
              <a:gd name="connsiteY26" fmla="*/ 2118345 h 2180359"/>
              <a:gd name="connsiteX27" fmla="*/ 682236 w 2213994"/>
              <a:gd name="connsiteY27" fmla="*/ 1894827 h 2180359"/>
              <a:gd name="connsiteX28" fmla="*/ 405971 w 2213994"/>
              <a:gd name="connsiteY28" fmla="*/ 1663013 h 2180359"/>
              <a:gd name="connsiteX29" fmla="*/ 192693 w 2213994"/>
              <a:gd name="connsiteY29" fmla="*/ 1740646 h 2180359"/>
              <a:gd name="connsiteX30" fmla="*/ 102035 w 2213994"/>
              <a:gd name="connsiteY30" fmla="*/ 1583621 h 2180359"/>
              <a:gd name="connsiteX31" fmla="*/ 275905 w 2213994"/>
              <a:gd name="connsiteY31" fmla="*/ 1437734 h 2180359"/>
              <a:gd name="connsiteX32" fmla="*/ 213281 w 2213994"/>
              <a:gd name="connsiteY32" fmla="*/ 1082574 h 2180359"/>
              <a:gd name="connsiteX33" fmla="*/ 0 w 2213994"/>
              <a:gd name="connsiteY33" fmla="*/ 1004952 h 2180359"/>
              <a:gd name="connsiteX34" fmla="*/ 31485 w 2213994"/>
              <a:gd name="connsiteY34" fmla="*/ 826390 h 2180359"/>
              <a:gd name="connsiteX35" fmla="*/ 258452 w 2213994"/>
              <a:gd name="connsiteY35" fmla="*/ 826396 h 2180359"/>
              <a:gd name="connsiteX36" fmla="*/ 438771 w 2213994"/>
              <a:gd name="connsiteY36" fmla="*/ 514074 h 2180359"/>
              <a:gd name="connsiteX37" fmla="*/ 325283 w 2213994"/>
              <a:gd name="connsiteY37" fmla="*/ 317518 h 2180359"/>
              <a:gd name="connsiteX38" fmla="*/ 464179 w 2213994"/>
              <a:gd name="connsiteY38" fmla="*/ 200970 h 2180359"/>
              <a:gd name="connsiteX39" fmla="*/ 638042 w 2213994"/>
              <a:gd name="connsiteY39" fmla="*/ 346866 h 2180359"/>
              <a:gd name="connsiteX40" fmla="*/ 976932 w 2213994"/>
              <a:gd name="connsiteY40" fmla="*/ 223520 h 2180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213994" h="2180359">
                <a:moveTo>
                  <a:pt x="1106997" y="561989"/>
                </a:moveTo>
                <a:cubicBezTo>
                  <a:pt x="805394" y="561989"/>
                  <a:pt x="560897" y="806486"/>
                  <a:pt x="560897" y="1108089"/>
                </a:cubicBezTo>
                <a:cubicBezTo>
                  <a:pt x="560897" y="1409692"/>
                  <a:pt x="805394" y="1654189"/>
                  <a:pt x="1106997" y="1654189"/>
                </a:cubicBezTo>
                <a:cubicBezTo>
                  <a:pt x="1408600" y="1654189"/>
                  <a:pt x="1653097" y="1409692"/>
                  <a:pt x="1653097" y="1108089"/>
                </a:cubicBezTo>
                <a:cubicBezTo>
                  <a:pt x="1653097" y="806486"/>
                  <a:pt x="1408600" y="561989"/>
                  <a:pt x="1106997" y="561989"/>
                </a:cubicBezTo>
                <a:close/>
                <a:moveTo>
                  <a:pt x="1016339" y="0"/>
                </a:moveTo>
                <a:lnTo>
                  <a:pt x="1197655" y="0"/>
                </a:lnTo>
                <a:lnTo>
                  <a:pt x="1237062" y="223520"/>
                </a:lnTo>
                <a:cubicBezTo>
                  <a:pt x="1357231" y="241189"/>
                  <a:pt x="1472539" y="283158"/>
                  <a:pt x="1575952" y="346866"/>
                </a:cubicBezTo>
                <a:lnTo>
                  <a:pt x="1749815" y="200970"/>
                </a:lnTo>
                <a:lnTo>
                  <a:pt x="1888711" y="317518"/>
                </a:lnTo>
                <a:lnTo>
                  <a:pt x="1775222" y="514074"/>
                </a:lnTo>
                <a:cubicBezTo>
                  <a:pt x="1855919" y="604853"/>
                  <a:pt x="1917273" y="711121"/>
                  <a:pt x="1955541" y="826396"/>
                </a:cubicBezTo>
                <a:lnTo>
                  <a:pt x="2182509" y="826390"/>
                </a:lnTo>
                <a:lnTo>
                  <a:pt x="2213994" y="1004952"/>
                </a:lnTo>
                <a:lnTo>
                  <a:pt x="2000713" y="1082574"/>
                </a:lnTo>
                <a:cubicBezTo>
                  <a:pt x="2004179" y="1203985"/>
                  <a:pt x="1982871" y="1324830"/>
                  <a:pt x="1938089" y="1437734"/>
                </a:cubicBezTo>
                <a:lnTo>
                  <a:pt x="2111959" y="1583621"/>
                </a:lnTo>
                <a:lnTo>
                  <a:pt x="2021301" y="1740646"/>
                </a:lnTo>
                <a:lnTo>
                  <a:pt x="1808024" y="1663013"/>
                </a:lnTo>
                <a:cubicBezTo>
                  <a:pt x="1732638" y="1758248"/>
                  <a:pt x="1638637" y="1837123"/>
                  <a:pt x="1531759" y="1894827"/>
                </a:cubicBezTo>
                <a:lnTo>
                  <a:pt x="1571177" y="2118345"/>
                </a:lnTo>
                <a:lnTo>
                  <a:pt x="1400795" y="2180359"/>
                </a:lnTo>
                <a:lnTo>
                  <a:pt x="1287316" y="1983797"/>
                </a:lnTo>
                <a:cubicBezTo>
                  <a:pt x="1168351" y="2008293"/>
                  <a:pt x="1045642" y="2008293"/>
                  <a:pt x="926677" y="1983797"/>
                </a:cubicBezTo>
                <a:lnTo>
                  <a:pt x="813199" y="2180359"/>
                </a:lnTo>
                <a:lnTo>
                  <a:pt x="642817" y="2118345"/>
                </a:lnTo>
                <a:lnTo>
                  <a:pt x="682236" y="1894827"/>
                </a:lnTo>
                <a:cubicBezTo>
                  <a:pt x="575358" y="1837123"/>
                  <a:pt x="481357" y="1758247"/>
                  <a:pt x="405971" y="1663013"/>
                </a:cubicBezTo>
                <a:lnTo>
                  <a:pt x="192693" y="1740646"/>
                </a:lnTo>
                <a:lnTo>
                  <a:pt x="102035" y="1583621"/>
                </a:lnTo>
                <a:lnTo>
                  <a:pt x="275905" y="1437734"/>
                </a:lnTo>
                <a:cubicBezTo>
                  <a:pt x="231123" y="1324830"/>
                  <a:pt x="209814" y="1203985"/>
                  <a:pt x="213281" y="1082574"/>
                </a:cubicBezTo>
                <a:lnTo>
                  <a:pt x="0" y="1004952"/>
                </a:lnTo>
                <a:lnTo>
                  <a:pt x="31485" y="826390"/>
                </a:lnTo>
                <a:lnTo>
                  <a:pt x="258452" y="826396"/>
                </a:lnTo>
                <a:cubicBezTo>
                  <a:pt x="296720" y="711121"/>
                  <a:pt x="358074" y="604852"/>
                  <a:pt x="438771" y="514074"/>
                </a:cubicBezTo>
                <a:lnTo>
                  <a:pt x="325283" y="317518"/>
                </a:lnTo>
                <a:lnTo>
                  <a:pt x="464179" y="200970"/>
                </a:lnTo>
                <a:lnTo>
                  <a:pt x="638042" y="346866"/>
                </a:lnTo>
                <a:cubicBezTo>
                  <a:pt x="741454" y="283158"/>
                  <a:pt x="856763" y="241190"/>
                  <a:pt x="976932" y="223520"/>
                </a:cubicBezTo>
                <a:close/>
              </a:path>
            </a:pathLst>
          </a:custGeom>
          <a:solidFill>
            <a:srgbClr val="F5C35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" name="Freeform 7"/>
          <p:cNvSpPr/>
          <p:nvPr/>
        </p:nvSpPr>
        <p:spPr>
          <a:xfrm>
            <a:off x="2145585" y="2763716"/>
            <a:ext cx="570875" cy="646964"/>
          </a:xfrm>
          <a:custGeom>
            <a:avLst/>
            <a:gdLst>
              <a:gd name="connsiteX0" fmla="*/ 731630 w 1463260"/>
              <a:gd name="connsiteY0" fmla="*/ 406741 h 1587726"/>
              <a:gd name="connsiteX1" fmla="*/ 344508 w 1463260"/>
              <a:gd name="connsiteY1" fmla="*/ 793863 h 1587726"/>
              <a:gd name="connsiteX2" fmla="*/ 731630 w 1463260"/>
              <a:gd name="connsiteY2" fmla="*/ 1180985 h 1587726"/>
              <a:gd name="connsiteX3" fmla="*/ 1118752 w 1463260"/>
              <a:gd name="connsiteY3" fmla="*/ 793863 h 1587726"/>
              <a:gd name="connsiteX4" fmla="*/ 731630 w 1463260"/>
              <a:gd name="connsiteY4" fmla="*/ 406741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406741"/>
                </a:moveTo>
                <a:cubicBezTo>
                  <a:pt x="517828" y="406741"/>
                  <a:pt x="344508" y="580061"/>
                  <a:pt x="344508" y="793863"/>
                </a:cubicBezTo>
                <a:cubicBezTo>
                  <a:pt x="344508" y="1007665"/>
                  <a:pt x="517828" y="1180985"/>
                  <a:pt x="731630" y="1180985"/>
                </a:cubicBezTo>
                <a:cubicBezTo>
                  <a:pt x="945432" y="1180985"/>
                  <a:pt x="1118752" y="1007665"/>
                  <a:pt x="1118752" y="793863"/>
                </a:cubicBezTo>
                <a:cubicBezTo>
                  <a:pt x="1118752" y="580061"/>
                  <a:pt x="945432" y="406741"/>
                  <a:pt x="731630" y="406741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53D7C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" name="Freeform 8"/>
          <p:cNvSpPr/>
          <p:nvPr/>
        </p:nvSpPr>
        <p:spPr>
          <a:xfrm rot="20700000">
            <a:off x="1195447" y="3499095"/>
            <a:ext cx="632593" cy="716909"/>
          </a:xfrm>
          <a:custGeom>
            <a:avLst/>
            <a:gdLst>
              <a:gd name="connsiteX0" fmla="*/ 823018 w 1433696"/>
              <a:gd name="connsiteY0" fmla="*/ 381592 h 1555648"/>
              <a:gd name="connsiteX1" fmla="*/ 320616 w 1433696"/>
              <a:gd name="connsiteY1" fmla="*/ 671654 h 1555648"/>
              <a:gd name="connsiteX2" fmla="*/ 610678 w 1433696"/>
              <a:gd name="connsiteY2" fmla="*/ 1174056 h 1555648"/>
              <a:gd name="connsiteX3" fmla="*/ 1113080 w 1433696"/>
              <a:gd name="connsiteY3" fmla="*/ 883994 h 1555648"/>
              <a:gd name="connsiteX4" fmla="*/ 823018 w 1433696"/>
              <a:gd name="connsiteY4" fmla="*/ 381592 h 1555648"/>
              <a:gd name="connsiteX5" fmla="*/ 803314 w 1433696"/>
              <a:gd name="connsiteY5" fmla="*/ 0 h 1555648"/>
              <a:gd name="connsiteX6" fmla="*/ 859474 w 1433696"/>
              <a:gd name="connsiteY6" fmla="*/ 238914 h 1555648"/>
              <a:gd name="connsiteX7" fmla="*/ 1112245 w 1433696"/>
              <a:gd name="connsiteY7" fmla="*/ 384851 h 1555648"/>
              <a:gd name="connsiteX8" fmla="*/ 1347230 w 1433696"/>
              <a:gd name="connsiteY8" fmla="*/ 314030 h 1555648"/>
              <a:gd name="connsiteX9" fmla="*/ 1433696 w 1433696"/>
              <a:gd name="connsiteY9" fmla="*/ 463794 h 1555648"/>
              <a:gd name="connsiteX10" fmla="*/ 1254871 w 1433696"/>
              <a:gd name="connsiteY10" fmla="*/ 631887 h 1555648"/>
              <a:gd name="connsiteX11" fmla="*/ 1254871 w 1433696"/>
              <a:gd name="connsiteY11" fmla="*/ 923761 h 1555648"/>
              <a:gd name="connsiteX12" fmla="*/ 1433696 w 1433696"/>
              <a:gd name="connsiteY12" fmla="*/ 1091854 h 1555648"/>
              <a:gd name="connsiteX13" fmla="*/ 1347230 w 1433696"/>
              <a:gd name="connsiteY13" fmla="*/ 1241618 h 1555648"/>
              <a:gd name="connsiteX14" fmla="*/ 1112245 w 1433696"/>
              <a:gd name="connsiteY14" fmla="*/ 1170797 h 1555648"/>
              <a:gd name="connsiteX15" fmla="*/ 859474 w 1433696"/>
              <a:gd name="connsiteY15" fmla="*/ 1316734 h 1555648"/>
              <a:gd name="connsiteX16" fmla="*/ 803314 w 1433696"/>
              <a:gd name="connsiteY16" fmla="*/ 1555648 h 1555648"/>
              <a:gd name="connsiteX17" fmla="*/ 630382 w 1433696"/>
              <a:gd name="connsiteY17" fmla="*/ 1555648 h 1555648"/>
              <a:gd name="connsiteX18" fmla="*/ 574222 w 1433696"/>
              <a:gd name="connsiteY18" fmla="*/ 1316734 h 1555648"/>
              <a:gd name="connsiteX19" fmla="*/ 321451 w 1433696"/>
              <a:gd name="connsiteY19" fmla="*/ 1170797 h 1555648"/>
              <a:gd name="connsiteX20" fmla="*/ 86466 w 1433696"/>
              <a:gd name="connsiteY20" fmla="*/ 1241618 h 1555648"/>
              <a:gd name="connsiteX21" fmla="*/ 0 w 1433696"/>
              <a:gd name="connsiteY21" fmla="*/ 1091854 h 1555648"/>
              <a:gd name="connsiteX22" fmla="*/ 178825 w 1433696"/>
              <a:gd name="connsiteY22" fmla="*/ 923761 h 1555648"/>
              <a:gd name="connsiteX23" fmla="*/ 178825 w 1433696"/>
              <a:gd name="connsiteY23" fmla="*/ 631887 h 1555648"/>
              <a:gd name="connsiteX24" fmla="*/ 0 w 1433696"/>
              <a:gd name="connsiteY24" fmla="*/ 463794 h 1555648"/>
              <a:gd name="connsiteX25" fmla="*/ 86466 w 1433696"/>
              <a:gd name="connsiteY25" fmla="*/ 314030 h 1555648"/>
              <a:gd name="connsiteX26" fmla="*/ 321451 w 1433696"/>
              <a:gd name="connsiteY26" fmla="*/ 384851 h 1555648"/>
              <a:gd name="connsiteX27" fmla="*/ 574222 w 1433696"/>
              <a:gd name="connsiteY27" fmla="*/ 238914 h 1555648"/>
              <a:gd name="connsiteX28" fmla="*/ 630382 w 1433696"/>
              <a:gd name="connsiteY28" fmla="*/ 0 h 1555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433696" h="1555648">
                <a:moveTo>
                  <a:pt x="823018" y="381592"/>
                </a:moveTo>
                <a:cubicBezTo>
                  <a:pt x="604185" y="322955"/>
                  <a:pt x="379252" y="452820"/>
                  <a:pt x="320616" y="671654"/>
                </a:cubicBezTo>
                <a:cubicBezTo>
                  <a:pt x="261979" y="890487"/>
                  <a:pt x="391844" y="1115420"/>
                  <a:pt x="610678" y="1174056"/>
                </a:cubicBezTo>
                <a:cubicBezTo>
                  <a:pt x="829511" y="1232693"/>
                  <a:pt x="1054444" y="1102828"/>
                  <a:pt x="1113080" y="883994"/>
                </a:cubicBezTo>
                <a:cubicBezTo>
                  <a:pt x="1171717" y="665161"/>
                  <a:pt x="1041852" y="440228"/>
                  <a:pt x="823018" y="381592"/>
                </a:cubicBezTo>
                <a:close/>
                <a:moveTo>
                  <a:pt x="803314" y="0"/>
                </a:moveTo>
                <a:lnTo>
                  <a:pt x="859474" y="238914"/>
                </a:lnTo>
                <a:cubicBezTo>
                  <a:pt x="955196" y="264248"/>
                  <a:pt x="1042444" y="314620"/>
                  <a:pt x="1112245" y="384851"/>
                </a:cubicBezTo>
                <a:lnTo>
                  <a:pt x="1347230" y="314030"/>
                </a:lnTo>
                <a:lnTo>
                  <a:pt x="1433696" y="463794"/>
                </a:lnTo>
                <a:lnTo>
                  <a:pt x="1254871" y="631887"/>
                </a:lnTo>
                <a:cubicBezTo>
                  <a:pt x="1280793" y="727452"/>
                  <a:pt x="1280793" y="828197"/>
                  <a:pt x="1254871" y="923761"/>
                </a:cubicBezTo>
                <a:lnTo>
                  <a:pt x="1433696" y="1091854"/>
                </a:lnTo>
                <a:lnTo>
                  <a:pt x="1347230" y="1241618"/>
                </a:lnTo>
                <a:lnTo>
                  <a:pt x="1112245" y="1170797"/>
                </a:lnTo>
                <a:cubicBezTo>
                  <a:pt x="1042444" y="1241028"/>
                  <a:pt x="955197" y="1291401"/>
                  <a:pt x="859474" y="1316734"/>
                </a:cubicBezTo>
                <a:lnTo>
                  <a:pt x="803314" y="1555648"/>
                </a:lnTo>
                <a:lnTo>
                  <a:pt x="630382" y="1555648"/>
                </a:lnTo>
                <a:lnTo>
                  <a:pt x="574222" y="1316734"/>
                </a:lnTo>
                <a:cubicBezTo>
                  <a:pt x="478500" y="1291400"/>
                  <a:pt x="391252" y="1241028"/>
                  <a:pt x="321451" y="1170797"/>
                </a:cubicBezTo>
                <a:lnTo>
                  <a:pt x="86466" y="1241618"/>
                </a:lnTo>
                <a:lnTo>
                  <a:pt x="0" y="1091854"/>
                </a:lnTo>
                <a:lnTo>
                  <a:pt x="178825" y="923761"/>
                </a:lnTo>
                <a:cubicBezTo>
                  <a:pt x="152903" y="828196"/>
                  <a:pt x="152903" y="727451"/>
                  <a:pt x="178825" y="631887"/>
                </a:cubicBezTo>
                <a:lnTo>
                  <a:pt x="0" y="463794"/>
                </a:lnTo>
                <a:lnTo>
                  <a:pt x="86466" y="314030"/>
                </a:lnTo>
                <a:lnTo>
                  <a:pt x="321451" y="384851"/>
                </a:lnTo>
                <a:cubicBezTo>
                  <a:pt x="391252" y="314620"/>
                  <a:pt x="478499" y="264247"/>
                  <a:pt x="574222" y="238914"/>
                </a:cubicBezTo>
                <a:lnTo>
                  <a:pt x="630382" y="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Freeform 9"/>
          <p:cNvSpPr/>
          <p:nvPr/>
        </p:nvSpPr>
        <p:spPr>
          <a:xfrm>
            <a:off x="956844" y="3183291"/>
            <a:ext cx="352600" cy="399597"/>
          </a:xfrm>
          <a:custGeom>
            <a:avLst/>
            <a:gdLst>
              <a:gd name="connsiteX0" fmla="*/ 731630 w 1463260"/>
              <a:gd name="connsiteY0" fmla="*/ 406741 h 1587726"/>
              <a:gd name="connsiteX1" fmla="*/ 344508 w 1463260"/>
              <a:gd name="connsiteY1" fmla="*/ 793863 h 1587726"/>
              <a:gd name="connsiteX2" fmla="*/ 731630 w 1463260"/>
              <a:gd name="connsiteY2" fmla="*/ 1180985 h 1587726"/>
              <a:gd name="connsiteX3" fmla="*/ 1118752 w 1463260"/>
              <a:gd name="connsiteY3" fmla="*/ 793863 h 1587726"/>
              <a:gd name="connsiteX4" fmla="*/ 731630 w 1463260"/>
              <a:gd name="connsiteY4" fmla="*/ 406741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406741"/>
                </a:moveTo>
                <a:cubicBezTo>
                  <a:pt x="517828" y="406741"/>
                  <a:pt x="344508" y="580061"/>
                  <a:pt x="344508" y="793863"/>
                </a:cubicBezTo>
                <a:cubicBezTo>
                  <a:pt x="344508" y="1007665"/>
                  <a:pt x="517828" y="1180985"/>
                  <a:pt x="731630" y="1180985"/>
                </a:cubicBezTo>
                <a:cubicBezTo>
                  <a:pt x="945432" y="1180985"/>
                  <a:pt x="1118752" y="1007665"/>
                  <a:pt x="1118752" y="793863"/>
                </a:cubicBezTo>
                <a:cubicBezTo>
                  <a:pt x="1118752" y="580061"/>
                  <a:pt x="945432" y="406741"/>
                  <a:pt x="731630" y="406741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D3D2D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" name="Freeform 10"/>
          <p:cNvSpPr/>
          <p:nvPr/>
        </p:nvSpPr>
        <p:spPr>
          <a:xfrm>
            <a:off x="2630226" y="3296979"/>
            <a:ext cx="352600" cy="399597"/>
          </a:xfrm>
          <a:custGeom>
            <a:avLst/>
            <a:gdLst>
              <a:gd name="connsiteX0" fmla="*/ 731630 w 1463260"/>
              <a:gd name="connsiteY0" fmla="*/ 406741 h 1587726"/>
              <a:gd name="connsiteX1" fmla="*/ 344508 w 1463260"/>
              <a:gd name="connsiteY1" fmla="*/ 793863 h 1587726"/>
              <a:gd name="connsiteX2" fmla="*/ 731630 w 1463260"/>
              <a:gd name="connsiteY2" fmla="*/ 1180985 h 1587726"/>
              <a:gd name="connsiteX3" fmla="*/ 1118752 w 1463260"/>
              <a:gd name="connsiteY3" fmla="*/ 793863 h 1587726"/>
              <a:gd name="connsiteX4" fmla="*/ 731630 w 1463260"/>
              <a:gd name="connsiteY4" fmla="*/ 406741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406741"/>
                </a:moveTo>
                <a:cubicBezTo>
                  <a:pt x="517828" y="406741"/>
                  <a:pt x="344508" y="580061"/>
                  <a:pt x="344508" y="793863"/>
                </a:cubicBezTo>
                <a:cubicBezTo>
                  <a:pt x="344508" y="1007665"/>
                  <a:pt x="517828" y="1180985"/>
                  <a:pt x="731630" y="1180985"/>
                </a:cubicBezTo>
                <a:cubicBezTo>
                  <a:pt x="945432" y="1180985"/>
                  <a:pt x="1118752" y="1007665"/>
                  <a:pt x="1118752" y="793863"/>
                </a:cubicBezTo>
                <a:cubicBezTo>
                  <a:pt x="1118752" y="580061"/>
                  <a:pt x="945432" y="406741"/>
                  <a:pt x="731630" y="406741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E6E7E9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Freeform 11"/>
          <p:cNvSpPr/>
          <p:nvPr/>
        </p:nvSpPr>
        <p:spPr>
          <a:xfrm rot="20700000">
            <a:off x="2083200" y="3631677"/>
            <a:ext cx="390923" cy="443027"/>
          </a:xfrm>
          <a:custGeom>
            <a:avLst/>
            <a:gdLst>
              <a:gd name="connsiteX0" fmla="*/ 840547 w 1433696"/>
              <a:gd name="connsiteY0" fmla="*/ 316176 h 1555648"/>
              <a:gd name="connsiteX1" fmla="*/ 255200 w 1433696"/>
              <a:gd name="connsiteY1" fmla="*/ 654127 h 1555648"/>
              <a:gd name="connsiteX2" fmla="*/ 593150 w 1433696"/>
              <a:gd name="connsiteY2" fmla="*/ 1239474 h 1555648"/>
              <a:gd name="connsiteX3" fmla="*/ 1178498 w 1433696"/>
              <a:gd name="connsiteY3" fmla="*/ 901524 h 1555648"/>
              <a:gd name="connsiteX4" fmla="*/ 840547 w 1433696"/>
              <a:gd name="connsiteY4" fmla="*/ 316176 h 1555648"/>
              <a:gd name="connsiteX5" fmla="*/ 803314 w 1433696"/>
              <a:gd name="connsiteY5" fmla="*/ 0 h 1555648"/>
              <a:gd name="connsiteX6" fmla="*/ 859474 w 1433696"/>
              <a:gd name="connsiteY6" fmla="*/ 238914 h 1555648"/>
              <a:gd name="connsiteX7" fmla="*/ 1112245 w 1433696"/>
              <a:gd name="connsiteY7" fmla="*/ 384851 h 1555648"/>
              <a:gd name="connsiteX8" fmla="*/ 1347230 w 1433696"/>
              <a:gd name="connsiteY8" fmla="*/ 314030 h 1555648"/>
              <a:gd name="connsiteX9" fmla="*/ 1433696 w 1433696"/>
              <a:gd name="connsiteY9" fmla="*/ 463794 h 1555648"/>
              <a:gd name="connsiteX10" fmla="*/ 1254871 w 1433696"/>
              <a:gd name="connsiteY10" fmla="*/ 631887 h 1555648"/>
              <a:gd name="connsiteX11" fmla="*/ 1254871 w 1433696"/>
              <a:gd name="connsiteY11" fmla="*/ 923761 h 1555648"/>
              <a:gd name="connsiteX12" fmla="*/ 1433696 w 1433696"/>
              <a:gd name="connsiteY12" fmla="*/ 1091854 h 1555648"/>
              <a:gd name="connsiteX13" fmla="*/ 1347230 w 1433696"/>
              <a:gd name="connsiteY13" fmla="*/ 1241618 h 1555648"/>
              <a:gd name="connsiteX14" fmla="*/ 1112245 w 1433696"/>
              <a:gd name="connsiteY14" fmla="*/ 1170797 h 1555648"/>
              <a:gd name="connsiteX15" fmla="*/ 859474 w 1433696"/>
              <a:gd name="connsiteY15" fmla="*/ 1316734 h 1555648"/>
              <a:gd name="connsiteX16" fmla="*/ 803314 w 1433696"/>
              <a:gd name="connsiteY16" fmla="*/ 1555648 h 1555648"/>
              <a:gd name="connsiteX17" fmla="*/ 630382 w 1433696"/>
              <a:gd name="connsiteY17" fmla="*/ 1555648 h 1555648"/>
              <a:gd name="connsiteX18" fmla="*/ 574222 w 1433696"/>
              <a:gd name="connsiteY18" fmla="*/ 1316734 h 1555648"/>
              <a:gd name="connsiteX19" fmla="*/ 321451 w 1433696"/>
              <a:gd name="connsiteY19" fmla="*/ 1170797 h 1555648"/>
              <a:gd name="connsiteX20" fmla="*/ 86466 w 1433696"/>
              <a:gd name="connsiteY20" fmla="*/ 1241618 h 1555648"/>
              <a:gd name="connsiteX21" fmla="*/ 0 w 1433696"/>
              <a:gd name="connsiteY21" fmla="*/ 1091854 h 1555648"/>
              <a:gd name="connsiteX22" fmla="*/ 178825 w 1433696"/>
              <a:gd name="connsiteY22" fmla="*/ 923761 h 1555648"/>
              <a:gd name="connsiteX23" fmla="*/ 178825 w 1433696"/>
              <a:gd name="connsiteY23" fmla="*/ 631887 h 1555648"/>
              <a:gd name="connsiteX24" fmla="*/ 0 w 1433696"/>
              <a:gd name="connsiteY24" fmla="*/ 463794 h 1555648"/>
              <a:gd name="connsiteX25" fmla="*/ 86466 w 1433696"/>
              <a:gd name="connsiteY25" fmla="*/ 314030 h 1555648"/>
              <a:gd name="connsiteX26" fmla="*/ 321451 w 1433696"/>
              <a:gd name="connsiteY26" fmla="*/ 384851 h 1555648"/>
              <a:gd name="connsiteX27" fmla="*/ 574222 w 1433696"/>
              <a:gd name="connsiteY27" fmla="*/ 238914 h 1555648"/>
              <a:gd name="connsiteX28" fmla="*/ 630382 w 1433696"/>
              <a:gd name="connsiteY28" fmla="*/ 0 h 1555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433696" h="1555648">
                <a:moveTo>
                  <a:pt x="840547" y="316176"/>
                </a:moveTo>
                <a:cubicBezTo>
                  <a:pt x="585585" y="247860"/>
                  <a:pt x="323517" y="399165"/>
                  <a:pt x="255200" y="654127"/>
                </a:cubicBezTo>
                <a:cubicBezTo>
                  <a:pt x="186883" y="909089"/>
                  <a:pt x="338188" y="1171157"/>
                  <a:pt x="593150" y="1239474"/>
                </a:cubicBezTo>
                <a:cubicBezTo>
                  <a:pt x="848112" y="1307791"/>
                  <a:pt x="1110181" y="1156486"/>
                  <a:pt x="1178498" y="901524"/>
                </a:cubicBezTo>
                <a:cubicBezTo>
                  <a:pt x="1246814" y="646562"/>
                  <a:pt x="1095509" y="384493"/>
                  <a:pt x="840547" y="316176"/>
                </a:cubicBezTo>
                <a:close/>
                <a:moveTo>
                  <a:pt x="803314" y="0"/>
                </a:moveTo>
                <a:lnTo>
                  <a:pt x="859474" y="238914"/>
                </a:lnTo>
                <a:cubicBezTo>
                  <a:pt x="955196" y="264248"/>
                  <a:pt x="1042444" y="314620"/>
                  <a:pt x="1112245" y="384851"/>
                </a:cubicBezTo>
                <a:lnTo>
                  <a:pt x="1347230" y="314030"/>
                </a:lnTo>
                <a:lnTo>
                  <a:pt x="1433696" y="463794"/>
                </a:lnTo>
                <a:lnTo>
                  <a:pt x="1254871" y="631887"/>
                </a:lnTo>
                <a:cubicBezTo>
                  <a:pt x="1280793" y="727452"/>
                  <a:pt x="1280793" y="828197"/>
                  <a:pt x="1254871" y="923761"/>
                </a:cubicBezTo>
                <a:lnTo>
                  <a:pt x="1433696" y="1091854"/>
                </a:lnTo>
                <a:lnTo>
                  <a:pt x="1347230" y="1241618"/>
                </a:lnTo>
                <a:lnTo>
                  <a:pt x="1112245" y="1170797"/>
                </a:lnTo>
                <a:cubicBezTo>
                  <a:pt x="1042444" y="1241028"/>
                  <a:pt x="955197" y="1291401"/>
                  <a:pt x="859474" y="1316734"/>
                </a:cubicBezTo>
                <a:lnTo>
                  <a:pt x="803314" y="1555648"/>
                </a:lnTo>
                <a:lnTo>
                  <a:pt x="630382" y="1555648"/>
                </a:lnTo>
                <a:lnTo>
                  <a:pt x="574222" y="1316734"/>
                </a:lnTo>
                <a:cubicBezTo>
                  <a:pt x="478500" y="1291400"/>
                  <a:pt x="391252" y="1241028"/>
                  <a:pt x="321451" y="1170797"/>
                </a:cubicBezTo>
                <a:lnTo>
                  <a:pt x="86466" y="1241618"/>
                </a:lnTo>
                <a:lnTo>
                  <a:pt x="0" y="1091854"/>
                </a:lnTo>
                <a:lnTo>
                  <a:pt x="178825" y="923761"/>
                </a:lnTo>
                <a:cubicBezTo>
                  <a:pt x="152903" y="828196"/>
                  <a:pt x="152903" y="727451"/>
                  <a:pt x="178825" y="631887"/>
                </a:cubicBezTo>
                <a:lnTo>
                  <a:pt x="0" y="463794"/>
                </a:lnTo>
                <a:lnTo>
                  <a:pt x="86466" y="314030"/>
                </a:lnTo>
                <a:lnTo>
                  <a:pt x="321451" y="384851"/>
                </a:lnTo>
                <a:cubicBezTo>
                  <a:pt x="391252" y="314620"/>
                  <a:pt x="478499" y="264247"/>
                  <a:pt x="574222" y="238914"/>
                </a:cubicBezTo>
                <a:lnTo>
                  <a:pt x="630382" y="0"/>
                </a:lnTo>
                <a:close/>
              </a:path>
            </a:pathLst>
          </a:custGeom>
          <a:solidFill>
            <a:srgbClr val="F5C35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2" name="Freeform 12"/>
          <p:cNvSpPr/>
          <p:nvPr/>
        </p:nvSpPr>
        <p:spPr>
          <a:xfrm>
            <a:off x="1515017" y="2890713"/>
            <a:ext cx="407141" cy="461407"/>
          </a:xfrm>
          <a:custGeom>
            <a:avLst/>
            <a:gdLst>
              <a:gd name="connsiteX0" fmla="*/ 731630 w 1463260"/>
              <a:gd name="connsiteY0" fmla="*/ 383653 h 1587726"/>
              <a:gd name="connsiteX1" fmla="*/ 321420 w 1463260"/>
              <a:gd name="connsiteY1" fmla="*/ 793863 h 1587726"/>
              <a:gd name="connsiteX2" fmla="*/ 731630 w 1463260"/>
              <a:gd name="connsiteY2" fmla="*/ 1204073 h 1587726"/>
              <a:gd name="connsiteX3" fmla="*/ 1141840 w 1463260"/>
              <a:gd name="connsiteY3" fmla="*/ 793863 h 1587726"/>
              <a:gd name="connsiteX4" fmla="*/ 731630 w 1463260"/>
              <a:gd name="connsiteY4" fmla="*/ 383653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383653"/>
                </a:moveTo>
                <a:cubicBezTo>
                  <a:pt x="505077" y="383653"/>
                  <a:pt x="321420" y="567310"/>
                  <a:pt x="321420" y="793863"/>
                </a:cubicBezTo>
                <a:cubicBezTo>
                  <a:pt x="321420" y="1020416"/>
                  <a:pt x="505077" y="1204073"/>
                  <a:pt x="731630" y="1204073"/>
                </a:cubicBezTo>
                <a:cubicBezTo>
                  <a:pt x="958183" y="1204073"/>
                  <a:pt x="1141840" y="1020416"/>
                  <a:pt x="1141840" y="793863"/>
                </a:cubicBezTo>
                <a:cubicBezTo>
                  <a:pt x="1141840" y="567310"/>
                  <a:pt x="958183" y="383653"/>
                  <a:pt x="731630" y="383653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84DFFE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 13"/>
          <p:cNvSpPr/>
          <p:nvPr/>
        </p:nvSpPr>
        <p:spPr>
          <a:xfrm>
            <a:off x="958494" y="2659931"/>
            <a:ext cx="395896" cy="407210"/>
          </a:xfrm>
          <a:custGeom>
            <a:avLst/>
            <a:gdLst>
              <a:gd name="connsiteX0" fmla="*/ 1106997 w 2213994"/>
              <a:gd name="connsiteY0" fmla="*/ 561989 h 2180359"/>
              <a:gd name="connsiteX1" fmla="*/ 560897 w 2213994"/>
              <a:gd name="connsiteY1" fmla="*/ 1108089 h 2180359"/>
              <a:gd name="connsiteX2" fmla="*/ 1106997 w 2213994"/>
              <a:gd name="connsiteY2" fmla="*/ 1654189 h 2180359"/>
              <a:gd name="connsiteX3" fmla="*/ 1653097 w 2213994"/>
              <a:gd name="connsiteY3" fmla="*/ 1108089 h 2180359"/>
              <a:gd name="connsiteX4" fmla="*/ 1106997 w 2213994"/>
              <a:gd name="connsiteY4" fmla="*/ 561989 h 2180359"/>
              <a:gd name="connsiteX5" fmla="*/ 1016339 w 2213994"/>
              <a:gd name="connsiteY5" fmla="*/ 0 h 2180359"/>
              <a:gd name="connsiteX6" fmla="*/ 1197655 w 2213994"/>
              <a:gd name="connsiteY6" fmla="*/ 0 h 2180359"/>
              <a:gd name="connsiteX7" fmla="*/ 1237062 w 2213994"/>
              <a:gd name="connsiteY7" fmla="*/ 223520 h 2180359"/>
              <a:gd name="connsiteX8" fmla="*/ 1575952 w 2213994"/>
              <a:gd name="connsiteY8" fmla="*/ 346866 h 2180359"/>
              <a:gd name="connsiteX9" fmla="*/ 1749815 w 2213994"/>
              <a:gd name="connsiteY9" fmla="*/ 200970 h 2180359"/>
              <a:gd name="connsiteX10" fmla="*/ 1888711 w 2213994"/>
              <a:gd name="connsiteY10" fmla="*/ 317518 h 2180359"/>
              <a:gd name="connsiteX11" fmla="*/ 1775222 w 2213994"/>
              <a:gd name="connsiteY11" fmla="*/ 514074 h 2180359"/>
              <a:gd name="connsiteX12" fmla="*/ 1955541 w 2213994"/>
              <a:gd name="connsiteY12" fmla="*/ 826396 h 2180359"/>
              <a:gd name="connsiteX13" fmla="*/ 2182509 w 2213994"/>
              <a:gd name="connsiteY13" fmla="*/ 826390 h 2180359"/>
              <a:gd name="connsiteX14" fmla="*/ 2213994 w 2213994"/>
              <a:gd name="connsiteY14" fmla="*/ 1004952 h 2180359"/>
              <a:gd name="connsiteX15" fmla="*/ 2000713 w 2213994"/>
              <a:gd name="connsiteY15" fmla="*/ 1082574 h 2180359"/>
              <a:gd name="connsiteX16" fmla="*/ 1938089 w 2213994"/>
              <a:gd name="connsiteY16" fmla="*/ 1437734 h 2180359"/>
              <a:gd name="connsiteX17" fmla="*/ 2111959 w 2213994"/>
              <a:gd name="connsiteY17" fmla="*/ 1583621 h 2180359"/>
              <a:gd name="connsiteX18" fmla="*/ 2021301 w 2213994"/>
              <a:gd name="connsiteY18" fmla="*/ 1740646 h 2180359"/>
              <a:gd name="connsiteX19" fmla="*/ 1808024 w 2213994"/>
              <a:gd name="connsiteY19" fmla="*/ 1663013 h 2180359"/>
              <a:gd name="connsiteX20" fmla="*/ 1531759 w 2213994"/>
              <a:gd name="connsiteY20" fmla="*/ 1894827 h 2180359"/>
              <a:gd name="connsiteX21" fmla="*/ 1571177 w 2213994"/>
              <a:gd name="connsiteY21" fmla="*/ 2118345 h 2180359"/>
              <a:gd name="connsiteX22" fmla="*/ 1400795 w 2213994"/>
              <a:gd name="connsiteY22" fmla="*/ 2180359 h 2180359"/>
              <a:gd name="connsiteX23" fmla="*/ 1287316 w 2213994"/>
              <a:gd name="connsiteY23" fmla="*/ 1983797 h 2180359"/>
              <a:gd name="connsiteX24" fmla="*/ 926677 w 2213994"/>
              <a:gd name="connsiteY24" fmla="*/ 1983797 h 2180359"/>
              <a:gd name="connsiteX25" fmla="*/ 813199 w 2213994"/>
              <a:gd name="connsiteY25" fmla="*/ 2180359 h 2180359"/>
              <a:gd name="connsiteX26" fmla="*/ 642817 w 2213994"/>
              <a:gd name="connsiteY26" fmla="*/ 2118345 h 2180359"/>
              <a:gd name="connsiteX27" fmla="*/ 682236 w 2213994"/>
              <a:gd name="connsiteY27" fmla="*/ 1894827 h 2180359"/>
              <a:gd name="connsiteX28" fmla="*/ 405971 w 2213994"/>
              <a:gd name="connsiteY28" fmla="*/ 1663013 h 2180359"/>
              <a:gd name="connsiteX29" fmla="*/ 192693 w 2213994"/>
              <a:gd name="connsiteY29" fmla="*/ 1740646 h 2180359"/>
              <a:gd name="connsiteX30" fmla="*/ 102035 w 2213994"/>
              <a:gd name="connsiteY30" fmla="*/ 1583621 h 2180359"/>
              <a:gd name="connsiteX31" fmla="*/ 275905 w 2213994"/>
              <a:gd name="connsiteY31" fmla="*/ 1437734 h 2180359"/>
              <a:gd name="connsiteX32" fmla="*/ 213281 w 2213994"/>
              <a:gd name="connsiteY32" fmla="*/ 1082574 h 2180359"/>
              <a:gd name="connsiteX33" fmla="*/ 0 w 2213994"/>
              <a:gd name="connsiteY33" fmla="*/ 1004952 h 2180359"/>
              <a:gd name="connsiteX34" fmla="*/ 31485 w 2213994"/>
              <a:gd name="connsiteY34" fmla="*/ 826390 h 2180359"/>
              <a:gd name="connsiteX35" fmla="*/ 258452 w 2213994"/>
              <a:gd name="connsiteY35" fmla="*/ 826396 h 2180359"/>
              <a:gd name="connsiteX36" fmla="*/ 438771 w 2213994"/>
              <a:gd name="connsiteY36" fmla="*/ 514074 h 2180359"/>
              <a:gd name="connsiteX37" fmla="*/ 325283 w 2213994"/>
              <a:gd name="connsiteY37" fmla="*/ 317518 h 2180359"/>
              <a:gd name="connsiteX38" fmla="*/ 464179 w 2213994"/>
              <a:gd name="connsiteY38" fmla="*/ 200970 h 2180359"/>
              <a:gd name="connsiteX39" fmla="*/ 638042 w 2213994"/>
              <a:gd name="connsiteY39" fmla="*/ 346866 h 2180359"/>
              <a:gd name="connsiteX40" fmla="*/ 976932 w 2213994"/>
              <a:gd name="connsiteY40" fmla="*/ 223520 h 2180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213994" h="2180359">
                <a:moveTo>
                  <a:pt x="1106997" y="561989"/>
                </a:moveTo>
                <a:cubicBezTo>
                  <a:pt x="805394" y="561989"/>
                  <a:pt x="560897" y="806486"/>
                  <a:pt x="560897" y="1108089"/>
                </a:cubicBezTo>
                <a:cubicBezTo>
                  <a:pt x="560897" y="1409692"/>
                  <a:pt x="805394" y="1654189"/>
                  <a:pt x="1106997" y="1654189"/>
                </a:cubicBezTo>
                <a:cubicBezTo>
                  <a:pt x="1408600" y="1654189"/>
                  <a:pt x="1653097" y="1409692"/>
                  <a:pt x="1653097" y="1108089"/>
                </a:cubicBezTo>
                <a:cubicBezTo>
                  <a:pt x="1653097" y="806486"/>
                  <a:pt x="1408600" y="561989"/>
                  <a:pt x="1106997" y="561989"/>
                </a:cubicBezTo>
                <a:close/>
                <a:moveTo>
                  <a:pt x="1016339" y="0"/>
                </a:moveTo>
                <a:lnTo>
                  <a:pt x="1197655" y="0"/>
                </a:lnTo>
                <a:lnTo>
                  <a:pt x="1237062" y="223520"/>
                </a:lnTo>
                <a:cubicBezTo>
                  <a:pt x="1357231" y="241189"/>
                  <a:pt x="1472539" y="283158"/>
                  <a:pt x="1575952" y="346866"/>
                </a:cubicBezTo>
                <a:lnTo>
                  <a:pt x="1749815" y="200970"/>
                </a:lnTo>
                <a:lnTo>
                  <a:pt x="1888711" y="317518"/>
                </a:lnTo>
                <a:lnTo>
                  <a:pt x="1775222" y="514074"/>
                </a:lnTo>
                <a:cubicBezTo>
                  <a:pt x="1855919" y="604853"/>
                  <a:pt x="1917273" y="711121"/>
                  <a:pt x="1955541" y="826396"/>
                </a:cubicBezTo>
                <a:lnTo>
                  <a:pt x="2182509" y="826390"/>
                </a:lnTo>
                <a:lnTo>
                  <a:pt x="2213994" y="1004952"/>
                </a:lnTo>
                <a:lnTo>
                  <a:pt x="2000713" y="1082574"/>
                </a:lnTo>
                <a:cubicBezTo>
                  <a:pt x="2004179" y="1203985"/>
                  <a:pt x="1982871" y="1324830"/>
                  <a:pt x="1938089" y="1437734"/>
                </a:cubicBezTo>
                <a:lnTo>
                  <a:pt x="2111959" y="1583621"/>
                </a:lnTo>
                <a:lnTo>
                  <a:pt x="2021301" y="1740646"/>
                </a:lnTo>
                <a:lnTo>
                  <a:pt x="1808024" y="1663013"/>
                </a:lnTo>
                <a:cubicBezTo>
                  <a:pt x="1732638" y="1758248"/>
                  <a:pt x="1638637" y="1837123"/>
                  <a:pt x="1531759" y="1894827"/>
                </a:cubicBezTo>
                <a:lnTo>
                  <a:pt x="1571177" y="2118345"/>
                </a:lnTo>
                <a:lnTo>
                  <a:pt x="1400795" y="2180359"/>
                </a:lnTo>
                <a:lnTo>
                  <a:pt x="1287316" y="1983797"/>
                </a:lnTo>
                <a:cubicBezTo>
                  <a:pt x="1168351" y="2008293"/>
                  <a:pt x="1045642" y="2008293"/>
                  <a:pt x="926677" y="1983797"/>
                </a:cubicBezTo>
                <a:lnTo>
                  <a:pt x="813199" y="2180359"/>
                </a:lnTo>
                <a:lnTo>
                  <a:pt x="642817" y="2118345"/>
                </a:lnTo>
                <a:lnTo>
                  <a:pt x="682236" y="1894827"/>
                </a:lnTo>
                <a:cubicBezTo>
                  <a:pt x="575358" y="1837123"/>
                  <a:pt x="481357" y="1758247"/>
                  <a:pt x="405971" y="1663013"/>
                </a:cubicBezTo>
                <a:lnTo>
                  <a:pt x="192693" y="1740646"/>
                </a:lnTo>
                <a:lnTo>
                  <a:pt x="102035" y="1583621"/>
                </a:lnTo>
                <a:lnTo>
                  <a:pt x="275905" y="1437734"/>
                </a:lnTo>
                <a:cubicBezTo>
                  <a:pt x="231123" y="1324830"/>
                  <a:pt x="209814" y="1203985"/>
                  <a:pt x="213281" y="1082574"/>
                </a:cubicBezTo>
                <a:lnTo>
                  <a:pt x="0" y="1004952"/>
                </a:lnTo>
                <a:lnTo>
                  <a:pt x="31485" y="826390"/>
                </a:lnTo>
                <a:lnTo>
                  <a:pt x="258452" y="826396"/>
                </a:lnTo>
                <a:cubicBezTo>
                  <a:pt x="296720" y="711121"/>
                  <a:pt x="358074" y="604852"/>
                  <a:pt x="438771" y="514074"/>
                </a:cubicBezTo>
                <a:lnTo>
                  <a:pt x="325283" y="317518"/>
                </a:lnTo>
                <a:lnTo>
                  <a:pt x="464179" y="200970"/>
                </a:lnTo>
                <a:lnTo>
                  <a:pt x="638042" y="346866"/>
                </a:lnTo>
                <a:cubicBezTo>
                  <a:pt x="741454" y="283158"/>
                  <a:pt x="856763" y="241190"/>
                  <a:pt x="976932" y="22352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4" name="Freeform 14"/>
          <p:cNvSpPr/>
          <p:nvPr/>
        </p:nvSpPr>
        <p:spPr>
          <a:xfrm>
            <a:off x="1370331" y="3709851"/>
            <a:ext cx="282827" cy="295397"/>
          </a:xfrm>
          <a:custGeom>
            <a:avLst/>
            <a:gdLst>
              <a:gd name="connsiteX0" fmla="*/ 675641 w 1351280"/>
              <a:gd name="connsiteY0" fmla="*/ 436140 h 1351280"/>
              <a:gd name="connsiteX1" fmla="*/ 436140 w 1351280"/>
              <a:gd name="connsiteY1" fmla="*/ 675641 h 1351280"/>
              <a:gd name="connsiteX2" fmla="*/ 675641 w 1351280"/>
              <a:gd name="connsiteY2" fmla="*/ 915142 h 1351280"/>
              <a:gd name="connsiteX3" fmla="*/ 915142 w 1351280"/>
              <a:gd name="connsiteY3" fmla="*/ 675641 h 1351280"/>
              <a:gd name="connsiteX4" fmla="*/ 675641 w 1351280"/>
              <a:gd name="connsiteY4" fmla="*/ 436140 h 1351280"/>
              <a:gd name="connsiteX5" fmla="*/ 675640 w 1351280"/>
              <a:gd name="connsiteY5" fmla="*/ 0 h 1351280"/>
              <a:gd name="connsiteX6" fmla="*/ 1351280 w 1351280"/>
              <a:gd name="connsiteY6" fmla="*/ 675640 h 1351280"/>
              <a:gd name="connsiteX7" fmla="*/ 675640 w 1351280"/>
              <a:gd name="connsiteY7" fmla="*/ 1351280 h 1351280"/>
              <a:gd name="connsiteX8" fmla="*/ 0 w 1351280"/>
              <a:gd name="connsiteY8" fmla="*/ 675640 h 1351280"/>
              <a:gd name="connsiteX9" fmla="*/ 675640 w 1351280"/>
              <a:gd name="connsiteY9" fmla="*/ 0 h 13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51280" h="1351280">
                <a:moveTo>
                  <a:pt x="675641" y="436140"/>
                </a:moveTo>
                <a:cubicBezTo>
                  <a:pt x="543368" y="436140"/>
                  <a:pt x="436140" y="543368"/>
                  <a:pt x="436140" y="675641"/>
                </a:cubicBezTo>
                <a:cubicBezTo>
                  <a:pt x="436140" y="807914"/>
                  <a:pt x="543368" y="915142"/>
                  <a:pt x="675641" y="915142"/>
                </a:cubicBezTo>
                <a:cubicBezTo>
                  <a:pt x="807914" y="915142"/>
                  <a:pt x="915142" y="807914"/>
                  <a:pt x="915142" y="675641"/>
                </a:cubicBezTo>
                <a:cubicBezTo>
                  <a:pt x="915142" y="543368"/>
                  <a:pt x="807914" y="436140"/>
                  <a:pt x="675641" y="436140"/>
                </a:cubicBezTo>
                <a:close/>
                <a:moveTo>
                  <a:pt x="675640" y="0"/>
                </a:moveTo>
                <a:cubicBezTo>
                  <a:pt x="1048786" y="0"/>
                  <a:pt x="1351280" y="302494"/>
                  <a:pt x="1351280" y="675640"/>
                </a:cubicBezTo>
                <a:cubicBezTo>
                  <a:pt x="1351280" y="1048786"/>
                  <a:pt x="1048786" y="1351280"/>
                  <a:pt x="675640" y="1351280"/>
                </a:cubicBezTo>
                <a:cubicBezTo>
                  <a:pt x="302494" y="1351280"/>
                  <a:pt x="0" y="1048786"/>
                  <a:pt x="0" y="675640"/>
                </a:cubicBezTo>
                <a:cubicBezTo>
                  <a:pt x="0" y="302494"/>
                  <a:pt x="302494" y="0"/>
                  <a:pt x="675640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reeform 15"/>
          <p:cNvSpPr/>
          <p:nvPr/>
        </p:nvSpPr>
        <p:spPr>
          <a:xfrm>
            <a:off x="2318457" y="2966922"/>
            <a:ext cx="232747" cy="243092"/>
          </a:xfrm>
          <a:custGeom>
            <a:avLst/>
            <a:gdLst>
              <a:gd name="connsiteX0" fmla="*/ 675641 w 1351280"/>
              <a:gd name="connsiteY0" fmla="*/ 436140 h 1351280"/>
              <a:gd name="connsiteX1" fmla="*/ 436140 w 1351280"/>
              <a:gd name="connsiteY1" fmla="*/ 675641 h 1351280"/>
              <a:gd name="connsiteX2" fmla="*/ 675641 w 1351280"/>
              <a:gd name="connsiteY2" fmla="*/ 915142 h 1351280"/>
              <a:gd name="connsiteX3" fmla="*/ 915142 w 1351280"/>
              <a:gd name="connsiteY3" fmla="*/ 675641 h 1351280"/>
              <a:gd name="connsiteX4" fmla="*/ 675641 w 1351280"/>
              <a:gd name="connsiteY4" fmla="*/ 436140 h 1351280"/>
              <a:gd name="connsiteX5" fmla="*/ 675640 w 1351280"/>
              <a:gd name="connsiteY5" fmla="*/ 0 h 1351280"/>
              <a:gd name="connsiteX6" fmla="*/ 1351280 w 1351280"/>
              <a:gd name="connsiteY6" fmla="*/ 675640 h 1351280"/>
              <a:gd name="connsiteX7" fmla="*/ 675640 w 1351280"/>
              <a:gd name="connsiteY7" fmla="*/ 1351280 h 1351280"/>
              <a:gd name="connsiteX8" fmla="*/ 0 w 1351280"/>
              <a:gd name="connsiteY8" fmla="*/ 675640 h 1351280"/>
              <a:gd name="connsiteX9" fmla="*/ 675640 w 1351280"/>
              <a:gd name="connsiteY9" fmla="*/ 0 h 13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51280" h="1351280">
                <a:moveTo>
                  <a:pt x="675641" y="436140"/>
                </a:moveTo>
                <a:cubicBezTo>
                  <a:pt x="543368" y="436140"/>
                  <a:pt x="436140" y="543368"/>
                  <a:pt x="436140" y="675641"/>
                </a:cubicBezTo>
                <a:cubicBezTo>
                  <a:pt x="436140" y="807914"/>
                  <a:pt x="543368" y="915142"/>
                  <a:pt x="675641" y="915142"/>
                </a:cubicBezTo>
                <a:cubicBezTo>
                  <a:pt x="807914" y="915142"/>
                  <a:pt x="915142" y="807914"/>
                  <a:pt x="915142" y="675641"/>
                </a:cubicBezTo>
                <a:cubicBezTo>
                  <a:pt x="915142" y="543368"/>
                  <a:pt x="807914" y="436140"/>
                  <a:pt x="675641" y="436140"/>
                </a:cubicBezTo>
                <a:close/>
                <a:moveTo>
                  <a:pt x="675640" y="0"/>
                </a:moveTo>
                <a:cubicBezTo>
                  <a:pt x="1048786" y="0"/>
                  <a:pt x="1351280" y="302494"/>
                  <a:pt x="1351280" y="675640"/>
                </a:cubicBezTo>
                <a:cubicBezTo>
                  <a:pt x="1351280" y="1048786"/>
                  <a:pt x="1048786" y="1351280"/>
                  <a:pt x="675640" y="1351280"/>
                </a:cubicBezTo>
                <a:cubicBezTo>
                  <a:pt x="302494" y="1351280"/>
                  <a:pt x="0" y="1048786"/>
                  <a:pt x="0" y="675640"/>
                </a:cubicBezTo>
                <a:cubicBezTo>
                  <a:pt x="0" y="302494"/>
                  <a:pt x="302494" y="0"/>
                  <a:pt x="675640" y="0"/>
                </a:cubicBezTo>
                <a:close/>
              </a:path>
            </a:pathLst>
          </a:custGeom>
          <a:solidFill>
            <a:srgbClr val="53D7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8" name="Agrupar 17"/>
          <p:cNvGrpSpPr/>
          <p:nvPr/>
        </p:nvGrpSpPr>
        <p:grpSpPr>
          <a:xfrm>
            <a:off x="5220071" y="116633"/>
            <a:ext cx="3450457" cy="2279174"/>
            <a:chOff x="5148064" y="662667"/>
            <a:chExt cx="3073519" cy="1955520"/>
          </a:xfrm>
        </p:grpSpPr>
        <p:sp>
          <p:nvSpPr>
            <p:cNvPr id="16" name="Line Callout 2 3"/>
            <p:cNvSpPr/>
            <p:nvPr/>
          </p:nvSpPr>
          <p:spPr>
            <a:xfrm>
              <a:off x="5148064" y="662667"/>
              <a:ext cx="3073519" cy="1955520"/>
            </a:xfrm>
            <a:prstGeom prst="borderCallout2">
              <a:avLst>
                <a:gd name="adj1" fmla="val 52340"/>
                <a:gd name="adj2" fmla="val -246"/>
                <a:gd name="adj3" fmla="val 52332"/>
                <a:gd name="adj4" fmla="val -19899"/>
                <a:gd name="adj5" fmla="val 104110"/>
                <a:gd name="adj6" fmla="val -66165"/>
              </a:avLst>
            </a:prstGeom>
            <a:solidFill>
              <a:schemeClr val="tx2"/>
            </a:solidFill>
            <a:ln w="3175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7" name="Retângulo 16"/>
            <p:cNvSpPr/>
            <p:nvPr/>
          </p:nvSpPr>
          <p:spPr>
            <a:xfrm>
              <a:off x="5212169" y="993100"/>
              <a:ext cx="2945308" cy="12946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pt-BR" sz="3200" b="1" dirty="0">
                  <a:solidFill>
                    <a:schemeClr val="bg1"/>
                  </a:solidFill>
                </a:rPr>
                <a:t>Quais os compromisso o Brasil assumiu?</a:t>
              </a:r>
            </a:p>
          </p:txBody>
        </p:sp>
      </p:grpSp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658556" y="2449171"/>
            <a:ext cx="4231107" cy="3983452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41821499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9"/>
          <p:cNvSpPr/>
          <p:nvPr/>
        </p:nvSpPr>
        <p:spPr>
          <a:xfrm>
            <a:off x="1662375" y="2472183"/>
            <a:ext cx="7484785" cy="3960440"/>
          </a:xfrm>
          <a:custGeom>
            <a:avLst/>
            <a:gdLst>
              <a:gd name="connsiteX0" fmla="*/ 0 w 3765837"/>
              <a:gd name="connsiteY0" fmla="*/ 0 h 5331668"/>
              <a:gd name="connsiteX1" fmla="*/ 308040 w 3765837"/>
              <a:gd name="connsiteY1" fmla="*/ 0 h 5331668"/>
              <a:gd name="connsiteX2" fmla="*/ 3765837 w 3765837"/>
              <a:gd name="connsiteY2" fmla="*/ 3457797 h 5331668"/>
              <a:gd name="connsiteX3" fmla="*/ 3765837 w 3765837"/>
              <a:gd name="connsiteY3" fmla="*/ 5331668 h 5331668"/>
              <a:gd name="connsiteX4" fmla="*/ 0 w 3765837"/>
              <a:gd name="connsiteY4" fmla="*/ 5331668 h 5331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65837" h="5331668">
                <a:moveTo>
                  <a:pt x="0" y="0"/>
                </a:moveTo>
                <a:lnTo>
                  <a:pt x="308040" y="0"/>
                </a:lnTo>
                <a:lnTo>
                  <a:pt x="3765837" y="3457797"/>
                </a:lnTo>
                <a:lnTo>
                  <a:pt x="3765837" y="5331668"/>
                </a:lnTo>
                <a:lnTo>
                  <a:pt x="0" y="5331668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Freeform 4"/>
          <p:cNvSpPr/>
          <p:nvPr/>
        </p:nvSpPr>
        <p:spPr>
          <a:xfrm>
            <a:off x="311931" y="2395806"/>
            <a:ext cx="2996181" cy="4036817"/>
          </a:xfrm>
          <a:custGeom>
            <a:avLst/>
            <a:gdLst>
              <a:gd name="connsiteX0" fmla="*/ 323604 w 4522224"/>
              <a:gd name="connsiteY0" fmla="*/ 6062148 h 6062148"/>
              <a:gd name="connsiteX1" fmla="*/ 376944 w 4522224"/>
              <a:gd name="connsiteY1" fmla="*/ 5924988 h 6062148"/>
              <a:gd name="connsiteX2" fmla="*/ 437904 w 4522224"/>
              <a:gd name="connsiteY2" fmla="*/ 5780208 h 6062148"/>
              <a:gd name="connsiteX3" fmla="*/ 468384 w 4522224"/>
              <a:gd name="connsiteY3" fmla="*/ 5665908 h 6062148"/>
              <a:gd name="connsiteX4" fmla="*/ 506484 w 4522224"/>
              <a:gd name="connsiteY4" fmla="*/ 5612568 h 6062148"/>
              <a:gd name="connsiteX5" fmla="*/ 536964 w 4522224"/>
              <a:gd name="connsiteY5" fmla="*/ 5521128 h 6062148"/>
              <a:gd name="connsiteX6" fmla="*/ 559824 w 4522224"/>
              <a:gd name="connsiteY6" fmla="*/ 5353488 h 6062148"/>
              <a:gd name="connsiteX7" fmla="*/ 597924 w 4522224"/>
              <a:gd name="connsiteY7" fmla="*/ 5223948 h 6062148"/>
              <a:gd name="connsiteX8" fmla="*/ 620784 w 4522224"/>
              <a:gd name="connsiteY8" fmla="*/ 5178228 h 6062148"/>
              <a:gd name="connsiteX9" fmla="*/ 696984 w 4522224"/>
              <a:gd name="connsiteY9" fmla="*/ 5071548 h 6062148"/>
              <a:gd name="connsiteX10" fmla="*/ 712224 w 4522224"/>
              <a:gd name="connsiteY10" fmla="*/ 5063928 h 6062148"/>
              <a:gd name="connsiteX11" fmla="*/ 704604 w 4522224"/>
              <a:gd name="connsiteY11" fmla="*/ 5025828 h 6062148"/>
              <a:gd name="connsiteX12" fmla="*/ 696984 w 4522224"/>
              <a:gd name="connsiteY12" fmla="*/ 5002968 h 6062148"/>
              <a:gd name="connsiteX13" fmla="*/ 963684 w 4522224"/>
              <a:gd name="connsiteY13" fmla="*/ 4682928 h 6062148"/>
              <a:gd name="connsiteX14" fmla="*/ 956064 w 4522224"/>
              <a:gd name="connsiteY14" fmla="*/ 4644828 h 6062148"/>
              <a:gd name="connsiteX15" fmla="*/ 1337064 w 4522224"/>
              <a:gd name="connsiteY15" fmla="*/ 4172388 h 6062148"/>
              <a:gd name="connsiteX16" fmla="*/ 1253244 w 4522224"/>
              <a:gd name="connsiteY16" fmla="*/ 4012368 h 6062148"/>
              <a:gd name="connsiteX17" fmla="*/ 1199904 w 4522224"/>
              <a:gd name="connsiteY17" fmla="*/ 3928548 h 6062148"/>
              <a:gd name="connsiteX18" fmla="*/ 1169424 w 4522224"/>
              <a:gd name="connsiteY18" fmla="*/ 3768528 h 6062148"/>
              <a:gd name="connsiteX19" fmla="*/ 1146564 w 4522224"/>
              <a:gd name="connsiteY19" fmla="*/ 3699948 h 6062148"/>
              <a:gd name="connsiteX20" fmla="*/ 1138944 w 4522224"/>
              <a:gd name="connsiteY20" fmla="*/ 3669468 h 6062148"/>
              <a:gd name="connsiteX21" fmla="*/ 1062744 w 4522224"/>
              <a:gd name="connsiteY21" fmla="*/ 3661848 h 6062148"/>
              <a:gd name="connsiteX22" fmla="*/ 933204 w 4522224"/>
              <a:gd name="connsiteY22" fmla="*/ 3669468 h 6062148"/>
              <a:gd name="connsiteX23" fmla="*/ 826524 w 4522224"/>
              <a:gd name="connsiteY23" fmla="*/ 3692328 h 6062148"/>
              <a:gd name="connsiteX24" fmla="*/ 605544 w 4522224"/>
              <a:gd name="connsiteY24" fmla="*/ 3738048 h 6062148"/>
              <a:gd name="connsiteX25" fmla="*/ 384564 w 4522224"/>
              <a:gd name="connsiteY25" fmla="*/ 3638988 h 6062148"/>
              <a:gd name="connsiteX26" fmla="*/ 376944 w 4522224"/>
              <a:gd name="connsiteY26" fmla="*/ 3326568 h 6062148"/>
              <a:gd name="connsiteX27" fmla="*/ 415044 w 4522224"/>
              <a:gd name="connsiteY27" fmla="*/ 3250368 h 6062148"/>
              <a:gd name="connsiteX28" fmla="*/ 415044 w 4522224"/>
              <a:gd name="connsiteY28" fmla="*/ 3227508 h 6062148"/>
              <a:gd name="connsiteX29" fmla="*/ 384564 w 4522224"/>
              <a:gd name="connsiteY29" fmla="*/ 3166548 h 6062148"/>
              <a:gd name="connsiteX30" fmla="*/ 361704 w 4522224"/>
              <a:gd name="connsiteY30" fmla="*/ 3166548 h 6062148"/>
              <a:gd name="connsiteX31" fmla="*/ 346464 w 4522224"/>
              <a:gd name="connsiteY31" fmla="*/ 3105588 h 6062148"/>
              <a:gd name="connsiteX32" fmla="*/ 392184 w 4522224"/>
              <a:gd name="connsiteY32" fmla="*/ 3021768 h 6062148"/>
              <a:gd name="connsiteX33" fmla="*/ 483624 w 4522224"/>
              <a:gd name="connsiteY33" fmla="*/ 2998908 h 6062148"/>
              <a:gd name="connsiteX34" fmla="*/ 460764 w 4522224"/>
              <a:gd name="connsiteY34" fmla="*/ 2930328 h 6062148"/>
              <a:gd name="connsiteX35" fmla="*/ 430284 w 4522224"/>
              <a:gd name="connsiteY35" fmla="*/ 2930328 h 6062148"/>
              <a:gd name="connsiteX36" fmla="*/ 384564 w 4522224"/>
              <a:gd name="connsiteY36" fmla="*/ 2930328 h 6062148"/>
              <a:gd name="connsiteX37" fmla="*/ 300744 w 4522224"/>
              <a:gd name="connsiteY37" fmla="*/ 2876988 h 6062148"/>
              <a:gd name="connsiteX38" fmla="*/ 315984 w 4522224"/>
              <a:gd name="connsiteY38" fmla="*/ 2846508 h 6062148"/>
              <a:gd name="connsiteX39" fmla="*/ 323604 w 4522224"/>
              <a:gd name="connsiteY39" fmla="*/ 2793168 h 6062148"/>
              <a:gd name="connsiteX40" fmla="*/ 308364 w 4522224"/>
              <a:gd name="connsiteY40" fmla="*/ 2732208 h 6062148"/>
              <a:gd name="connsiteX41" fmla="*/ 262644 w 4522224"/>
              <a:gd name="connsiteY41" fmla="*/ 2671248 h 6062148"/>
              <a:gd name="connsiteX42" fmla="*/ 171204 w 4522224"/>
              <a:gd name="connsiteY42" fmla="*/ 2656008 h 6062148"/>
              <a:gd name="connsiteX43" fmla="*/ 49284 w 4522224"/>
              <a:gd name="connsiteY43" fmla="*/ 2610288 h 6062148"/>
              <a:gd name="connsiteX44" fmla="*/ 18804 w 4522224"/>
              <a:gd name="connsiteY44" fmla="*/ 2556948 h 6062148"/>
              <a:gd name="connsiteX45" fmla="*/ 3564 w 4522224"/>
              <a:gd name="connsiteY45" fmla="*/ 2488368 h 6062148"/>
              <a:gd name="connsiteX46" fmla="*/ 87384 w 4522224"/>
              <a:gd name="connsiteY46" fmla="*/ 2335968 h 6062148"/>
              <a:gd name="connsiteX47" fmla="*/ 216924 w 4522224"/>
              <a:gd name="connsiteY47" fmla="*/ 2175948 h 6062148"/>
              <a:gd name="connsiteX48" fmla="*/ 277884 w 4522224"/>
              <a:gd name="connsiteY48" fmla="*/ 2084508 h 6062148"/>
              <a:gd name="connsiteX49" fmla="*/ 323604 w 4522224"/>
              <a:gd name="connsiteY49" fmla="*/ 1977828 h 6062148"/>
              <a:gd name="connsiteX50" fmla="*/ 354084 w 4522224"/>
              <a:gd name="connsiteY50" fmla="*/ 1871148 h 6062148"/>
              <a:gd name="connsiteX51" fmla="*/ 369324 w 4522224"/>
              <a:gd name="connsiteY51" fmla="*/ 1810188 h 6062148"/>
              <a:gd name="connsiteX52" fmla="*/ 338844 w 4522224"/>
              <a:gd name="connsiteY52" fmla="*/ 1756848 h 6062148"/>
              <a:gd name="connsiteX53" fmla="*/ 323604 w 4522224"/>
              <a:gd name="connsiteY53" fmla="*/ 1680648 h 6062148"/>
              <a:gd name="connsiteX54" fmla="*/ 407424 w 4522224"/>
              <a:gd name="connsiteY54" fmla="*/ 1474908 h 6062148"/>
              <a:gd name="connsiteX55" fmla="*/ 437904 w 4522224"/>
              <a:gd name="connsiteY55" fmla="*/ 1307268 h 6062148"/>
              <a:gd name="connsiteX56" fmla="*/ 460764 w 4522224"/>
              <a:gd name="connsiteY56" fmla="*/ 1192968 h 6062148"/>
              <a:gd name="connsiteX57" fmla="*/ 498864 w 4522224"/>
              <a:gd name="connsiteY57" fmla="*/ 1055808 h 6062148"/>
              <a:gd name="connsiteX58" fmla="*/ 552204 w 4522224"/>
              <a:gd name="connsiteY58" fmla="*/ 888168 h 6062148"/>
              <a:gd name="connsiteX59" fmla="*/ 498864 w 4522224"/>
              <a:gd name="connsiteY59" fmla="*/ 888168 h 6062148"/>
              <a:gd name="connsiteX60" fmla="*/ 407424 w 4522224"/>
              <a:gd name="connsiteY60" fmla="*/ 834828 h 6062148"/>
              <a:gd name="connsiteX61" fmla="*/ 323604 w 4522224"/>
              <a:gd name="connsiteY61" fmla="*/ 789108 h 6062148"/>
              <a:gd name="connsiteX62" fmla="*/ 255024 w 4522224"/>
              <a:gd name="connsiteY62" fmla="*/ 773868 h 6062148"/>
              <a:gd name="connsiteX63" fmla="*/ 209304 w 4522224"/>
              <a:gd name="connsiteY63" fmla="*/ 751008 h 6062148"/>
              <a:gd name="connsiteX64" fmla="*/ 255024 w 4522224"/>
              <a:gd name="connsiteY64" fmla="*/ 674808 h 6062148"/>
              <a:gd name="connsiteX65" fmla="*/ 369324 w 4522224"/>
              <a:gd name="connsiteY65" fmla="*/ 606228 h 6062148"/>
              <a:gd name="connsiteX66" fmla="*/ 552204 w 4522224"/>
              <a:gd name="connsiteY66" fmla="*/ 507168 h 6062148"/>
              <a:gd name="connsiteX67" fmla="*/ 651264 w 4522224"/>
              <a:gd name="connsiteY67" fmla="*/ 423348 h 6062148"/>
              <a:gd name="connsiteX68" fmla="*/ 887484 w 4522224"/>
              <a:gd name="connsiteY68" fmla="*/ 232848 h 6062148"/>
              <a:gd name="connsiteX69" fmla="*/ 1169424 w 4522224"/>
              <a:gd name="connsiteY69" fmla="*/ 80448 h 6062148"/>
              <a:gd name="connsiteX70" fmla="*/ 1588524 w 4522224"/>
              <a:gd name="connsiteY70" fmla="*/ 11868 h 6062148"/>
              <a:gd name="connsiteX71" fmla="*/ 1939044 w 4522224"/>
              <a:gd name="connsiteY71" fmla="*/ 4248 h 6062148"/>
              <a:gd name="connsiteX72" fmla="*/ 2167644 w 4522224"/>
              <a:gd name="connsiteY72" fmla="*/ 4248 h 6062148"/>
              <a:gd name="connsiteX73" fmla="*/ 2388624 w 4522224"/>
              <a:gd name="connsiteY73" fmla="*/ 57588 h 6062148"/>
              <a:gd name="connsiteX74" fmla="*/ 2662944 w 4522224"/>
              <a:gd name="connsiteY74" fmla="*/ 133788 h 6062148"/>
              <a:gd name="connsiteX75" fmla="*/ 2815344 w 4522224"/>
              <a:gd name="connsiteY75" fmla="*/ 202368 h 6062148"/>
              <a:gd name="connsiteX76" fmla="*/ 3097284 w 4522224"/>
              <a:gd name="connsiteY76" fmla="*/ 400488 h 6062148"/>
              <a:gd name="connsiteX77" fmla="*/ 3280164 w 4522224"/>
              <a:gd name="connsiteY77" fmla="*/ 651948 h 6062148"/>
              <a:gd name="connsiteX78" fmla="*/ 3402084 w 4522224"/>
              <a:gd name="connsiteY78" fmla="*/ 918648 h 6062148"/>
              <a:gd name="connsiteX79" fmla="*/ 3470664 w 4522224"/>
              <a:gd name="connsiteY79" fmla="*/ 1238688 h 6062148"/>
              <a:gd name="connsiteX80" fmla="*/ 3501144 w 4522224"/>
              <a:gd name="connsiteY80" fmla="*/ 1543488 h 6062148"/>
              <a:gd name="connsiteX81" fmla="*/ 3501144 w 4522224"/>
              <a:gd name="connsiteY81" fmla="*/ 1962588 h 6062148"/>
              <a:gd name="connsiteX82" fmla="*/ 3333504 w 4522224"/>
              <a:gd name="connsiteY82" fmla="*/ 2305488 h 6062148"/>
              <a:gd name="connsiteX83" fmla="*/ 3249684 w 4522224"/>
              <a:gd name="connsiteY83" fmla="*/ 2473128 h 6062148"/>
              <a:gd name="connsiteX84" fmla="*/ 3127764 w 4522224"/>
              <a:gd name="connsiteY84" fmla="*/ 2663628 h 6062148"/>
              <a:gd name="connsiteX85" fmla="*/ 3066804 w 4522224"/>
              <a:gd name="connsiteY85" fmla="*/ 2838888 h 6062148"/>
              <a:gd name="connsiteX86" fmla="*/ 3059184 w 4522224"/>
              <a:gd name="connsiteY86" fmla="*/ 2915088 h 6062148"/>
              <a:gd name="connsiteX87" fmla="*/ 3013464 w 4522224"/>
              <a:gd name="connsiteY87" fmla="*/ 3014148 h 6062148"/>
              <a:gd name="connsiteX88" fmla="*/ 2975364 w 4522224"/>
              <a:gd name="connsiteY88" fmla="*/ 3082728 h 6062148"/>
              <a:gd name="connsiteX89" fmla="*/ 2952504 w 4522224"/>
              <a:gd name="connsiteY89" fmla="*/ 3120828 h 6062148"/>
              <a:gd name="connsiteX90" fmla="*/ 2952504 w 4522224"/>
              <a:gd name="connsiteY90" fmla="*/ 3555168 h 6062148"/>
              <a:gd name="connsiteX91" fmla="*/ 2952504 w 4522224"/>
              <a:gd name="connsiteY91" fmla="*/ 3562788 h 6062148"/>
              <a:gd name="connsiteX92" fmla="*/ 3005844 w 4522224"/>
              <a:gd name="connsiteY92" fmla="*/ 3539928 h 6062148"/>
              <a:gd name="connsiteX93" fmla="*/ 3059184 w 4522224"/>
              <a:gd name="connsiteY93" fmla="*/ 3562788 h 6062148"/>
              <a:gd name="connsiteX94" fmla="*/ 3104904 w 4522224"/>
              <a:gd name="connsiteY94" fmla="*/ 3570408 h 6062148"/>
              <a:gd name="connsiteX95" fmla="*/ 3135384 w 4522224"/>
              <a:gd name="connsiteY95" fmla="*/ 3631368 h 6062148"/>
              <a:gd name="connsiteX96" fmla="*/ 3112524 w 4522224"/>
              <a:gd name="connsiteY96" fmla="*/ 3738048 h 6062148"/>
              <a:gd name="connsiteX97" fmla="*/ 3120144 w 4522224"/>
              <a:gd name="connsiteY97" fmla="*/ 4103808 h 6062148"/>
              <a:gd name="connsiteX98" fmla="*/ 3112524 w 4522224"/>
              <a:gd name="connsiteY98" fmla="*/ 4119048 h 6062148"/>
              <a:gd name="connsiteX99" fmla="*/ 3158244 w 4522224"/>
              <a:gd name="connsiteY99" fmla="*/ 4157148 h 6062148"/>
              <a:gd name="connsiteX100" fmla="*/ 3196344 w 4522224"/>
              <a:gd name="connsiteY100" fmla="*/ 4164768 h 6062148"/>
              <a:gd name="connsiteX101" fmla="*/ 3226824 w 4522224"/>
              <a:gd name="connsiteY101" fmla="*/ 4172388 h 6062148"/>
              <a:gd name="connsiteX102" fmla="*/ 3280164 w 4522224"/>
              <a:gd name="connsiteY102" fmla="*/ 4294308 h 6062148"/>
              <a:gd name="connsiteX103" fmla="*/ 3295404 w 4522224"/>
              <a:gd name="connsiteY103" fmla="*/ 4347648 h 6062148"/>
              <a:gd name="connsiteX104" fmla="*/ 3325884 w 4522224"/>
              <a:gd name="connsiteY104" fmla="*/ 4408608 h 6062148"/>
              <a:gd name="connsiteX105" fmla="*/ 3546864 w 4522224"/>
              <a:gd name="connsiteY105" fmla="*/ 4644828 h 6062148"/>
              <a:gd name="connsiteX106" fmla="*/ 3882144 w 4522224"/>
              <a:gd name="connsiteY106" fmla="*/ 5025828 h 6062148"/>
              <a:gd name="connsiteX107" fmla="*/ 4095504 w 4522224"/>
              <a:gd name="connsiteY107" fmla="*/ 5300148 h 6062148"/>
              <a:gd name="connsiteX108" fmla="*/ 4362204 w 4522224"/>
              <a:gd name="connsiteY108" fmla="*/ 5726868 h 6062148"/>
              <a:gd name="connsiteX109" fmla="*/ 4522224 w 4522224"/>
              <a:gd name="connsiteY109" fmla="*/ 6046908 h 6062148"/>
              <a:gd name="connsiteX0" fmla="*/ 323604 w 4522224"/>
              <a:gd name="connsiteY0" fmla="*/ 6062148 h 6062148"/>
              <a:gd name="connsiteX1" fmla="*/ 376944 w 4522224"/>
              <a:gd name="connsiteY1" fmla="*/ 5924988 h 6062148"/>
              <a:gd name="connsiteX2" fmla="*/ 437904 w 4522224"/>
              <a:gd name="connsiteY2" fmla="*/ 5780208 h 6062148"/>
              <a:gd name="connsiteX3" fmla="*/ 468384 w 4522224"/>
              <a:gd name="connsiteY3" fmla="*/ 5665908 h 6062148"/>
              <a:gd name="connsiteX4" fmla="*/ 506484 w 4522224"/>
              <a:gd name="connsiteY4" fmla="*/ 5612568 h 6062148"/>
              <a:gd name="connsiteX5" fmla="*/ 536964 w 4522224"/>
              <a:gd name="connsiteY5" fmla="*/ 5521128 h 6062148"/>
              <a:gd name="connsiteX6" fmla="*/ 559824 w 4522224"/>
              <a:gd name="connsiteY6" fmla="*/ 5353488 h 6062148"/>
              <a:gd name="connsiteX7" fmla="*/ 597924 w 4522224"/>
              <a:gd name="connsiteY7" fmla="*/ 5223948 h 6062148"/>
              <a:gd name="connsiteX8" fmla="*/ 620784 w 4522224"/>
              <a:gd name="connsiteY8" fmla="*/ 5178228 h 6062148"/>
              <a:gd name="connsiteX9" fmla="*/ 696984 w 4522224"/>
              <a:gd name="connsiteY9" fmla="*/ 5071548 h 6062148"/>
              <a:gd name="connsiteX10" fmla="*/ 712224 w 4522224"/>
              <a:gd name="connsiteY10" fmla="*/ 5063928 h 6062148"/>
              <a:gd name="connsiteX11" fmla="*/ 704604 w 4522224"/>
              <a:gd name="connsiteY11" fmla="*/ 5025828 h 6062148"/>
              <a:gd name="connsiteX12" fmla="*/ 696984 w 4522224"/>
              <a:gd name="connsiteY12" fmla="*/ 5002968 h 6062148"/>
              <a:gd name="connsiteX13" fmla="*/ 963684 w 4522224"/>
              <a:gd name="connsiteY13" fmla="*/ 4682928 h 6062148"/>
              <a:gd name="connsiteX14" fmla="*/ 956064 w 4522224"/>
              <a:gd name="connsiteY14" fmla="*/ 4644828 h 6062148"/>
              <a:gd name="connsiteX15" fmla="*/ 1337064 w 4522224"/>
              <a:gd name="connsiteY15" fmla="*/ 4172388 h 6062148"/>
              <a:gd name="connsiteX16" fmla="*/ 1253244 w 4522224"/>
              <a:gd name="connsiteY16" fmla="*/ 4012368 h 6062148"/>
              <a:gd name="connsiteX17" fmla="*/ 1199904 w 4522224"/>
              <a:gd name="connsiteY17" fmla="*/ 3928548 h 6062148"/>
              <a:gd name="connsiteX18" fmla="*/ 1169424 w 4522224"/>
              <a:gd name="connsiteY18" fmla="*/ 3768528 h 6062148"/>
              <a:gd name="connsiteX19" fmla="*/ 1146564 w 4522224"/>
              <a:gd name="connsiteY19" fmla="*/ 3699948 h 6062148"/>
              <a:gd name="connsiteX20" fmla="*/ 1138944 w 4522224"/>
              <a:gd name="connsiteY20" fmla="*/ 3669468 h 6062148"/>
              <a:gd name="connsiteX21" fmla="*/ 1062744 w 4522224"/>
              <a:gd name="connsiteY21" fmla="*/ 3661848 h 6062148"/>
              <a:gd name="connsiteX22" fmla="*/ 933204 w 4522224"/>
              <a:gd name="connsiteY22" fmla="*/ 3669468 h 6062148"/>
              <a:gd name="connsiteX23" fmla="*/ 826524 w 4522224"/>
              <a:gd name="connsiteY23" fmla="*/ 3692328 h 6062148"/>
              <a:gd name="connsiteX24" fmla="*/ 605544 w 4522224"/>
              <a:gd name="connsiteY24" fmla="*/ 3738048 h 6062148"/>
              <a:gd name="connsiteX25" fmla="*/ 384564 w 4522224"/>
              <a:gd name="connsiteY25" fmla="*/ 3638988 h 6062148"/>
              <a:gd name="connsiteX26" fmla="*/ 376944 w 4522224"/>
              <a:gd name="connsiteY26" fmla="*/ 3326568 h 6062148"/>
              <a:gd name="connsiteX27" fmla="*/ 415044 w 4522224"/>
              <a:gd name="connsiteY27" fmla="*/ 3250368 h 6062148"/>
              <a:gd name="connsiteX28" fmla="*/ 415044 w 4522224"/>
              <a:gd name="connsiteY28" fmla="*/ 3227508 h 6062148"/>
              <a:gd name="connsiteX29" fmla="*/ 384564 w 4522224"/>
              <a:gd name="connsiteY29" fmla="*/ 3166548 h 6062148"/>
              <a:gd name="connsiteX30" fmla="*/ 361704 w 4522224"/>
              <a:gd name="connsiteY30" fmla="*/ 3166548 h 6062148"/>
              <a:gd name="connsiteX31" fmla="*/ 346464 w 4522224"/>
              <a:gd name="connsiteY31" fmla="*/ 3105588 h 6062148"/>
              <a:gd name="connsiteX32" fmla="*/ 392184 w 4522224"/>
              <a:gd name="connsiteY32" fmla="*/ 3021768 h 6062148"/>
              <a:gd name="connsiteX33" fmla="*/ 483624 w 4522224"/>
              <a:gd name="connsiteY33" fmla="*/ 2998908 h 6062148"/>
              <a:gd name="connsiteX34" fmla="*/ 460764 w 4522224"/>
              <a:gd name="connsiteY34" fmla="*/ 2930328 h 6062148"/>
              <a:gd name="connsiteX35" fmla="*/ 430284 w 4522224"/>
              <a:gd name="connsiteY35" fmla="*/ 2930328 h 6062148"/>
              <a:gd name="connsiteX36" fmla="*/ 384564 w 4522224"/>
              <a:gd name="connsiteY36" fmla="*/ 2930328 h 6062148"/>
              <a:gd name="connsiteX37" fmla="*/ 300744 w 4522224"/>
              <a:gd name="connsiteY37" fmla="*/ 2876988 h 6062148"/>
              <a:gd name="connsiteX38" fmla="*/ 315984 w 4522224"/>
              <a:gd name="connsiteY38" fmla="*/ 2846508 h 6062148"/>
              <a:gd name="connsiteX39" fmla="*/ 323604 w 4522224"/>
              <a:gd name="connsiteY39" fmla="*/ 2793168 h 6062148"/>
              <a:gd name="connsiteX40" fmla="*/ 308364 w 4522224"/>
              <a:gd name="connsiteY40" fmla="*/ 2732208 h 6062148"/>
              <a:gd name="connsiteX41" fmla="*/ 262644 w 4522224"/>
              <a:gd name="connsiteY41" fmla="*/ 2671248 h 6062148"/>
              <a:gd name="connsiteX42" fmla="*/ 171204 w 4522224"/>
              <a:gd name="connsiteY42" fmla="*/ 2656008 h 6062148"/>
              <a:gd name="connsiteX43" fmla="*/ 49284 w 4522224"/>
              <a:gd name="connsiteY43" fmla="*/ 2610288 h 6062148"/>
              <a:gd name="connsiteX44" fmla="*/ 18804 w 4522224"/>
              <a:gd name="connsiteY44" fmla="*/ 2556948 h 6062148"/>
              <a:gd name="connsiteX45" fmla="*/ 3564 w 4522224"/>
              <a:gd name="connsiteY45" fmla="*/ 2488368 h 6062148"/>
              <a:gd name="connsiteX46" fmla="*/ 87384 w 4522224"/>
              <a:gd name="connsiteY46" fmla="*/ 2335968 h 6062148"/>
              <a:gd name="connsiteX47" fmla="*/ 216924 w 4522224"/>
              <a:gd name="connsiteY47" fmla="*/ 2175948 h 6062148"/>
              <a:gd name="connsiteX48" fmla="*/ 277884 w 4522224"/>
              <a:gd name="connsiteY48" fmla="*/ 2084508 h 6062148"/>
              <a:gd name="connsiteX49" fmla="*/ 323604 w 4522224"/>
              <a:gd name="connsiteY49" fmla="*/ 1977828 h 6062148"/>
              <a:gd name="connsiteX50" fmla="*/ 354084 w 4522224"/>
              <a:gd name="connsiteY50" fmla="*/ 1871148 h 6062148"/>
              <a:gd name="connsiteX51" fmla="*/ 369324 w 4522224"/>
              <a:gd name="connsiteY51" fmla="*/ 1810188 h 6062148"/>
              <a:gd name="connsiteX52" fmla="*/ 338844 w 4522224"/>
              <a:gd name="connsiteY52" fmla="*/ 1756848 h 6062148"/>
              <a:gd name="connsiteX53" fmla="*/ 323604 w 4522224"/>
              <a:gd name="connsiteY53" fmla="*/ 1680648 h 6062148"/>
              <a:gd name="connsiteX54" fmla="*/ 407424 w 4522224"/>
              <a:gd name="connsiteY54" fmla="*/ 1474908 h 6062148"/>
              <a:gd name="connsiteX55" fmla="*/ 437904 w 4522224"/>
              <a:gd name="connsiteY55" fmla="*/ 1307268 h 6062148"/>
              <a:gd name="connsiteX56" fmla="*/ 460764 w 4522224"/>
              <a:gd name="connsiteY56" fmla="*/ 1192968 h 6062148"/>
              <a:gd name="connsiteX57" fmla="*/ 498864 w 4522224"/>
              <a:gd name="connsiteY57" fmla="*/ 1055808 h 6062148"/>
              <a:gd name="connsiteX58" fmla="*/ 552204 w 4522224"/>
              <a:gd name="connsiteY58" fmla="*/ 888168 h 6062148"/>
              <a:gd name="connsiteX59" fmla="*/ 498864 w 4522224"/>
              <a:gd name="connsiteY59" fmla="*/ 888168 h 6062148"/>
              <a:gd name="connsiteX60" fmla="*/ 407424 w 4522224"/>
              <a:gd name="connsiteY60" fmla="*/ 834828 h 6062148"/>
              <a:gd name="connsiteX61" fmla="*/ 323604 w 4522224"/>
              <a:gd name="connsiteY61" fmla="*/ 789108 h 6062148"/>
              <a:gd name="connsiteX62" fmla="*/ 255024 w 4522224"/>
              <a:gd name="connsiteY62" fmla="*/ 773868 h 6062148"/>
              <a:gd name="connsiteX63" fmla="*/ 209304 w 4522224"/>
              <a:gd name="connsiteY63" fmla="*/ 751008 h 6062148"/>
              <a:gd name="connsiteX64" fmla="*/ 255024 w 4522224"/>
              <a:gd name="connsiteY64" fmla="*/ 674808 h 6062148"/>
              <a:gd name="connsiteX65" fmla="*/ 369324 w 4522224"/>
              <a:gd name="connsiteY65" fmla="*/ 606228 h 6062148"/>
              <a:gd name="connsiteX66" fmla="*/ 552204 w 4522224"/>
              <a:gd name="connsiteY66" fmla="*/ 507168 h 6062148"/>
              <a:gd name="connsiteX67" fmla="*/ 651264 w 4522224"/>
              <a:gd name="connsiteY67" fmla="*/ 423348 h 6062148"/>
              <a:gd name="connsiteX68" fmla="*/ 887484 w 4522224"/>
              <a:gd name="connsiteY68" fmla="*/ 232848 h 6062148"/>
              <a:gd name="connsiteX69" fmla="*/ 1169424 w 4522224"/>
              <a:gd name="connsiteY69" fmla="*/ 80448 h 6062148"/>
              <a:gd name="connsiteX70" fmla="*/ 1588524 w 4522224"/>
              <a:gd name="connsiteY70" fmla="*/ 11868 h 6062148"/>
              <a:gd name="connsiteX71" fmla="*/ 1939044 w 4522224"/>
              <a:gd name="connsiteY71" fmla="*/ 4248 h 6062148"/>
              <a:gd name="connsiteX72" fmla="*/ 2167644 w 4522224"/>
              <a:gd name="connsiteY72" fmla="*/ 4248 h 6062148"/>
              <a:gd name="connsiteX73" fmla="*/ 2388624 w 4522224"/>
              <a:gd name="connsiteY73" fmla="*/ 57588 h 6062148"/>
              <a:gd name="connsiteX74" fmla="*/ 2662944 w 4522224"/>
              <a:gd name="connsiteY74" fmla="*/ 133788 h 6062148"/>
              <a:gd name="connsiteX75" fmla="*/ 2815344 w 4522224"/>
              <a:gd name="connsiteY75" fmla="*/ 202368 h 6062148"/>
              <a:gd name="connsiteX76" fmla="*/ 3097284 w 4522224"/>
              <a:gd name="connsiteY76" fmla="*/ 400488 h 6062148"/>
              <a:gd name="connsiteX77" fmla="*/ 3280164 w 4522224"/>
              <a:gd name="connsiteY77" fmla="*/ 651948 h 6062148"/>
              <a:gd name="connsiteX78" fmla="*/ 3402084 w 4522224"/>
              <a:gd name="connsiteY78" fmla="*/ 918648 h 6062148"/>
              <a:gd name="connsiteX79" fmla="*/ 3470664 w 4522224"/>
              <a:gd name="connsiteY79" fmla="*/ 1238688 h 6062148"/>
              <a:gd name="connsiteX80" fmla="*/ 3501144 w 4522224"/>
              <a:gd name="connsiteY80" fmla="*/ 1543488 h 6062148"/>
              <a:gd name="connsiteX81" fmla="*/ 3501144 w 4522224"/>
              <a:gd name="connsiteY81" fmla="*/ 1962588 h 6062148"/>
              <a:gd name="connsiteX82" fmla="*/ 3333504 w 4522224"/>
              <a:gd name="connsiteY82" fmla="*/ 2305488 h 6062148"/>
              <a:gd name="connsiteX83" fmla="*/ 3249684 w 4522224"/>
              <a:gd name="connsiteY83" fmla="*/ 2473128 h 6062148"/>
              <a:gd name="connsiteX84" fmla="*/ 3127764 w 4522224"/>
              <a:gd name="connsiteY84" fmla="*/ 2663628 h 6062148"/>
              <a:gd name="connsiteX85" fmla="*/ 3066804 w 4522224"/>
              <a:gd name="connsiteY85" fmla="*/ 2838888 h 6062148"/>
              <a:gd name="connsiteX86" fmla="*/ 3059184 w 4522224"/>
              <a:gd name="connsiteY86" fmla="*/ 2915088 h 6062148"/>
              <a:gd name="connsiteX87" fmla="*/ 3013464 w 4522224"/>
              <a:gd name="connsiteY87" fmla="*/ 3014148 h 6062148"/>
              <a:gd name="connsiteX88" fmla="*/ 2975364 w 4522224"/>
              <a:gd name="connsiteY88" fmla="*/ 3082728 h 6062148"/>
              <a:gd name="connsiteX89" fmla="*/ 2952504 w 4522224"/>
              <a:gd name="connsiteY89" fmla="*/ 3120828 h 6062148"/>
              <a:gd name="connsiteX90" fmla="*/ 2952504 w 4522224"/>
              <a:gd name="connsiteY90" fmla="*/ 3555168 h 6062148"/>
              <a:gd name="connsiteX91" fmla="*/ 2952504 w 4522224"/>
              <a:gd name="connsiteY91" fmla="*/ 3562788 h 6062148"/>
              <a:gd name="connsiteX92" fmla="*/ 3005844 w 4522224"/>
              <a:gd name="connsiteY92" fmla="*/ 3539928 h 6062148"/>
              <a:gd name="connsiteX93" fmla="*/ 3059184 w 4522224"/>
              <a:gd name="connsiteY93" fmla="*/ 3562788 h 6062148"/>
              <a:gd name="connsiteX94" fmla="*/ 3104904 w 4522224"/>
              <a:gd name="connsiteY94" fmla="*/ 3570408 h 6062148"/>
              <a:gd name="connsiteX95" fmla="*/ 3135384 w 4522224"/>
              <a:gd name="connsiteY95" fmla="*/ 3631368 h 6062148"/>
              <a:gd name="connsiteX96" fmla="*/ 3112524 w 4522224"/>
              <a:gd name="connsiteY96" fmla="*/ 3738048 h 6062148"/>
              <a:gd name="connsiteX97" fmla="*/ 3120144 w 4522224"/>
              <a:gd name="connsiteY97" fmla="*/ 4103808 h 6062148"/>
              <a:gd name="connsiteX98" fmla="*/ 3112524 w 4522224"/>
              <a:gd name="connsiteY98" fmla="*/ 4119048 h 6062148"/>
              <a:gd name="connsiteX99" fmla="*/ 3158244 w 4522224"/>
              <a:gd name="connsiteY99" fmla="*/ 4157148 h 6062148"/>
              <a:gd name="connsiteX100" fmla="*/ 3196344 w 4522224"/>
              <a:gd name="connsiteY100" fmla="*/ 4164768 h 6062148"/>
              <a:gd name="connsiteX101" fmla="*/ 3226824 w 4522224"/>
              <a:gd name="connsiteY101" fmla="*/ 4172388 h 6062148"/>
              <a:gd name="connsiteX102" fmla="*/ 3280164 w 4522224"/>
              <a:gd name="connsiteY102" fmla="*/ 4294308 h 6062148"/>
              <a:gd name="connsiteX103" fmla="*/ 3295404 w 4522224"/>
              <a:gd name="connsiteY103" fmla="*/ 4347648 h 6062148"/>
              <a:gd name="connsiteX104" fmla="*/ 3325884 w 4522224"/>
              <a:gd name="connsiteY104" fmla="*/ 4408608 h 6062148"/>
              <a:gd name="connsiteX105" fmla="*/ 3546864 w 4522224"/>
              <a:gd name="connsiteY105" fmla="*/ 4644828 h 6062148"/>
              <a:gd name="connsiteX106" fmla="*/ 3882144 w 4522224"/>
              <a:gd name="connsiteY106" fmla="*/ 5025828 h 6062148"/>
              <a:gd name="connsiteX107" fmla="*/ 4095504 w 4522224"/>
              <a:gd name="connsiteY107" fmla="*/ 5300148 h 6062148"/>
              <a:gd name="connsiteX108" fmla="*/ 4362204 w 4522224"/>
              <a:gd name="connsiteY108" fmla="*/ 5726868 h 6062148"/>
              <a:gd name="connsiteX109" fmla="*/ 4522224 w 4522224"/>
              <a:gd name="connsiteY109" fmla="*/ 6046908 h 6062148"/>
              <a:gd name="connsiteX0" fmla="*/ 323604 w 4522224"/>
              <a:gd name="connsiteY0" fmla="*/ 6062148 h 6062148"/>
              <a:gd name="connsiteX1" fmla="*/ 376944 w 4522224"/>
              <a:gd name="connsiteY1" fmla="*/ 5924988 h 6062148"/>
              <a:gd name="connsiteX2" fmla="*/ 437904 w 4522224"/>
              <a:gd name="connsiteY2" fmla="*/ 5780208 h 6062148"/>
              <a:gd name="connsiteX3" fmla="*/ 468384 w 4522224"/>
              <a:gd name="connsiteY3" fmla="*/ 5665908 h 6062148"/>
              <a:gd name="connsiteX4" fmla="*/ 506484 w 4522224"/>
              <a:gd name="connsiteY4" fmla="*/ 5612568 h 6062148"/>
              <a:gd name="connsiteX5" fmla="*/ 536964 w 4522224"/>
              <a:gd name="connsiteY5" fmla="*/ 5521128 h 6062148"/>
              <a:gd name="connsiteX6" fmla="*/ 559824 w 4522224"/>
              <a:gd name="connsiteY6" fmla="*/ 5353488 h 6062148"/>
              <a:gd name="connsiteX7" fmla="*/ 597924 w 4522224"/>
              <a:gd name="connsiteY7" fmla="*/ 5223948 h 6062148"/>
              <a:gd name="connsiteX8" fmla="*/ 620784 w 4522224"/>
              <a:gd name="connsiteY8" fmla="*/ 5178228 h 6062148"/>
              <a:gd name="connsiteX9" fmla="*/ 696984 w 4522224"/>
              <a:gd name="connsiteY9" fmla="*/ 5071548 h 6062148"/>
              <a:gd name="connsiteX10" fmla="*/ 712224 w 4522224"/>
              <a:gd name="connsiteY10" fmla="*/ 5063928 h 6062148"/>
              <a:gd name="connsiteX11" fmla="*/ 704604 w 4522224"/>
              <a:gd name="connsiteY11" fmla="*/ 5025828 h 6062148"/>
              <a:gd name="connsiteX12" fmla="*/ 696984 w 4522224"/>
              <a:gd name="connsiteY12" fmla="*/ 5002968 h 6062148"/>
              <a:gd name="connsiteX13" fmla="*/ 963684 w 4522224"/>
              <a:gd name="connsiteY13" fmla="*/ 4682928 h 6062148"/>
              <a:gd name="connsiteX14" fmla="*/ 956064 w 4522224"/>
              <a:gd name="connsiteY14" fmla="*/ 4644828 h 6062148"/>
              <a:gd name="connsiteX15" fmla="*/ 1337064 w 4522224"/>
              <a:gd name="connsiteY15" fmla="*/ 4172388 h 6062148"/>
              <a:gd name="connsiteX16" fmla="*/ 1253244 w 4522224"/>
              <a:gd name="connsiteY16" fmla="*/ 4012368 h 6062148"/>
              <a:gd name="connsiteX17" fmla="*/ 1199904 w 4522224"/>
              <a:gd name="connsiteY17" fmla="*/ 3928548 h 6062148"/>
              <a:gd name="connsiteX18" fmla="*/ 1169424 w 4522224"/>
              <a:gd name="connsiteY18" fmla="*/ 3768528 h 6062148"/>
              <a:gd name="connsiteX19" fmla="*/ 1146564 w 4522224"/>
              <a:gd name="connsiteY19" fmla="*/ 3699948 h 6062148"/>
              <a:gd name="connsiteX20" fmla="*/ 1138944 w 4522224"/>
              <a:gd name="connsiteY20" fmla="*/ 3669468 h 6062148"/>
              <a:gd name="connsiteX21" fmla="*/ 1062744 w 4522224"/>
              <a:gd name="connsiteY21" fmla="*/ 3661848 h 6062148"/>
              <a:gd name="connsiteX22" fmla="*/ 933204 w 4522224"/>
              <a:gd name="connsiteY22" fmla="*/ 3669468 h 6062148"/>
              <a:gd name="connsiteX23" fmla="*/ 826524 w 4522224"/>
              <a:gd name="connsiteY23" fmla="*/ 3692328 h 6062148"/>
              <a:gd name="connsiteX24" fmla="*/ 605544 w 4522224"/>
              <a:gd name="connsiteY24" fmla="*/ 3738048 h 6062148"/>
              <a:gd name="connsiteX25" fmla="*/ 384564 w 4522224"/>
              <a:gd name="connsiteY25" fmla="*/ 3638988 h 6062148"/>
              <a:gd name="connsiteX26" fmla="*/ 376944 w 4522224"/>
              <a:gd name="connsiteY26" fmla="*/ 3326568 h 6062148"/>
              <a:gd name="connsiteX27" fmla="*/ 415044 w 4522224"/>
              <a:gd name="connsiteY27" fmla="*/ 3227508 h 6062148"/>
              <a:gd name="connsiteX28" fmla="*/ 384564 w 4522224"/>
              <a:gd name="connsiteY28" fmla="*/ 3166548 h 6062148"/>
              <a:gd name="connsiteX29" fmla="*/ 361704 w 4522224"/>
              <a:gd name="connsiteY29" fmla="*/ 3166548 h 6062148"/>
              <a:gd name="connsiteX30" fmla="*/ 346464 w 4522224"/>
              <a:gd name="connsiteY30" fmla="*/ 3105588 h 6062148"/>
              <a:gd name="connsiteX31" fmla="*/ 392184 w 4522224"/>
              <a:gd name="connsiteY31" fmla="*/ 3021768 h 6062148"/>
              <a:gd name="connsiteX32" fmla="*/ 483624 w 4522224"/>
              <a:gd name="connsiteY32" fmla="*/ 2998908 h 6062148"/>
              <a:gd name="connsiteX33" fmla="*/ 460764 w 4522224"/>
              <a:gd name="connsiteY33" fmla="*/ 2930328 h 6062148"/>
              <a:gd name="connsiteX34" fmla="*/ 430284 w 4522224"/>
              <a:gd name="connsiteY34" fmla="*/ 2930328 h 6062148"/>
              <a:gd name="connsiteX35" fmla="*/ 384564 w 4522224"/>
              <a:gd name="connsiteY35" fmla="*/ 2930328 h 6062148"/>
              <a:gd name="connsiteX36" fmla="*/ 300744 w 4522224"/>
              <a:gd name="connsiteY36" fmla="*/ 2876988 h 6062148"/>
              <a:gd name="connsiteX37" fmla="*/ 315984 w 4522224"/>
              <a:gd name="connsiteY37" fmla="*/ 2846508 h 6062148"/>
              <a:gd name="connsiteX38" fmla="*/ 323604 w 4522224"/>
              <a:gd name="connsiteY38" fmla="*/ 2793168 h 6062148"/>
              <a:gd name="connsiteX39" fmla="*/ 308364 w 4522224"/>
              <a:gd name="connsiteY39" fmla="*/ 2732208 h 6062148"/>
              <a:gd name="connsiteX40" fmla="*/ 262644 w 4522224"/>
              <a:gd name="connsiteY40" fmla="*/ 2671248 h 6062148"/>
              <a:gd name="connsiteX41" fmla="*/ 171204 w 4522224"/>
              <a:gd name="connsiteY41" fmla="*/ 2656008 h 6062148"/>
              <a:gd name="connsiteX42" fmla="*/ 49284 w 4522224"/>
              <a:gd name="connsiteY42" fmla="*/ 2610288 h 6062148"/>
              <a:gd name="connsiteX43" fmla="*/ 18804 w 4522224"/>
              <a:gd name="connsiteY43" fmla="*/ 2556948 h 6062148"/>
              <a:gd name="connsiteX44" fmla="*/ 3564 w 4522224"/>
              <a:gd name="connsiteY44" fmla="*/ 2488368 h 6062148"/>
              <a:gd name="connsiteX45" fmla="*/ 87384 w 4522224"/>
              <a:gd name="connsiteY45" fmla="*/ 2335968 h 6062148"/>
              <a:gd name="connsiteX46" fmla="*/ 216924 w 4522224"/>
              <a:gd name="connsiteY46" fmla="*/ 2175948 h 6062148"/>
              <a:gd name="connsiteX47" fmla="*/ 277884 w 4522224"/>
              <a:gd name="connsiteY47" fmla="*/ 2084508 h 6062148"/>
              <a:gd name="connsiteX48" fmla="*/ 323604 w 4522224"/>
              <a:gd name="connsiteY48" fmla="*/ 1977828 h 6062148"/>
              <a:gd name="connsiteX49" fmla="*/ 354084 w 4522224"/>
              <a:gd name="connsiteY49" fmla="*/ 1871148 h 6062148"/>
              <a:gd name="connsiteX50" fmla="*/ 369324 w 4522224"/>
              <a:gd name="connsiteY50" fmla="*/ 1810188 h 6062148"/>
              <a:gd name="connsiteX51" fmla="*/ 338844 w 4522224"/>
              <a:gd name="connsiteY51" fmla="*/ 1756848 h 6062148"/>
              <a:gd name="connsiteX52" fmla="*/ 323604 w 4522224"/>
              <a:gd name="connsiteY52" fmla="*/ 1680648 h 6062148"/>
              <a:gd name="connsiteX53" fmla="*/ 407424 w 4522224"/>
              <a:gd name="connsiteY53" fmla="*/ 1474908 h 6062148"/>
              <a:gd name="connsiteX54" fmla="*/ 437904 w 4522224"/>
              <a:gd name="connsiteY54" fmla="*/ 1307268 h 6062148"/>
              <a:gd name="connsiteX55" fmla="*/ 460764 w 4522224"/>
              <a:gd name="connsiteY55" fmla="*/ 1192968 h 6062148"/>
              <a:gd name="connsiteX56" fmla="*/ 498864 w 4522224"/>
              <a:gd name="connsiteY56" fmla="*/ 1055808 h 6062148"/>
              <a:gd name="connsiteX57" fmla="*/ 552204 w 4522224"/>
              <a:gd name="connsiteY57" fmla="*/ 888168 h 6062148"/>
              <a:gd name="connsiteX58" fmla="*/ 498864 w 4522224"/>
              <a:gd name="connsiteY58" fmla="*/ 888168 h 6062148"/>
              <a:gd name="connsiteX59" fmla="*/ 407424 w 4522224"/>
              <a:gd name="connsiteY59" fmla="*/ 834828 h 6062148"/>
              <a:gd name="connsiteX60" fmla="*/ 323604 w 4522224"/>
              <a:gd name="connsiteY60" fmla="*/ 789108 h 6062148"/>
              <a:gd name="connsiteX61" fmla="*/ 255024 w 4522224"/>
              <a:gd name="connsiteY61" fmla="*/ 773868 h 6062148"/>
              <a:gd name="connsiteX62" fmla="*/ 209304 w 4522224"/>
              <a:gd name="connsiteY62" fmla="*/ 751008 h 6062148"/>
              <a:gd name="connsiteX63" fmla="*/ 255024 w 4522224"/>
              <a:gd name="connsiteY63" fmla="*/ 674808 h 6062148"/>
              <a:gd name="connsiteX64" fmla="*/ 369324 w 4522224"/>
              <a:gd name="connsiteY64" fmla="*/ 606228 h 6062148"/>
              <a:gd name="connsiteX65" fmla="*/ 552204 w 4522224"/>
              <a:gd name="connsiteY65" fmla="*/ 507168 h 6062148"/>
              <a:gd name="connsiteX66" fmla="*/ 651264 w 4522224"/>
              <a:gd name="connsiteY66" fmla="*/ 423348 h 6062148"/>
              <a:gd name="connsiteX67" fmla="*/ 887484 w 4522224"/>
              <a:gd name="connsiteY67" fmla="*/ 232848 h 6062148"/>
              <a:gd name="connsiteX68" fmla="*/ 1169424 w 4522224"/>
              <a:gd name="connsiteY68" fmla="*/ 80448 h 6062148"/>
              <a:gd name="connsiteX69" fmla="*/ 1588524 w 4522224"/>
              <a:gd name="connsiteY69" fmla="*/ 11868 h 6062148"/>
              <a:gd name="connsiteX70" fmla="*/ 1939044 w 4522224"/>
              <a:gd name="connsiteY70" fmla="*/ 4248 h 6062148"/>
              <a:gd name="connsiteX71" fmla="*/ 2167644 w 4522224"/>
              <a:gd name="connsiteY71" fmla="*/ 4248 h 6062148"/>
              <a:gd name="connsiteX72" fmla="*/ 2388624 w 4522224"/>
              <a:gd name="connsiteY72" fmla="*/ 57588 h 6062148"/>
              <a:gd name="connsiteX73" fmla="*/ 2662944 w 4522224"/>
              <a:gd name="connsiteY73" fmla="*/ 133788 h 6062148"/>
              <a:gd name="connsiteX74" fmla="*/ 2815344 w 4522224"/>
              <a:gd name="connsiteY74" fmla="*/ 202368 h 6062148"/>
              <a:gd name="connsiteX75" fmla="*/ 3097284 w 4522224"/>
              <a:gd name="connsiteY75" fmla="*/ 400488 h 6062148"/>
              <a:gd name="connsiteX76" fmla="*/ 3280164 w 4522224"/>
              <a:gd name="connsiteY76" fmla="*/ 651948 h 6062148"/>
              <a:gd name="connsiteX77" fmla="*/ 3402084 w 4522224"/>
              <a:gd name="connsiteY77" fmla="*/ 918648 h 6062148"/>
              <a:gd name="connsiteX78" fmla="*/ 3470664 w 4522224"/>
              <a:gd name="connsiteY78" fmla="*/ 1238688 h 6062148"/>
              <a:gd name="connsiteX79" fmla="*/ 3501144 w 4522224"/>
              <a:gd name="connsiteY79" fmla="*/ 1543488 h 6062148"/>
              <a:gd name="connsiteX80" fmla="*/ 3501144 w 4522224"/>
              <a:gd name="connsiteY80" fmla="*/ 1962588 h 6062148"/>
              <a:gd name="connsiteX81" fmla="*/ 3333504 w 4522224"/>
              <a:gd name="connsiteY81" fmla="*/ 2305488 h 6062148"/>
              <a:gd name="connsiteX82" fmla="*/ 3249684 w 4522224"/>
              <a:gd name="connsiteY82" fmla="*/ 2473128 h 6062148"/>
              <a:gd name="connsiteX83" fmla="*/ 3127764 w 4522224"/>
              <a:gd name="connsiteY83" fmla="*/ 2663628 h 6062148"/>
              <a:gd name="connsiteX84" fmla="*/ 3066804 w 4522224"/>
              <a:gd name="connsiteY84" fmla="*/ 2838888 h 6062148"/>
              <a:gd name="connsiteX85" fmla="*/ 3059184 w 4522224"/>
              <a:gd name="connsiteY85" fmla="*/ 2915088 h 6062148"/>
              <a:gd name="connsiteX86" fmla="*/ 3013464 w 4522224"/>
              <a:gd name="connsiteY86" fmla="*/ 3014148 h 6062148"/>
              <a:gd name="connsiteX87" fmla="*/ 2975364 w 4522224"/>
              <a:gd name="connsiteY87" fmla="*/ 3082728 h 6062148"/>
              <a:gd name="connsiteX88" fmla="*/ 2952504 w 4522224"/>
              <a:gd name="connsiteY88" fmla="*/ 3120828 h 6062148"/>
              <a:gd name="connsiteX89" fmla="*/ 2952504 w 4522224"/>
              <a:gd name="connsiteY89" fmla="*/ 3555168 h 6062148"/>
              <a:gd name="connsiteX90" fmla="*/ 2952504 w 4522224"/>
              <a:gd name="connsiteY90" fmla="*/ 3562788 h 6062148"/>
              <a:gd name="connsiteX91" fmla="*/ 3005844 w 4522224"/>
              <a:gd name="connsiteY91" fmla="*/ 3539928 h 6062148"/>
              <a:gd name="connsiteX92" fmla="*/ 3059184 w 4522224"/>
              <a:gd name="connsiteY92" fmla="*/ 3562788 h 6062148"/>
              <a:gd name="connsiteX93" fmla="*/ 3104904 w 4522224"/>
              <a:gd name="connsiteY93" fmla="*/ 3570408 h 6062148"/>
              <a:gd name="connsiteX94" fmla="*/ 3135384 w 4522224"/>
              <a:gd name="connsiteY94" fmla="*/ 3631368 h 6062148"/>
              <a:gd name="connsiteX95" fmla="*/ 3112524 w 4522224"/>
              <a:gd name="connsiteY95" fmla="*/ 3738048 h 6062148"/>
              <a:gd name="connsiteX96" fmla="*/ 3120144 w 4522224"/>
              <a:gd name="connsiteY96" fmla="*/ 4103808 h 6062148"/>
              <a:gd name="connsiteX97" fmla="*/ 3112524 w 4522224"/>
              <a:gd name="connsiteY97" fmla="*/ 4119048 h 6062148"/>
              <a:gd name="connsiteX98" fmla="*/ 3158244 w 4522224"/>
              <a:gd name="connsiteY98" fmla="*/ 4157148 h 6062148"/>
              <a:gd name="connsiteX99" fmla="*/ 3196344 w 4522224"/>
              <a:gd name="connsiteY99" fmla="*/ 4164768 h 6062148"/>
              <a:gd name="connsiteX100" fmla="*/ 3226824 w 4522224"/>
              <a:gd name="connsiteY100" fmla="*/ 4172388 h 6062148"/>
              <a:gd name="connsiteX101" fmla="*/ 3280164 w 4522224"/>
              <a:gd name="connsiteY101" fmla="*/ 4294308 h 6062148"/>
              <a:gd name="connsiteX102" fmla="*/ 3295404 w 4522224"/>
              <a:gd name="connsiteY102" fmla="*/ 4347648 h 6062148"/>
              <a:gd name="connsiteX103" fmla="*/ 3325884 w 4522224"/>
              <a:gd name="connsiteY103" fmla="*/ 4408608 h 6062148"/>
              <a:gd name="connsiteX104" fmla="*/ 3546864 w 4522224"/>
              <a:gd name="connsiteY104" fmla="*/ 4644828 h 6062148"/>
              <a:gd name="connsiteX105" fmla="*/ 3882144 w 4522224"/>
              <a:gd name="connsiteY105" fmla="*/ 5025828 h 6062148"/>
              <a:gd name="connsiteX106" fmla="*/ 4095504 w 4522224"/>
              <a:gd name="connsiteY106" fmla="*/ 5300148 h 6062148"/>
              <a:gd name="connsiteX107" fmla="*/ 4362204 w 4522224"/>
              <a:gd name="connsiteY107" fmla="*/ 5726868 h 6062148"/>
              <a:gd name="connsiteX108" fmla="*/ 4522224 w 4522224"/>
              <a:gd name="connsiteY108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66706 w 4527226"/>
              <a:gd name="connsiteY29" fmla="*/ 3166548 h 6062148"/>
              <a:gd name="connsiteX30" fmla="*/ 351466 w 4527226"/>
              <a:gd name="connsiteY30" fmla="*/ 3105588 h 6062148"/>
              <a:gd name="connsiteX31" fmla="*/ 397186 w 4527226"/>
              <a:gd name="connsiteY31" fmla="*/ 3021768 h 6062148"/>
              <a:gd name="connsiteX32" fmla="*/ 488626 w 4527226"/>
              <a:gd name="connsiteY32" fmla="*/ 2998908 h 6062148"/>
              <a:gd name="connsiteX33" fmla="*/ 465766 w 4527226"/>
              <a:gd name="connsiteY33" fmla="*/ 2930328 h 6062148"/>
              <a:gd name="connsiteX34" fmla="*/ 435286 w 4527226"/>
              <a:gd name="connsiteY34" fmla="*/ 2930328 h 6062148"/>
              <a:gd name="connsiteX35" fmla="*/ 389566 w 4527226"/>
              <a:gd name="connsiteY35" fmla="*/ 2930328 h 6062148"/>
              <a:gd name="connsiteX36" fmla="*/ 305746 w 4527226"/>
              <a:gd name="connsiteY36" fmla="*/ 2876988 h 6062148"/>
              <a:gd name="connsiteX37" fmla="*/ 320986 w 4527226"/>
              <a:gd name="connsiteY37" fmla="*/ 2846508 h 6062148"/>
              <a:gd name="connsiteX38" fmla="*/ 328606 w 4527226"/>
              <a:gd name="connsiteY38" fmla="*/ 2793168 h 6062148"/>
              <a:gd name="connsiteX39" fmla="*/ 313366 w 4527226"/>
              <a:gd name="connsiteY39" fmla="*/ 2732208 h 6062148"/>
              <a:gd name="connsiteX40" fmla="*/ 267646 w 4527226"/>
              <a:gd name="connsiteY40" fmla="*/ 2671248 h 6062148"/>
              <a:gd name="connsiteX41" fmla="*/ 176206 w 4527226"/>
              <a:gd name="connsiteY41" fmla="*/ 2656008 h 6062148"/>
              <a:gd name="connsiteX42" fmla="*/ 54286 w 4527226"/>
              <a:gd name="connsiteY42" fmla="*/ 2610288 h 6062148"/>
              <a:gd name="connsiteX43" fmla="*/ 7931 w 4527226"/>
              <a:gd name="connsiteY43" fmla="*/ 2563298 h 6062148"/>
              <a:gd name="connsiteX44" fmla="*/ 8566 w 4527226"/>
              <a:gd name="connsiteY44" fmla="*/ 2488368 h 6062148"/>
              <a:gd name="connsiteX45" fmla="*/ 92386 w 4527226"/>
              <a:gd name="connsiteY45" fmla="*/ 2335968 h 6062148"/>
              <a:gd name="connsiteX46" fmla="*/ 221926 w 4527226"/>
              <a:gd name="connsiteY46" fmla="*/ 2175948 h 6062148"/>
              <a:gd name="connsiteX47" fmla="*/ 282886 w 4527226"/>
              <a:gd name="connsiteY47" fmla="*/ 2084508 h 6062148"/>
              <a:gd name="connsiteX48" fmla="*/ 328606 w 4527226"/>
              <a:gd name="connsiteY48" fmla="*/ 1977828 h 6062148"/>
              <a:gd name="connsiteX49" fmla="*/ 359086 w 4527226"/>
              <a:gd name="connsiteY49" fmla="*/ 1871148 h 6062148"/>
              <a:gd name="connsiteX50" fmla="*/ 374326 w 4527226"/>
              <a:gd name="connsiteY50" fmla="*/ 1810188 h 6062148"/>
              <a:gd name="connsiteX51" fmla="*/ 343846 w 4527226"/>
              <a:gd name="connsiteY51" fmla="*/ 1756848 h 6062148"/>
              <a:gd name="connsiteX52" fmla="*/ 328606 w 4527226"/>
              <a:gd name="connsiteY52" fmla="*/ 1680648 h 6062148"/>
              <a:gd name="connsiteX53" fmla="*/ 412426 w 4527226"/>
              <a:gd name="connsiteY53" fmla="*/ 1474908 h 6062148"/>
              <a:gd name="connsiteX54" fmla="*/ 442906 w 4527226"/>
              <a:gd name="connsiteY54" fmla="*/ 1307268 h 6062148"/>
              <a:gd name="connsiteX55" fmla="*/ 465766 w 4527226"/>
              <a:gd name="connsiteY55" fmla="*/ 1192968 h 6062148"/>
              <a:gd name="connsiteX56" fmla="*/ 503866 w 4527226"/>
              <a:gd name="connsiteY56" fmla="*/ 1055808 h 6062148"/>
              <a:gd name="connsiteX57" fmla="*/ 557206 w 4527226"/>
              <a:gd name="connsiteY57" fmla="*/ 888168 h 6062148"/>
              <a:gd name="connsiteX58" fmla="*/ 503866 w 4527226"/>
              <a:gd name="connsiteY58" fmla="*/ 888168 h 6062148"/>
              <a:gd name="connsiteX59" fmla="*/ 412426 w 4527226"/>
              <a:gd name="connsiteY59" fmla="*/ 834828 h 6062148"/>
              <a:gd name="connsiteX60" fmla="*/ 328606 w 4527226"/>
              <a:gd name="connsiteY60" fmla="*/ 789108 h 6062148"/>
              <a:gd name="connsiteX61" fmla="*/ 260026 w 4527226"/>
              <a:gd name="connsiteY61" fmla="*/ 773868 h 6062148"/>
              <a:gd name="connsiteX62" fmla="*/ 214306 w 4527226"/>
              <a:gd name="connsiteY62" fmla="*/ 751008 h 6062148"/>
              <a:gd name="connsiteX63" fmla="*/ 260026 w 4527226"/>
              <a:gd name="connsiteY63" fmla="*/ 674808 h 6062148"/>
              <a:gd name="connsiteX64" fmla="*/ 374326 w 4527226"/>
              <a:gd name="connsiteY64" fmla="*/ 606228 h 6062148"/>
              <a:gd name="connsiteX65" fmla="*/ 557206 w 4527226"/>
              <a:gd name="connsiteY65" fmla="*/ 507168 h 6062148"/>
              <a:gd name="connsiteX66" fmla="*/ 656266 w 4527226"/>
              <a:gd name="connsiteY66" fmla="*/ 423348 h 6062148"/>
              <a:gd name="connsiteX67" fmla="*/ 892486 w 4527226"/>
              <a:gd name="connsiteY67" fmla="*/ 232848 h 6062148"/>
              <a:gd name="connsiteX68" fmla="*/ 1174426 w 4527226"/>
              <a:gd name="connsiteY68" fmla="*/ 80448 h 6062148"/>
              <a:gd name="connsiteX69" fmla="*/ 1593526 w 4527226"/>
              <a:gd name="connsiteY69" fmla="*/ 11868 h 6062148"/>
              <a:gd name="connsiteX70" fmla="*/ 1944046 w 4527226"/>
              <a:gd name="connsiteY70" fmla="*/ 4248 h 6062148"/>
              <a:gd name="connsiteX71" fmla="*/ 2172646 w 4527226"/>
              <a:gd name="connsiteY71" fmla="*/ 4248 h 6062148"/>
              <a:gd name="connsiteX72" fmla="*/ 2393626 w 4527226"/>
              <a:gd name="connsiteY72" fmla="*/ 57588 h 6062148"/>
              <a:gd name="connsiteX73" fmla="*/ 2667946 w 4527226"/>
              <a:gd name="connsiteY73" fmla="*/ 133788 h 6062148"/>
              <a:gd name="connsiteX74" fmla="*/ 2820346 w 4527226"/>
              <a:gd name="connsiteY74" fmla="*/ 202368 h 6062148"/>
              <a:gd name="connsiteX75" fmla="*/ 3102286 w 4527226"/>
              <a:gd name="connsiteY75" fmla="*/ 400488 h 6062148"/>
              <a:gd name="connsiteX76" fmla="*/ 3285166 w 4527226"/>
              <a:gd name="connsiteY76" fmla="*/ 651948 h 6062148"/>
              <a:gd name="connsiteX77" fmla="*/ 3407086 w 4527226"/>
              <a:gd name="connsiteY77" fmla="*/ 918648 h 6062148"/>
              <a:gd name="connsiteX78" fmla="*/ 3475666 w 4527226"/>
              <a:gd name="connsiteY78" fmla="*/ 1238688 h 6062148"/>
              <a:gd name="connsiteX79" fmla="*/ 3506146 w 4527226"/>
              <a:gd name="connsiteY79" fmla="*/ 1543488 h 6062148"/>
              <a:gd name="connsiteX80" fmla="*/ 3506146 w 4527226"/>
              <a:gd name="connsiteY80" fmla="*/ 1962588 h 6062148"/>
              <a:gd name="connsiteX81" fmla="*/ 3338506 w 4527226"/>
              <a:gd name="connsiteY81" fmla="*/ 2305488 h 6062148"/>
              <a:gd name="connsiteX82" fmla="*/ 3254686 w 4527226"/>
              <a:gd name="connsiteY82" fmla="*/ 2473128 h 6062148"/>
              <a:gd name="connsiteX83" fmla="*/ 3132766 w 4527226"/>
              <a:gd name="connsiteY83" fmla="*/ 2663628 h 6062148"/>
              <a:gd name="connsiteX84" fmla="*/ 3071806 w 4527226"/>
              <a:gd name="connsiteY84" fmla="*/ 2838888 h 6062148"/>
              <a:gd name="connsiteX85" fmla="*/ 3064186 w 4527226"/>
              <a:gd name="connsiteY85" fmla="*/ 2915088 h 6062148"/>
              <a:gd name="connsiteX86" fmla="*/ 3018466 w 4527226"/>
              <a:gd name="connsiteY86" fmla="*/ 3014148 h 6062148"/>
              <a:gd name="connsiteX87" fmla="*/ 2980366 w 4527226"/>
              <a:gd name="connsiteY87" fmla="*/ 3082728 h 6062148"/>
              <a:gd name="connsiteX88" fmla="*/ 2957506 w 4527226"/>
              <a:gd name="connsiteY88" fmla="*/ 3120828 h 6062148"/>
              <a:gd name="connsiteX89" fmla="*/ 2957506 w 4527226"/>
              <a:gd name="connsiteY89" fmla="*/ 3555168 h 6062148"/>
              <a:gd name="connsiteX90" fmla="*/ 2957506 w 4527226"/>
              <a:gd name="connsiteY90" fmla="*/ 3562788 h 6062148"/>
              <a:gd name="connsiteX91" fmla="*/ 3010846 w 4527226"/>
              <a:gd name="connsiteY91" fmla="*/ 3539928 h 6062148"/>
              <a:gd name="connsiteX92" fmla="*/ 3064186 w 4527226"/>
              <a:gd name="connsiteY92" fmla="*/ 3562788 h 6062148"/>
              <a:gd name="connsiteX93" fmla="*/ 3109906 w 4527226"/>
              <a:gd name="connsiteY93" fmla="*/ 3570408 h 6062148"/>
              <a:gd name="connsiteX94" fmla="*/ 3140386 w 4527226"/>
              <a:gd name="connsiteY94" fmla="*/ 3631368 h 6062148"/>
              <a:gd name="connsiteX95" fmla="*/ 3117526 w 4527226"/>
              <a:gd name="connsiteY95" fmla="*/ 3738048 h 6062148"/>
              <a:gd name="connsiteX96" fmla="*/ 3125146 w 4527226"/>
              <a:gd name="connsiteY96" fmla="*/ 4103808 h 6062148"/>
              <a:gd name="connsiteX97" fmla="*/ 3117526 w 4527226"/>
              <a:gd name="connsiteY97" fmla="*/ 4119048 h 6062148"/>
              <a:gd name="connsiteX98" fmla="*/ 3163246 w 4527226"/>
              <a:gd name="connsiteY98" fmla="*/ 4157148 h 6062148"/>
              <a:gd name="connsiteX99" fmla="*/ 3201346 w 4527226"/>
              <a:gd name="connsiteY99" fmla="*/ 4164768 h 6062148"/>
              <a:gd name="connsiteX100" fmla="*/ 3231826 w 4527226"/>
              <a:gd name="connsiteY100" fmla="*/ 4172388 h 6062148"/>
              <a:gd name="connsiteX101" fmla="*/ 3285166 w 4527226"/>
              <a:gd name="connsiteY101" fmla="*/ 4294308 h 6062148"/>
              <a:gd name="connsiteX102" fmla="*/ 3300406 w 4527226"/>
              <a:gd name="connsiteY102" fmla="*/ 4347648 h 6062148"/>
              <a:gd name="connsiteX103" fmla="*/ 3330886 w 4527226"/>
              <a:gd name="connsiteY103" fmla="*/ 4408608 h 6062148"/>
              <a:gd name="connsiteX104" fmla="*/ 3551866 w 4527226"/>
              <a:gd name="connsiteY104" fmla="*/ 4644828 h 6062148"/>
              <a:gd name="connsiteX105" fmla="*/ 3887146 w 4527226"/>
              <a:gd name="connsiteY105" fmla="*/ 5025828 h 6062148"/>
              <a:gd name="connsiteX106" fmla="*/ 4100506 w 4527226"/>
              <a:gd name="connsiteY106" fmla="*/ 5300148 h 6062148"/>
              <a:gd name="connsiteX107" fmla="*/ 4367206 w 4527226"/>
              <a:gd name="connsiteY107" fmla="*/ 5726868 h 6062148"/>
              <a:gd name="connsiteX108" fmla="*/ 4527226 w 4527226"/>
              <a:gd name="connsiteY108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65766 w 4527226"/>
              <a:gd name="connsiteY32" fmla="*/ 2930328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05746 w 4527226"/>
              <a:gd name="connsiteY35" fmla="*/ 2876988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2957506 w 4527226"/>
              <a:gd name="connsiteY89" fmla="*/ 3562788 h 6062148"/>
              <a:gd name="connsiteX90" fmla="*/ 3010846 w 4527226"/>
              <a:gd name="connsiteY90" fmla="*/ 3539928 h 6062148"/>
              <a:gd name="connsiteX91" fmla="*/ 3064186 w 4527226"/>
              <a:gd name="connsiteY91" fmla="*/ 3562788 h 6062148"/>
              <a:gd name="connsiteX92" fmla="*/ 3109906 w 4527226"/>
              <a:gd name="connsiteY92" fmla="*/ 3570408 h 6062148"/>
              <a:gd name="connsiteX93" fmla="*/ 3140386 w 4527226"/>
              <a:gd name="connsiteY93" fmla="*/ 3631368 h 6062148"/>
              <a:gd name="connsiteX94" fmla="*/ 3117526 w 4527226"/>
              <a:gd name="connsiteY94" fmla="*/ 3738048 h 6062148"/>
              <a:gd name="connsiteX95" fmla="*/ 3125146 w 4527226"/>
              <a:gd name="connsiteY95" fmla="*/ 4103808 h 6062148"/>
              <a:gd name="connsiteX96" fmla="*/ 3117526 w 4527226"/>
              <a:gd name="connsiteY96" fmla="*/ 4119048 h 6062148"/>
              <a:gd name="connsiteX97" fmla="*/ 3163246 w 4527226"/>
              <a:gd name="connsiteY97" fmla="*/ 4157148 h 6062148"/>
              <a:gd name="connsiteX98" fmla="*/ 3201346 w 4527226"/>
              <a:gd name="connsiteY98" fmla="*/ 4164768 h 6062148"/>
              <a:gd name="connsiteX99" fmla="*/ 3231826 w 4527226"/>
              <a:gd name="connsiteY99" fmla="*/ 4172388 h 6062148"/>
              <a:gd name="connsiteX100" fmla="*/ 3285166 w 4527226"/>
              <a:gd name="connsiteY100" fmla="*/ 4294308 h 6062148"/>
              <a:gd name="connsiteX101" fmla="*/ 3300406 w 4527226"/>
              <a:gd name="connsiteY101" fmla="*/ 4347648 h 6062148"/>
              <a:gd name="connsiteX102" fmla="*/ 3330886 w 4527226"/>
              <a:gd name="connsiteY102" fmla="*/ 4408608 h 6062148"/>
              <a:gd name="connsiteX103" fmla="*/ 3551866 w 4527226"/>
              <a:gd name="connsiteY103" fmla="*/ 4644828 h 6062148"/>
              <a:gd name="connsiteX104" fmla="*/ 3887146 w 4527226"/>
              <a:gd name="connsiteY104" fmla="*/ 5025828 h 6062148"/>
              <a:gd name="connsiteX105" fmla="*/ 4100506 w 4527226"/>
              <a:gd name="connsiteY105" fmla="*/ 5300148 h 6062148"/>
              <a:gd name="connsiteX106" fmla="*/ 4367206 w 4527226"/>
              <a:gd name="connsiteY106" fmla="*/ 5726868 h 6062148"/>
              <a:gd name="connsiteX107" fmla="*/ 4527226 w 4527226"/>
              <a:gd name="connsiteY107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65766 w 4527226"/>
              <a:gd name="connsiteY32" fmla="*/ 2930328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2957506 w 4527226"/>
              <a:gd name="connsiteY89" fmla="*/ 3562788 h 6062148"/>
              <a:gd name="connsiteX90" fmla="*/ 3010846 w 4527226"/>
              <a:gd name="connsiteY90" fmla="*/ 3539928 h 6062148"/>
              <a:gd name="connsiteX91" fmla="*/ 3064186 w 4527226"/>
              <a:gd name="connsiteY91" fmla="*/ 3562788 h 6062148"/>
              <a:gd name="connsiteX92" fmla="*/ 3109906 w 4527226"/>
              <a:gd name="connsiteY92" fmla="*/ 3570408 h 6062148"/>
              <a:gd name="connsiteX93" fmla="*/ 3140386 w 4527226"/>
              <a:gd name="connsiteY93" fmla="*/ 3631368 h 6062148"/>
              <a:gd name="connsiteX94" fmla="*/ 3117526 w 4527226"/>
              <a:gd name="connsiteY94" fmla="*/ 3738048 h 6062148"/>
              <a:gd name="connsiteX95" fmla="*/ 3125146 w 4527226"/>
              <a:gd name="connsiteY95" fmla="*/ 4103808 h 6062148"/>
              <a:gd name="connsiteX96" fmla="*/ 3117526 w 4527226"/>
              <a:gd name="connsiteY96" fmla="*/ 4119048 h 6062148"/>
              <a:gd name="connsiteX97" fmla="*/ 3163246 w 4527226"/>
              <a:gd name="connsiteY97" fmla="*/ 4157148 h 6062148"/>
              <a:gd name="connsiteX98" fmla="*/ 3201346 w 4527226"/>
              <a:gd name="connsiteY98" fmla="*/ 4164768 h 6062148"/>
              <a:gd name="connsiteX99" fmla="*/ 3231826 w 4527226"/>
              <a:gd name="connsiteY99" fmla="*/ 4172388 h 6062148"/>
              <a:gd name="connsiteX100" fmla="*/ 3285166 w 4527226"/>
              <a:gd name="connsiteY100" fmla="*/ 4294308 h 6062148"/>
              <a:gd name="connsiteX101" fmla="*/ 3300406 w 4527226"/>
              <a:gd name="connsiteY101" fmla="*/ 4347648 h 6062148"/>
              <a:gd name="connsiteX102" fmla="*/ 3330886 w 4527226"/>
              <a:gd name="connsiteY102" fmla="*/ 4408608 h 6062148"/>
              <a:gd name="connsiteX103" fmla="*/ 3551866 w 4527226"/>
              <a:gd name="connsiteY103" fmla="*/ 4644828 h 6062148"/>
              <a:gd name="connsiteX104" fmla="*/ 3887146 w 4527226"/>
              <a:gd name="connsiteY104" fmla="*/ 5025828 h 6062148"/>
              <a:gd name="connsiteX105" fmla="*/ 4100506 w 4527226"/>
              <a:gd name="connsiteY105" fmla="*/ 5300148 h 6062148"/>
              <a:gd name="connsiteX106" fmla="*/ 4367206 w 4527226"/>
              <a:gd name="connsiteY106" fmla="*/ 5726868 h 6062148"/>
              <a:gd name="connsiteX107" fmla="*/ 4527226 w 4527226"/>
              <a:gd name="connsiteY107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2957506 w 4527226"/>
              <a:gd name="connsiteY89" fmla="*/ 3562788 h 6062148"/>
              <a:gd name="connsiteX90" fmla="*/ 3010846 w 4527226"/>
              <a:gd name="connsiteY90" fmla="*/ 3539928 h 6062148"/>
              <a:gd name="connsiteX91" fmla="*/ 3064186 w 4527226"/>
              <a:gd name="connsiteY91" fmla="*/ 3562788 h 6062148"/>
              <a:gd name="connsiteX92" fmla="*/ 3109906 w 4527226"/>
              <a:gd name="connsiteY92" fmla="*/ 3570408 h 6062148"/>
              <a:gd name="connsiteX93" fmla="*/ 3140386 w 4527226"/>
              <a:gd name="connsiteY93" fmla="*/ 3631368 h 6062148"/>
              <a:gd name="connsiteX94" fmla="*/ 3117526 w 4527226"/>
              <a:gd name="connsiteY94" fmla="*/ 3738048 h 6062148"/>
              <a:gd name="connsiteX95" fmla="*/ 3125146 w 4527226"/>
              <a:gd name="connsiteY95" fmla="*/ 4103808 h 6062148"/>
              <a:gd name="connsiteX96" fmla="*/ 3117526 w 4527226"/>
              <a:gd name="connsiteY96" fmla="*/ 4119048 h 6062148"/>
              <a:gd name="connsiteX97" fmla="*/ 3163246 w 4527226"/>
              <a:gd name="connsiteY97" fmla="*/ 4157148 h 6062148"/>
              <a:gd name="connsiteX98" fmla="*/ 3201346 w 4527226"/>
              <a:gd name="connsiteY98" fmla="*/ 4164768 h 6062148"/>
              <a:gd name="connsiteX99" fmla="*/ 3231826 w 4527226"/>
              <a:gd name="connsiteY99" fmla="*/ 4172388 h 6062148"/>
              <a:gd name="connsiteX100" fmla="*/ 3285166 w 4527226"/>
              <a:gd name="connsiteY100" fmla="*/ 4294308 h 6062148"/>
              <a:gd name="connsiteX101" fmla="*/ 3300406 w 4527226"/>
              <a:gd name="connsiteY101" fmla="*/ 4347648 h 6062148"/>
              <a:gd name="connsiteX102" fmla="*/ 3330886 w 4527226"/>
              <a:gd name="connsiteY102" fmla="*/ 4408608 h 6062148"/>
              <a:gd name="connsiteX103" fmla="*/ 3551866 w 4527226"/>
              <a:gd name="connsiteY103" fmla="*/ 4644828 h 6062148"/>
              <a:gd name="connsiteX104" fmla="*/ 3887146 w 4527226"/>
              <a:gd name="connsiteY104" fmla="*/ 5025828 h 6062148"/>
              <a:gd name="connsiteX105" fmla="*/ 4100506 w 4527226"/>
              <a:gd name="connsiteY105" fmla="*/ 5300148 h 6062148"/>
              <a:gd name="connsiteX106" fmla="*/ 4367206 w 4527226"/>
              <a:gd name="connsiteY106" fmla="*/ 5726868 h 6062148"/>
              <a:gd name="connsiteX107" fmla="*/ 4527226 w 4527226"/>
              <a:gd name="connsiteY107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3010846 w 4527226"/>
              <a:gd name="connsiteY89" fmla="*/ 3539928 h 6062148"/>
              <a:gd name="connsiteX90" fmla="*/ 3064186 w 4527226"/>
              <a:gd name="connsiteY90" fmla="*/ 3562788 h 6062148"/>
              <a:gd name="connsiteX91" fmla="*/ 3109906 w 4527226"/>
              <a:gd name="connsiteY91" fmla="*/ 3570408 h 6062148"/>
              <a:gd name="connsiteX92" fmla="*/ 3140386 w 4527226"/>
              <a:gd name="connsiteY92" fmla="*/ 3631368 h 6062148"/>
              <a:gd name="connsiteX93" fmla="*/ 3117526 w 4527226"/>
              <a:gd name="connsiteY93" fmla="*/ 3738048 h 6062148"/>
              <a:gd name="connsiteX94" fmla="*/ 3125146 w 4527226"/>
              <a:gd name="connsiteY94" fmla="*/ 4103808 h 6062148"/>
              <a:gd name="connsiteX95" fmla="*/ 3117526 w 4527226"/>
              <a:gd name="connsiteY95" fmla="*/ 4119048 h 6062148"/>
              <a:gd name="connsiteX96" fmla="*/ 3163246 w 4527226"/>
              <a:gd name="connsiteY96" fmla="*/ 4157148 h 6062148"/>
              <a:gd name="connsiteX97" fmla="*/ 3201346 w 4527226"/>
              <a:gd name="connsiteY97" fmla="*/ 4164768 h 6062148"/>
              <a:gd name="connsiteX98" fmla="*/ 3231826 w 4527226"/>
              <a:gd name="connsiteY98" fmla="*/ 4172388 h 6062148"/>
              <a:gd name="connsiteX99" fmla="*/ 3285166 w 4527226"/>
              <a:gd name="connsiteY99" fmla="*/ 4294308 h 6062148"/>
              <a:gd name="connsiteX100" fmla="*/ 3300406 w 4527226"/>
              <a:gd name="connsiteY100" fmla="*/ 4347648 h 6062148"/>
              <a:gd name="connsiteX101" fmla="*/ 3330886 w 4527226"/>
              <a:gd name="connsiteY101" fmla="*/ 4408608 h 6062148"/>
              <a:gd name="connsiteX102" fmla="*/ 3551866 w 4527226"/>
              <a:gd name="connsiteY102" fmla="*/ 4644828 h 6062148"/>
              <a:gd name="connsiteX103" fmla="*/ 3887146 w 4527226"/>
              <a:gd name="connsiteY103" fmla="*/ 5025828 h 6062148"/>
              <a:gd name="connsiteX104" fmla="*/ 4100506 w 4527226"/>
              <a:gd name="connsiteY104" fmla="*/ 5300148 h 6062148"/>
              <a:gd name="connsiteX105" fmla="*/ 4367206 w 4527226"/>
              <a:gd name="connsiteY105" fmla="*/ 5726868 h 6062148"/>
              <a:gd name="connsiteX106" fmla="*/ 4527226 w 4527226"/>
              <a:gd name="connsiteY106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3010846 w 4527226"/>
              <a:gd name="connsiteY89" fmla="*/ 3539928 h 6062148"/>
              <a:gd name="connsiteX90" fmla="*/ 3109906 w 4527226"/>
              <a:gd name="connsiteY90" fmla="*/ 3570408 h 6062148"/>
              <a:gd name="connsiteX91" fmla="*/ 3140386 w 4527226"/>
              <a:gd name="connsiteY91" fmla="*/ 3631368 h 6062148"/>
              <a:gd name="connsiteX92" fmla="*/ 3117526 w 4527226"/>
              <a:gd name="connsiteY92" fmla="*/ 3738048 h 6062148"/>
              <a:gd name="connsiteX93" fmla="*/ 3125146 w 4527226"/>
              <a:gd name="connsiteY93" fmla="*/ 4103808 h 6062148"/>
              <a:gd name="connsiteX94" fmla="*/ 3117526 w 4527226"/>
              <a:gd name="connsiteY94" fmla="*/ 4119048 h 6062148"/>
              <a:gd name="connsiteX95" fmla="*/ 3163246 w 4527226"/>
              <a:gd name="connsiteY95" fmla="*/ 4157148 h 6062148"/>
              <a:gd name="connsiteX96" fmla="*/ 3201346 w 4527226"/>
              <a:gd name="connsiteY96" fmla="*/ 4164768 h 6062148"/>
              <a:gd name="connsiteX97" fmla="*/ 3231826 w 4527226"/>
              <a:gd name="connsiteY97" fmla="*/ 4172388 h 6062148"/>
              <a:gd name="connsiteX98" fmla="*/ 3285166 w 4527226"/>
              <a:gd name="connsiteY98" fmla="*/ 4294308 h 6062148"/>
              <a:gd name="connsiteX99" fmla="*/ 3300406 w 4527226"/>
              <a:gd name="connsiteY99" fmla="*/ 4347648 h 6062148"/>
              <a:gd name="connsiteX100" fmla="*/ 3330886 w 4527226"/>
              <a:gd name="connsiteY100" fmla="*/ 4408608 h 6062148"/>
              <a:gd name="connsiteX101" fmla="*/ 3551866 w 4527226"/>
              <a:gd name="connsiteY101" fmla="*/ 4644828 h 6062148"/>
              <a:gd name="connsiteX102" fmla="*/ 3887146 w 4527226"/>
              <a:gd name="connsiteY102" fmla="*/ 5025828 h 6062148"/>
              <a:gd name="connsiteX103" fmla="*/ 4100506 w 4527226"/>
              <a:gd name="connsiteY103" fmla="*/ 5300148 h 6062148"/>
              <a:gd name="connsiteX104" fmla="*/ 4367206 w 4527226"/>
              <a:gd name="connsiteY104" fmla="*/ 5726868 h 6062148"/>
              <a:gd name="connsiteX105" fmla="*/ 4527226 w 4527226"/>
              <a:gd name="connsiteY105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3010846 w 4527226"/>
              <a:gd name="connsiteY89" fmla="*/ 3539928 h 6062148"/>
              <a:gd name="connsiteX90" fmla="*/ 3109906 w 4527226"/>
              <a:gd name="connsiteY90" fmla="*/ 3570408 h 6062148"/>
              <a:gd name="connsiteX91" fmla="*/ 3140386 w 4527226"/>
              <a:gd name="connsiteY91" fmla="*/ 3631368 h 6062148"/>
              <a:gd name="connsiteX92" fmla="*/ 3117526 w 4527226"/>
              <a:gd name="connsiteY92" fmla="*/ 3738048 h 6062148"/>
              <a:gd name="connsiteX93" fmla="*/ 3125146 w 4527226"/>
              <a:gd name="connsiteY93" fmla="*/ 4103808 h 6062148"/>
              <a:gd name="connsiteX94" fmla="*/ 3163246 w 4527226"/>
              <a:gd name="connsiteY94" fmla="*/ 4157148 h 6062148"/>
              <a:gd name="connsiteX95" fmla="*/ 3201346 w 4527226"/>
              <a:gd name="connsiteY95" fmla="*/ 4164768 h 6062148"/>
              <a:gd name="connsiteX96" fmla="*/ 3231826 w 4527226"/>
              <a:gd name="connsiteY96" fmla="*/ 4172388 h 6062148"/>
              <a:gd name="connsiteX97" fmla="*/ 3285166 w 4527226"/>
              <a:gd name="connsiteY97" fmla="*/ 4294308 h 6062148"/>
              <a:gd name="connsiteX98" fmla="*/ 3300406 w 4527226"/>
              <a:gd name="connsiteY98" fmla="*/ 4347648 h 6062148"/>
              <a:gd name="connsiteX99" fmla="*/ 3330886 w 4527226"/>
              <a:gd name="connsiteY99" fmla="*/ 4408608 h 6062148"/>
              <a:gd name="connsiteX100" fmla="*/ 3551866 w 4527226"/>
              <a:gd name="connsiteY100" fmla="*/ 4644828 h 6062148"/>
              <a:gd name="connsiteX101" fmla="*/ 3887146 w 4527226"/>
              <a:gd name="connsiteY101" fmla="*/ 5025828 h 6062148"/>
              <a:gd name="connsiteX102" fmla="*/ 4100506 w 4527226"/>
              <a:gd name="connsiteY102" fmla="*/ 5300148 h 6062148"/>
              <a:gd name="connsiteX103" fmla="*/ 4367206 w 4527226"/>
              <a:gd name="connsiteY103" fmla="*/ 5726868 h 6062148"/>
              <a:gd name="connsiteX104" fmla="*/ 4527226 w 4527226"/>
              <a:gd name="connsiteY104" fmla="*/ 6046908 h 6062148"/>
              <a:gd name="connsiteX0" fmla="*/ 381946 w 4527226"/>
              <a:gd name="connsiteY0" fmla="*/ 5924988 h 6046908"/>
              <a:gd name="connsiteX1" fmla="*/ 442906 w 4527226"/>
              <a:gd name="connsiteY1" fmla="*/ 5780208 h 6046908"/>
              <a:gd name="connsiteX2" fmla="*/ 473386 w 4527226"/>
              <a:gd name="connsiteY2" fmla="*/ 5665908 h 6046908"/>
              <a:gd name="connsiteX3" fmla="*/ 511486 w 4527226"/>
              <a:gd name="connsiteY3" fmla="*/ 5612568 h 6046908"/>
              <a:gd name="connsiteX4" fmla="*/ 541966 w 4527226"/>
              <a:gd name="connsiteY4" fmla="*/ 5521128 h 6046908"/>
              <a:gd name="connsiteX5" fmla="*/ 564826 w 4527226"/>
              <a:gd name="connsiteY5" fmla="*/ 5353488 h 6046908"/>
              <a:gd name="connsiteX6" fmla="*/ 602926 w 4527226"/>
              <a:gd name="connsiteY6" fmla="*/ 5223948 h 6046908"/>
              <a:gd name="connsiteX7" fmla="*/ 625786 w 4527226"/>
              <a:gd name="connsiteY7" fmla="*/ 5178228 h 6046908"/>
              <a:gd name="connsiteX8" fmla="*/ 701986 w 4527226"/>
              <a:gd name="connsiteY8" fmla="*/ 5071548 h 6046908"/>
              <a:gd name="connsiteX9" fmla="*/ 717226 w 4527226"/>
              <a:gd name="connsiteY9" fmla="*/ 5063928 h 6046908"/>
              <a:gd name="connsiteX10" fmla="*/ 709606 w 4527226"/>
              <a:gd name="connsiteY10" fmla="*/ 5025828 h 6046908"/>
              <a:gd name="connsiteX11" fmla="*/ 701986 w 4527226"/>
              <a:gd name="connsiteY11" fmla="*/ 5002968 h 6046908"/>
              <a:gd name="connsiteX12" fmla="*/ 968686 w 4527226"/>
              <a:gd name="connsiteY12" fmla="*/ 4682928 h 6046908"/>
              <a:gd name="connsiteX13" fmla="*/ 961066 w 4527226"/>
              <a:gd name="connsiteY13" fmla="*/ 4644828 h 6046908"/>
              <a:gd name="connsiteX14" fmla="*/ 1342066 w 4527226"/>
              <a:gd name="connsiteY14" fmla="*/ 4172388 h 6046908"/>
              <a:gd name="connsiteX15" fmla="*/ 1258246 w 4527226"/>
              <a:gd name="connsiteY15" fmla="*/ 4012368 h 6046908"/>
              <a:gd name="connsiteX16" fmla="*/ 1204906 w 4527226"/>
              <a:gd name="connsiteY16" fmla="*/ 3928548 h 6046908"/>
              <a:gd name="connsiteX17" fmla="*/ 1174426 w 4527226"/>
              <a:gd name="connsiteY17" fmla="*/ 3768528 h 6046908"/>
              <a:gd name="connsiteX18" fmla="*/ 1151566 w 4527226"/>
              <a:gd name="connsiteY18" fmla="*/ 3699948 h 6046908"/>
              <a:gd name="connsiteX19" fmla="*/ 1143946 w 4527226"/>
              <a:gd name="connsiteY19" fmla="*/ 3669468 h 6046908"/>
              <a:gd name="connsiteX20" fmla="*/ 1067746 w 4527226"/>
              <a:gd name="connsiteY20" fmla="*/ 3661848 h 6046908"/>
              <a:gd name="connsiteX21" fmla="*/ 938206 w 4527226"/>
              <a:gd name="connsiteY21" fmla="*/ 3669468 h 6046908"/>
              <a:gd name="connsiteX22" fmla="*/ 831526 w 4527226"/>
              <a:gd name="connsiteY22" fmla="*/ 3692328 h 6046908"/>
              <a:gd name="connsiteX23" fmla="*/ 610546 w 4527226"/>
              <a:gd name="connsiteY23" fmla="*/ 3738048 h 6046908"/>
              <a:gd name="connsiteX24" fmla="*/ 389566 w 4527226"/>
              <a:gd name="connsiteY24" fmla="*/ 3638988 h 6046908"/>
              <a:gd name="connsiteX25" fmla="*/ 381946 w 4527226"/>
              <a:gd name="connsiteY25" fmla="*/ 3326568 h 6046908"/>
              <a:gd name="connsiteX26" fmla="*/ 420046 w 4527226"/>
              <a:gd name="connsiteY26" fmla="*/ 3227508 h 6046908"/>
              <a:gd name="connsiteX27" fmla="*/ 389566 w 4527226"/>
              <a:gd name="connsiteY27" fmla="*/ 3166548 h 6046908"/>
              <a:gd name="connsiteX28" fmla="*/ 351466 w 4527226"/>
              <a:gd name="connsiteY28" fmla="*/ 3105588 h 6046908"/>
              <a:gd name="connsiteX29" fmla="*/ 397186 w 4527226"/>
              <a:gd name="connsiteY29" fmla="*/ 3021768 h 6046908"/>
              <a:gd name="connsiteX30" fmla="*/ 488626 w 4527226"/>
              <a:gd name="connsiteY30" fmla="*/ 2998908 h 6046908"/>
              <a:gd name="connsiteX31" fmla="*/ 471956 w 4527226"/>
              <a:gd name="connsiteY31" fmla="*/ 2942709 h 6046908"/>
              <a:gd name="connsiteX32" fmla="*/ 435286 w 4527226"/>
              <a:gd name="connsiteY32" fmla="*/ 2930328 h 6046908"/>
              <a:gd name="connsiteX33" fmla="*/ 389566 w 4527226"/>
              <a:gd name="connsiteY33" fmla="*/ 2930328 h 6046908"/>
              <a:gd name="connsiteX34" fmla="*/ 314000 w 4527226"/>
              <a:gd name="connsiteY34" fmla="*/ 2893495 h 6046908"/>
              <a:gd name="connsiteX35" fmla="*/ 320986 w 4527226"/>
              <a:gd name="connsiteY35" fmla="*/ 2846508 h 6046908"/>
              <a:gd name="connsiteX36" fmla="*/ 328606 w 4527226"/>
              <a:gd name="connsiteY36" fmla="*/ 2793168 h 6046908"/>
              <a:gd name="connsiteX37" fmla="*/ 313366 w 4527226"/>
              <a:gd name="connsiteY37" fmla="*/ 2732208 h 6046908"/>
              <a:gd name="connsiteX38" fmla="*/ 267646 w 4527226"/>
              <a:gd name="connsiteY38" fmla="*/ 2671248 h 6046908"/>
              <a:gd name="connsiteX39" fmla="*/ 176206 w 4527226"/>
              <a:gd name="connsiteY39" fmla="*/ 2656008 h 6046908"/>
              <a:gd name="connsiteX40" fmla="*/ 54286 w 4527226"/>
              <a:gd name="connsiteY40" fmla="*/ 2610288 h 6046908"/>
              <a:gd name="connsiteX41" fmla="*/ 7931 w 4527226"/>
              <a:gd name="connsiteY41" fmla="*/ 2563298 h 6046908"/>
              <a:gd name="connsiteX42" fmla="*/ 8566 w 4527226"/>
              <a:gd name="connsiteY42" fmla="*/ 2488368 h 6046908"/>
              <a:gd name="connsiteX43" fmla="*/ 92386 w 4527226"/>
              <a:gd name="connsiteY43" fmla="*/ 2335968 h 6046908"/>
              <a:gd name="connsiteX44" fmla="*/ 221926 w 4527226"/>
              <a:gd name="connsiteY44" fmla="*/ 2175948 h 6046908"/>
              <a:gd name="connsiteX45" fmla="*/ 282886 w 4527226"/>
              <a:gd name="connsiteY45" fmla="*/ 2084508 h 6046908"/>
              <a:gd name="connsiteX46" fmla="*/ 328606 w 4527226"/>
              <a:gd name="connsiteY46" fmla="*/ 1977828 h 6046908"/>
              <a:gd name="connsiteX47" fmla="*/ 359086 w 4527226"/>
              <a:gd name="connsiteY47" fmla="*/ 1871148 h 6046908"/>
              <a:gd name="connsiteX48" fmla="*/ 374326 w 4527226"/>
              <a:gd name="connsiteY48" fmla="*/ 1810188 h 6046908"/>
              <a:gd name="connsiteX49" fmla="*/ 343846 w 4527226"/>
              <a:gd name="connsiteY49" fmla="*/ 1756848 h 6046908"/>
              <a:gd name="connsiteX50" fmla="*/ 328606 w 4527226"/>
              <a:gd name="connsiteY50" fmla="*/ 1680648 h 6046908"/>
              <a:gd name="connsiteX51" fmla="*/ 412426 w 4527226"/>
              <a:gd name="connsiteY51" fmla="*/ 1474908 h 6046908"/>
              <a:gd name="connsiteX52" fmla="*/ 442906 w 4527226"/>
              <a:gd name="connsiteY52" fmla="*/ 1307268 h 6046908"/>
              <a:gd name="connsiteX53" fmla="*/ 465766 w 4527226"/>
              <a:gd name="connsiteY53" fmla="*/ 1192968 h 6046908"/>
              <a:gd name="connsiteX54" fmla="*/ 503866 w 4527226"/>
              <a:gd name="connsiteY54" fmla="*/ 1055808 h 6046908"/>
              <a:gd name="connsiteX55" fmla="*/ 557206 w 4527226"/>
              <a:gd name="connsiteY55" fmla="*/ 888168 h 6046908"/>
              <a:gd name="connsiteX56" fmla="*/ 503866 w 4527226"/>
              <a:gd name="connsiteY56" fmla="*/ 888168 h 6046908"/>
              <a:gd name="connsiteX57" fmla="*/ 412426 w 4527226"/>
              <a:gd name="connsiteY57" fmla="*/ 834828 h 6046908"/>
              <a:gd name="connsiteX58" fmla="*/ 328606 w 4527226"/>
              <a:gd name="connsiteY58" fmla="*/ 789108 h 6046908"/>
              <a:gd name="connsiteX59" fmla="*/ 260026 w 4527226"/>
              <a:gd name="connsiteY59" fmla="*/ 773868 h 6046908"/>
              <a:gd name="connsiteX60" fmla="*/ 214306 w 4527226"/>
              <a:gd name="connsiteY60" fmla="*/ 751008 h 6046908"/>
              <a:gd name="connsiteX61" fmla="*/ 260026 w 4527226"/>
              <a:gd name="connsiteY61" fmla="*/ 674808 h 6046908"/>
              <a:gd name="connsiteX62" fmla="*/ 374326 w 4527226"/>
              <a:gd name="connsiteY62" fmla="*/ 606228 h 6046908"/>
              <a:gd name="connsiteX63" fmla="*/ 557206 w 4527226"/>
              <a:gd name="connsiteY63" fmla="*/ 507168 h 6046908"/>
              <a:gd name="connsiteX64" fmla="*/ 656266 w 4527226"/>
              <a:gd name="connsiteY64" fmla="*/ 423348 h 6046908"/>
              <a:gd name="connsiteX65" fmla="*/ 892486 w 4527226"/>
              <a:gd name="connsiteY65" fmla="*/ 232848 h 6046908"/>
              <a:gd name="connsiteX66" fmla="*/ 1174426 w 4527226"/>
              <a:gd name="connsiteY66" fmla="*/ 80448 h 6046908"/>
              <a:gd name="connsiteX67" fmla="*/ 1593526 w 4527226"/>
              <a:gd name="connsiteY67" fmla="*/ 11868 h 6046908"/>
              <a:gd name="connsiteX68" fmla="*/ 1944046 w 4527226"/>
              <a:gd name="connsiteY68" fmla="*/ 4248 h 6046908"/>
              <a:gd name="connsiteX69" fmla="*/ 2172646 w 4527226"/>
              <a:gd name="connsiteY69" fmla="*/ 4248 h 6046908"/>
              <a:gd name="connsiteX70" fmla="*/ 2393626 w 4527226"/>
              <a:gd name="connsiteY70" fmla="*/ 57588 h 6046908"/>
              <a:gd name="connsiteX71" fmla="*/ 2667946 w 4527226"/>
              <a:gd name="connsiteY71" fmla="*/ 133788 h 6046908"/>
              <a:gd name="connsiteX72" fmla="*/ 2820346 w 4527226"/>
              <a:gd name="connsiteY72" fmla="*/ 202368 h 6046908"/>
              <a:gd name="connsiteX73" fmla="*/ 3102286 w 4527226"/>
              <a:gd name="connsiteY73" fmla="*/ 400488 h 6046908"/>
              <a:gd name="connsiteX74" fmla="*/ 3285166 w 4527226"/>
              <a:gd name="connsiteY74" fmla="*/ 651948 h 6046908"/>
              <a:gd name="connsiteX75" fmla="*/ 3407086 w 4527226"/>
              <a:gd name="connsiteY75" fmla="*/ 918648 h 6046908"/>
              <a:gd name="connsiteX76" fmla="*/ 3475666 w 4527226"/>
              <a:gd name="connsiteY76" fmla="*/ 1238688 h 6046908"/>
              <a:gd name="connsiteX77" fmla="*/ 3506146 w 4527226"/>
              <a:gd name="connsiteY77" fmla="*/ 1543488 h 6046908"/>
              <a:gd name="connsiteX78" fmla="*/ 3506146 w 4527226"/>
              <a:gd name="connsiteY78" fmla="*/ 1962588 h 6046908"/>
              <a:gd name="connsiteX79" fmla="*/ 3338506 w 4527226"/>
              <a:gd name="connsiteY79" fmla="*/ 2305488 h 6046908"/>
              <a:gd name="connsiteX80" fmla="*/ 3254686 w 4527226"/>
              <a:gd name="connsiteY80" fmla="*/ 2473128 h 6046908"/>
              <a:gd name="connsiteX81" fmla="*/ 3132766 w 4527226"/>
              <a:gd name="connsiteY81" fmla="*/ 2663628 h 6046908"/>
              <a:gd name="connsiteX82" fmla="*/ 3071806 w 4527226"/>
              <a:gd name="connsiteY82" fmla="*/ 2838888 h 6046908"/>
              <a:gd name="connsiteX83" fmla="*/ 3064186 w 4527226"/>
              <a:gd name="connsiteY83" fmla="*/ 2915088 h 6046908"/>
              <a:gd name="connsiteX84" fmla="*/ 3018466 w 4527226"/>
              <a:gd name="connsiteY84" fmla="*/ 3014148 h 6046908"/>
              <a:gd name="connsiteX85" fmla="*/ 2980366 w 4527226"/>
              <a:gd name="connsiteY85" fmla="*/ 3082728 h 6046908"/>
              <a:gd name="connsiteX86" fmla="*/ 2957506 w 4527226"/>
              <a:gd name="connsiteY86" fmla="*/ 3120828 h 6046908"/>
              <a:gd name="connsiteX87" fmla="*/ 2957506 w 4527226"/>
              <a:gd name="connsiteY87" fmla="*/ 3555168 h 6046908"/>
              <a:gd name="connsiteX88" fmla="*/ 3010846 w 4527226"/>
              <a:gd name="connsiteY88" fmla="*/ 3539928 h 6046908"/>
              <a:gd name="connsiteX89" fmla="*/ 3109906 w 4527226"/>
              <a:gd name="connsiteY89" fmla="*/ 3570408 h 6046908"/>
              <a:gd name="connsiteX90" fmla="*/ 3140386 w 4527226"/>
              <a:gd name="connsiteY90" fmla="*/ 3631368 h 6046908"/>
              <a:gd name="connsiteX91" fmla="*/ 3117526 w 4527226"/>
              <a:gd name="connsiteY91" fmla="*/ 3738048 h 6046908"/>
              <a:gd name="connsiteX92" fmla="*/ 3125146 w 4527226"/>
              <a:gd name="connsiteY92" fmla="*/ 4103808 h 6046908"/>
              <a:gd name="connsiteX93" fmla="*/ 3163246 w 4527226"/>
              <a:gd name="connsiteY93" fmla="*/ 4157148 h 6046908"/>
              <a:gd name="connsiteX94" fmla="*/ 3201346 w 4527226"/>
              <a:gd name="connsiteY94" fmla="*/ 4164768 h 6046908"/>
              <a:gd name="connsiteX95" fmla="*/ 3231826 w 4527226"/>
              <a:gd name="connsiteY95" fmla="*/ 4172388 h 6046908"/>
              <a:gd name="connsiteX96" fmla="*/ 3285166 w 4527226"/>
              <a:gd name="connsiteY96" fmla="*/ 4294308 h 6046908"/>
              <a:gd name="connsiteX97" fmla="*/ 3300406 w 4527226"/>
              <a:gd name="connsiteY97" fmla="*/ 4347648 h 6046908"/>
              <a:gd name="connsiteX98" fmla="*/ 3330886 w 4527226"/>
              <a:gd name="connsiteY98" fmla="*/ 4408608 h 6046908"/>
              <a:gd name="connsiteX99" fmla="*/ 3551866 w 4527226"/>
              <a:gd name="connsiteY99" fmla="*/ 4644828 h 6046908"/>
              <a:gd name="connsiteX100" fmla="*/ 3887146 w 4527226"/>
              <a:gd name="connsiteY100" fmla="*/ 5025828 h 6046908"/>
              <a:gd name="connsiteX101" fmla="*/ 4100506 w 4527226"/>
              <a:gd name="connsiteY101" fmla="*/ 5300148 h 6046908"/>
              <a:gd name="connsiteX102" fmla="*/ 4367206 w 4527226"/>
              <a:gd name="connsiteY102" fmla="*/ 5726868 h 6046908"/>
              <a:gd name="connsiteX103" fmla="*/ 4527226 w 4527226"/>
              <a:gd name="connsiteY103" fmla="*/ 6046908 h 6046908"/>
              <a:gd name="connsiteX0" fmla="*/ 442906 w 4527226"/>
              <a:gd name="connsiteY0" fmla="*/ 5780208 h 6046908"/>
              <a:gd name="connsiteX1" fmla="*/ 473386 w 4527226"/>
              <a:gd name="connsiteY1" fmla="*/ 5665908 h 6046908"/>
              <a:gd name="connsiteX2" fmla="*/ 511486 w 4527226"/>
              <a:gd name="connsiteY2" fmla="*/ 5612568 h 6046908"/>
              <a:gd name="connsiteX3" fmla="*/ 541966 w 4527226"/>
              <a:gd name="connsiteY3" fmla="*/ 5521128 h 6046908"/>
              <a:gd name="connsiteX4" fmla="*/ 564826 w 4527226"/>
              <a:gd name="connsiteY4" fmla="*/ 5353488 h 6046908"/>
              <a:gd name="connsiteX5" fmla="*/ 602926 w 4527226"/>
              <a:gd name="connsiteY5" fmla="*/ 5223948 h 6046908"/>
              <a:gd name="connsiteX6" fmla="*/ 625786 w 4527226"/>
              <a:gd name="connsiteY6" fmla="*/ 5178228 h 6046908"/>
              <a:gd name="connsiteX7" fmla="*/ 701986 w 4527226"/>
              <a:gd name="connsiteY7" fmla="*/ 5071548 h 6046908"/>
              <a:gd name="connsiteX8" fmla="*/ 717226 w 4527226"/>
              <a:gd name="connsiteY8" fmla="*/ 5063928 h 6046908"/>
              <a:gd name="connsiteX9" fmla="*/ 709606 w 4527226"/>
              <a:gd name="connsiteY9" fmla="*/ 5025828 h 6046908"/>
              <a:gd name="connsiteX10" fmla="*/ 701986 w 4527226"/>
              <a:gd name="connsiteY10" fmla="*/ 5002968 h 6046908"/>
              <a:gd name="connsiteX11" fmla="*/ 968686 w 4527226"/>
              <a:gd name="connsiteY11" fmla="*/ 4682928 h 6046908"/>
              <a:gd name="connsiteX12" fmla="*/ 961066 w 4527226"/>
              <a:gd name="connsiteY12" fmla="*/ 4644828 h 6046908"/>
              <a:gd name="connsiteX13" fmla="*/ 1342066 w 4527226"/>
              <a:gd name="connsiteY13" fmla="*/ 4172388 h 6046908"/>
              <a:gd name="connsiteX14" fmla="*/ 1258246 w 4527226"/>
              <a:gd name="connsiteY14" fmla="*/ 4012368 h 6046908"/>
              <a:gd name="connsiteX15" fmla="*/ 1204906 w 4527226"/>
              <a:gd name="connsiteY15" fmla="*/ 3928548 h 6046908"/>
              <a:gd name="connsiteX16" fmla="*/ 1174426 w 4527226"/>
              <a:gd name="connsiteY16" fmla="*/ 3768528 h 6046908"/>
              <a:gd name="connsiteX17" fmla="*/ 1151566 w 4527226"/>
              <a:gd name="connsiteY17" fmla="*/ 3699948 h 6046908"/>
              <a:gd name="connsiteX18" fmla="*/ 1143946 w 4527226"/>
              <a:gd name="connsiteY18" fmla="*/ 3669468 h 6046908"/>
              <a:gd name="connsiteX19" fmla="*/ 1067746 w 4527226"/>
              <a:gd name="connsiteY19" fmla="*/ 3661848 h 6046908"/>
              <a:gd name="connsiteX20" fmla="*/ 938206 w 4527226"/>
              <a:gd name="connsiteY20" fmla="*/ 3669468 h 6046908"/>
              <a:gd name="connsiteX21" fmla="*/ 831526 w 4527226"/>
              <a:gd name="connsiteY21" fmla="*/ 3692328 h 6046908"/>
              <a:gd name="connsiteX22" fmla="*/ 610546 w 4527226"/>
              <a:gd name="connsiteY22" fmla="*/ 3738048 h 6046908"/>
              <a:gd name="connsiteX23" fmla="*/ 389566 w 4527226"/>
              <a:gd name="connsiteY23" fmla="*/ 3638988 h 6046908"/>
              <a:gd name="connsiteX24" fmla="*/ 381946 w 4527226"/>
              <a:gd name="connsiteY24" fmla="*/ 3326568 h 6046908"/>
              <a:gd name="connsiteX25" fmla="*/ 420046 w 4527226"/>
              <a:gd name="connsiteY25" fmla="*/ 3227508 h 6046908"/>
              <a:gd name="connsiteX26" fmla="*/ 389566 w 4527226"/>
              <a:gd name="connsiteY26" fmla="*/ 3166548 h 6046908"/>
              <a:gd name="connsiteX27" fmla="*/ 351466 w 4527226"/>
              <a:gd name="connsiteY27" fmla="*/ 3105588 h 6046908"/>
              <a:gd name="connsiteX28" fmla="*/ 397186 w 4527226"/>
              <a:gd name="connsiteY28" fmla="*/ 3021768 h 6046908"/>
              <a:gd name="connsiteX29" fmla="*/ 488626 w 4527226"/>
              <a:gd name="connsiteY29" fmla="*/ 2998908 h 6046908"/>
              <a:gd name="connsiteX30" fmla="*/ 471956 w 4527226"/>
              <a:gd name="connsiteY30" fmla="*/ 2942709 h 6046908"/>
              <a:gd name="connsiteX31" fmla="*/ 435286 w 4527226"/>
              <a:gd name="connsiteY31" fmla="*/ 2930328 h 6046908"/>
              <a:gd name="connsiteX32" fmla="*/ 389566 w 4527226"/>
              <a:gd name="connsiteY32" fmla="*/ 2930328 h 6046908"/>
              <a:gd name="connsiteX33" fmla="*/ 314000 w 4527226"/>
              <a:gd name="connsiteY33" fmla="*/ 2893495 h 6046908"/>
              <a:gd name="connsiteX34" fmla="*/ 320986 w 4527226"/>
              <a:gd name="connsiteY34" fmla="*/ 2846508 h 6046908"/>
              <a:gd name="connsiteX35" fmla="*/ 328606 w 4527226"/>
              <a:gd name="connsiteY35" fmla="*/ 2793168 h 6046908"/>
              <a:gd name="connsiteX36" fmla="*/ 313366 w 4527226"/>
              <a:gd name="connsiteY36" fmla="*/ 2732208 h 6046908"/>
              <a:gd name="connsiteX37" fmla="*/ 267646 w 4527226"/>
              <a:gd name="connsiteY37" fmla="*/ 2671248 h 6046908"/>
              <a:gd name="connsiteX38" fmla="*/ 176206 w 4527226"/>
              <a:gd name="connsiteY38" fmla="*/ 2656008 h 6046908"/>
              <a:gd name="connsiteX39" fmla="*/ 54286 w 4527226"/>
              <a:gd name="connsiteY39" fmla="*/ 2610288 h 6046908"/>
              <a:gd name="connsiteX40" fmla="*/ 7931 w 4527226"/>
              <a:gd name="connsiteY40" fmla="*/ 2563298 h 6046908"/>
              <a:gd name="connsiteX41" fmla="*/ 8566 w 4527226"/>
              <a:gd name="connsiteY41" fmla="*/ 2488368 h 6046908"/>
              <a:gd name="connsiteX42" fmla="*/ 92386 w 4527226"/>
              <a:gd name="connsiteY42" fmla="*/ 2335968 h 6046908"/>
              <a:gd name="connsiteX43" fmla="*/ 221926 w 4527226"/>
              <a:gd name="connsiteY43" fmla="*/ 2175948 h 6046908"/>
              <a:gd name="connsiteX44" fmla="*/ 282886 w 4527226"/>
              <a:gd name="connsiteY44" fmla="*/ 2084508 h 6046908"/>
              <a:gd name="connsiteX45" fmla="*/ 328606 w 4527226"/>
              <a:gd name="connsiteY45" fmla="*/ 1977828 h 6046908"/>
              <a:gd name="connsiteX46" fmla="*/ 359086 w 4527226"/>
              <a:gd name="connsiteY46" fmla="*/ 1871148 h 6046908"/>
              <a:gd name="connsiteX47" fmla="*/ 374326 w 4527226"/>
              <a:gd name="connsiteY47" fmla="*/ 1810188 h 6046908"/>
              <a:gd name="connsiteX48" fmla="*/ 343846 w 4527226"/>
              <a:gd name="connsiteY48" fmla="*/ 1756848 h 6046908"/>
              <a:gd name="connsiteX49" fmla="*/ 328606 w 4527226"/>
              <a:gd name="connsiteY49" fmla="*/ 1680648 h 6046908"/>
              <a:gd name="connsiteX50" fmla="*/ 412426 w 4527226"/>
              <a:gd name="connsiteY50" fmla="*/ 1474908 h 6046908"/>
              <a:gd name="connsiteX51" fmla="*/ 442906 w 4527226"/>
              <a:gd name="connsiteY51" fmla="*/ 1307268 h 6046908"/>
              <a:gd name="connsiteX52" fmla="*/ 465766 w 4527226"/>
              <a:gd name="connsiteY52" fmla="*/ 1192968 h 6046908"/>
              <a:gd name="connsiteX53" fmla="*/ 503866 w 4527226"/>
              <a:gd name="connsiteY53" fmla="*/ 1055808 h 6046908"/>
              <a:gd name="connsiteX54" fmla="*/ 557206 w 4527226"/>
              <a:gd name="connsiteY54" fmla="*/ 888168 h 6046908"/>
              <a:gd name="connsiteX55" fmla="*/ 503866 w 4527226"/>
              <a:gd name="connsiteY55" fmla="*/ 888168 h 6046908"/>
              <a:gd name="connsiteX56" fmla="*/ 412426 w 4527226"/>
              <a:gd name="connsiteY56" fmla="*/ 834828 h 6046908"/>
              <a:gd name="connsiteX57" fmla="*/ 328606 w 4527226"/>
              <a:gd name="connsiteY57" fmla="*/ 789108 h 6046908"/>
              <a:gd name="connsiteX58" fmla="*/ 260026 w 4527226"/>
              <a:gd name="connsiteY58" fmla="*/ 773868 h 6046908"/>
              <a:gd name="connsiteX59" fmla="*/ 214306 w 4527226"/>
              <a:gd name="connsiteY59" fmla="*/ 751008 h 6046908"/>
              <a:gd name="connsiteX60" fmla="*/ 260026 w 4527226"/>
              <a:gd name="connsiteY60" fmla="*/ 674808 h 6046908"/>
              <a:gd name="connsiteX61" fmla="*/ 374326 w 4527226"/>
              <a:gd name="connsiteY61" fmla="*/ 606228 h 6046908"/>
              <a:gd name="connsiteX62" fmla="*/ 557206 w 4527226"/>
              <a:gd name="connsiteY62" fmla="*/ 507168 h 6046908"/>
              <a:gd name="connsiteX63" fmla="*/ 656266 w 4527226"/>
              <a:gd name="connsiteY63" fmla="*/ 423348 h 6046908"/>
              <a:gd name="connsiteX64" fmla="*/ 892486 w 4527226"/>
              <a:gd name="connsiteY64" fmla="*/ 232848 h 6046908"/>
              <a:gd name="connsiteX65" fmla="*/ 1174426 w 4527226"/>
              <a:gd name="connsiteY65" fmla="*/ 80448 h 6046908"/>
              <a:gd name="connsiteX66" fmla="*/ 1593526 w 4527226"/>
              <a:gd name="connsiteY66" fmla="*/ 11868 h 6046908"/>
              <a:gd name="connsiteX67" fmla="*/ 1944046 w 4527226"/>
              <a:gd name="connsiteY67" fmla="*/ 4248 h 6046908"/>
              <a:gd name="connsiteX68" fmla="*/ 2172646 w 4527226"/>
              <a:gd name="connsiteY68" fmla="*/ 4248 h 6046908"/>
              <a:gd name="connsiteX69" fmla="*/ 2393626 w 4527226"/>
              <a:gd name="connsiteY69" fmla="*/ 57588 h 6046908"/>
              <a:gd name="connsiteX70" fmla="*/ 2667946 w 4527226"/>
              <a:gd name="connsiteY70" fmla="*/ 133788 h 6046908"/>
              <a:gd name="connsiteX71" fmla="*/ 2820346 w 4527226"/>
              <a:gd name="connsiteY71" fmla="*/ 202368 h 6046908"/>
              <a:gd name="connsiteX72" fmla="*/ 3102286 w 4527226"/>
              <a:gd name="connsiteY72" fmla="*/ 400488 h 6046908"/>
              <a:gd name="connsiteX73" fmla="*/ 3285166 w 4527226"/>
              <a:gd name="connsiteY73" fmla="*/ 651948 h 6046908"/>
              <a:gd name="connsiteX74" fmla="*/ 3407086 w 4527226"/>
              <a:gd name="connsiteY74" fmla="*/ 918648 h 6046908"/>
              <a:gd name="connsiteX75" fmla="*/ 3475666 w 4527226"/>
              <a:gd name="connsiteY75" fmla="*/ 1238688 h 6046908"/>
              <a:gd name="connsiteX76" fmla="*/ 3506146 w 4527226"/>
              <a:gd name="connsiteY76" fmla="*/ 1543488 h 6046908"/>
              <a:gd name="connsiteX77" fmla="*/ 3506146 w 4527226"/>
              <a:gd name="connsiteY77" fmla="*/ 1962588 h 6046908"/>
              <a:gd name="connsiteX78" fmla="*/ 3338506 w 4527226"/>
              <a:gd name="connsiteY78" fmla="*/ 2305488 h 6046908"/>
              <a:gd name="connsiteX79" fmla="*/ 3254686 w 4527226"/>
              <a:gd name="connsiteY79" fmla="*/ 2473128 h 6046908"/>
              <a:gd name="connsiteX80" fmla="*/ 3132766 w 4527226"/>
              <a:gd name="connsiteY80" fmla="*/ 2663628 h 6046908"/>
              <a:gd name="connsiteX81" fmla="*/ 3071806 w 4527226"/>
              <a:gd name="connsiteY81" fmla="*/ 2838888 h 6046908"/>
              <a:gd name="connsiteX82" fmla="*/ 3064186 w 4527226"/>
              <a:gd name="connsiteY82" fmla="*/ 2915088 h 6046908"/>
              <a:gd name="connsiteX83" fmla="*/ 3018466 w 4527226"/>
              <a:gd name="connsiteY83" fmla="*/ 3014148 h 6046908"/>
              <a:gd name="connsiteX84" fmla="*/ 2980366 w 4527226"/>
              <a:gd name="connsiteY84" fmla="*/ 3082728 h 6046908"/>
              <a:gd name="connsiteX85" fmla="*/ 2957506 w 4527226"/>
              <a:gd name="connsiteY85" fmla="*/ 3120828 h 6046908"/>
              <a:gd name="connsiteX86" fmla="*/ 2957506 w 4527226"/>
              <a:gd name="connsiteY86" fmla="*/ 3555168 h 6046908"/>
              <a:gd name="connsiteX87" fmla="*/ 3010846 w 4527226"/>
              <a:gd name="connsiteY87" fmla="*/ 3539928 h 6046908"/>
              <a:gd name="connsiteX88" fmla="*/ 3109906 w 4527226"/>
              <a:gd name="connsiteY88" fmla="*/ 3570408 h 6046908"/>
              <a:gd name="connsiteX89" fmla="*/ 3140386 w 4527226"/>
              <a:gd name="connsiteY89" fmla="*/ 3631368 h 6046908"/>
              <a:gd name="connsiteX90" fmla="*/ 3117526 w 4527226"/>
              <a:gd name="connsiteY90" fmla="*/ 3738048 h 6046908"/>
              <a:gd name="connsiteX91" fmla="*/ 3125146 w 4527226"/>
              <a:gd name="connsiteY91" fmla="*/ 4103808 h 6046908"/>
              <a:gd name="connsiteX92" fmla="*/ 3163246 w 4527226"/>
              <a:gd name="connsiteY92" fmla="*/ 4157148 h 6046908"/>
              <a:gd name="connsiteX93" fmla="*/ 3201346 w 4527226"/>
              <a:gd name="connsiteY93" fmla="*/ 4164768 h 6046908"/>
              <a:gd name="connsiteX94" fmla="*/ 3231826 w 4527226"/>
              <a:gd name="connsiteY94" fmla="*/ 4172388 h 6046908"/>
              <a:gd name="connsiteX95" fmla="*/ 3285166 w 4527226"/>
              <a:gd name="connsiteY95" fmla="*/ 4294308 h 6046908"/>
              <a:gd name="connsiteX96" fmla="*/ 3300406 w 4527226"/>
              <a:gd name="connsiteY96" fmla="*/ 4347648 h 6046908"/>
              <a:gd name="connsiteX97" fmla="*/ 3330886 w 4527226"/>
              <a:gd name="connsiteY97" fmla="*/ 4408608 h 6046908"/>
              <a:gd name="connsiteX98" fmla="*/ 3551866 w 4527226"/>
              <a:gd name="connsiteY98" fmla="*/ 4644828 h 6046908"/>
              <a:gd name="connsiteX99" fmla="*/ 3887146 w 4527226"/>
              <a:gd name="connsiteY99" fmla="*/ 5025828 h 6046908"/>
              <a:gd name="connsiteX100" fmla="*/ 4100506 w 4527226"/>
              <a:gd name="connsiteY100" fmla="*/ 5300148 h 6046908"/>
              <a:gd name="connsiteX101" fmla="*/ 4367206 w 4527226"/>
              <a:gd name="connsiteY101" fmla="*/ 5726868 h 6046908"/>
              <a:gd name="connsiteX102" fmla="*/ 4527226 w 4527226"/>
              <a:gd name="connsiteY102" fmla="*/ 6046908 h 6046908"/>
              <a:gd name="connsiteX0" fmla="*/ 473386 w 4527226"/>
              <a:gd name="connsiteY0" fmla="*/ 5665908 h 6046908"/>
              <a:gd name="connsiteX1" fmla="*/ 511486 w 4527226"/>
              <a:gd name="connsiteY1" fmla="*/ 5612568 h 6046908"/>
              <a:gd name="connsiteX2" fmla="*/ 541966 w 4527226"/>
              <a:gd name="connsiteY2" fmla="*/ 5521128 h 6046908"/>
              <a:gd name="connsiteX3" fmla="*/ 564826 w 4527226"/>
              <a:gd name="connsiteY3" fmla="*/ 5353488 h 6046908"/>
              <a:gd name="connsiteX4" fmla="*/ 602926 w 4527226"/>
              <a:gd name="connsiteY4" fmla="*/ 5223948 h 6046908"/>
              <a:gd name="connsiteX5" fmla="*/ 625786 w 4527226"/>
              <a:gd name="connsiteY5" fmla="*/ 5178228 h 6046908"/>
              <a:gd name="connsiteX6" fmla="*/ 701986 w 4527226"/>
              <a:gd name="connsiteY6" fmla="*/ 5071548 h 6046908"/>
              <a:gd name="connsiteX7" fmla="*/ 717226 w 4527226"/>
              <a:gd name="connsiteY7" fmla="*/ 5063928 h 6046908"/>
              <a:gd name="connsiteX8" fmla="*/ 709606 w 4527226"/>
              <a:gd name="connsiteY8" fmla="*/ 5025828 h 6046908"/>
              <a:gd name="connsiteX9" fmla="*/ 701986 w 4527226"/>
              <a:gd name="connsiteY9" fmla="*/ 5002968 h 6046908"/>
              <a:gd name="connsiteX10" fmla="*/ 968686 w 4527226"/>
              <a:gd name="connsiteY10" fmla="*/ 4682928 h 6046908"/>
              <a:gd name="connsiteX11" fmla="*/ 961066 w 4527226"/>
              <a:gd name="connsiteY11" fmla="*/ 4644828 h 6046908"/>
              <a:gd name="connsiteX12" fmla="*/ 1342066 w 4527226"/>
              <a:gd name="connsiteY12" fmla="*/ 4172388 h 6046908"/>
              <a:gd name="connsiteX13" fmla="*/ 1258246 w 4527226"/>
              <a:gd name="connsiteY13" fmla="*/ 4012368 h 6046908"/>
              <a:gd name="connsiteX14" fmla="*/ 1204906 w 4527226"/>
              <a:gd name="connsiteY14" fmla="*/ 3928548 h 6046908"/>
              <a:gd name="connsiteX15" fmla="*/ 1174426 w 4527226"/>
              <a:gd name="connsiteY15" fmla="*/ 3768528 h 6046908"/>
              <a:gd name="connsiteX16" fmla="*/ 1151566 w 4527226"/>
              <a:gd name="connsiteY16" fmla="*/ 3699948 h 6046908"/>
              <a:gd name="connsiteX17" fmla="*/ 1143946 w 4527226"/>
              <a:gd name="connsiteY17" fmla="*/ 3669468 h 6046908"/>
              <a:gd name="connsiteX18" fmla="*/ 1067746 w 4527226"/>
              <a:gd name="connsiteY18" fmla="*/ 3661848 h 6046908"/>
              <a:gd name="connsiteX19" fmla="*/ 938206 w 4527226"/>
              <a:gd name="connsiteY19" fmla="*/ 3669468 h 6046908"/>
              <a:gd name="connsiteX20" fmla="*/ 831526 w 4527226"/>
              <a:gd name="connsiteY20" fmla="*/ 3692328 h 6046908"/>
              <a:gd name="connsiteX21" fmla="*/ 610546 w 4527226"/>
              <a:gd name="connsiteY21" fmla="*/ 3738048 h 6046908"/>
              <a:gd name="connsiteX22" fmla="*/ 389566 w 4527226"/>
              <a:gd name="connsiteY22" fmla="*/ 3638988 h 6046908"/>
              <a:gd name="connsiteX23" fmla="*/ 381946 w 4527226"/>
              <a:gd name="connsiteY23" fmla="*/ 3326568 h 6046908"/>
              <a:gd name="connsiteX24" fmla="*/ 420046 w 4527226"/>
              <a:gd name="connsiteY24" fmla="*/ 3227508 h 6046908"/>
              <a:gd name="connsiteX25" fmla="*/ 389566 w 4527226"/>
              <a:gd name="connsiteY25" fmla="*/ 3166548 h 6046908"/>
              <a:gd name="connsiteX26" fmla="*/ 351466 w 4527226"/>
              <a:gd name="connsiteY26" fmla="*/ 3105588 h 6046908"/>
              <a:gd name="connsiteX27" fmla="*/ 397186 w 4527226"/>
              <a:gd name="connsiteY27" fmla="*/ 3021768 h 6046908"/>
              <a:gd name="connsiteX28" fmla="*/ 488626 w 4527226"/>
              <a:gd name="connsiteY28" fmla="*/ 2998908 h 6046908"/>
              <a:gd name="connsiteX29" fmla="*/ 471956 w 4527226"/>
              <a:gd name="connsiteY29" fmla="*/ 2942709 h 6046908"/>
              <a:gd name="connsiteX30" fmla="*/ 435286 w 4527226"/>
              <a:gd name="connsiteY30" fmla="*/ 2930328 h 6046908"/>
              <a:gd name="connsiteX31" fmla="*/ 389566 w 4527226"/>
              <a:gd name="connsiteY31" fmla="*/ 2930328 h 6046908"/>
              <a:gd name="connsiteX32" fmla="*/ 314000 w 4527226"/>
              <a:gd name="connsiteY32" fmla="*/ 2893495 h 6046908"/>
              <a:gd name="connsiteX33" fmla="*/ 320986 w 4527226"/>
              <a:gd name="connsiteY33" fmla="*/ 2846508 h 6046908"/>
              <a:gd name="connsiteX34" fmla="*/ 328606 w 4527226"/>
              <a:gd name="connsiteY34" fmla="*/ 2793168 h 6046908"/>
              <a:gd name="connsiteX35" fmla="*/ 313366 w 4527226"/>
              <a:gd name="connsiteY35" fmla="*/ 2732208 h 6046908"/>
              <a:gd name="connsiteX36" fmla="*/ 267646 w 4527226"/>
              <a:gd name="connsiteY36" fmla="*/ 2671248 h 6046908"/>
              <a:gd name="connsiteX37" fmla="*/ 176206 w 4527226"/>
              <a:gd name="connsiteY37" fmla="*/ 2656008 h 6046908"/>
              <a:gd name="connsiteX38" fmla="*/ 54286 w 4527226"/>
              <a:gd name="connsiteY38" fmla="*/ 2610288 h 6046908"/>
              <a:gd name="connsiteX39" fmla="*/ 7931 w 4527226"/>
              <a:gd name="connsiteY39" fmla="*/ 2563298 h 6046908"/>
              <a:gd name="connsiteX40" fmla="*/ 8566 w 4527226"/>
              <a:gd name="connsiteY40" fmla="*/ 2488368 h 6046908"/>
              <a:gd name="connsiteX41" fmla="*/ 92386 w 4527226"/>
              <a:gd name="connsiteY41" fmla="*/ 2335968 h 6046908"/>
              <a:gd name="connsiteX42" fmla="*/ 221926 w 4527226"/>
              <a:gd name="connsiteY42" fmla="*/ 2175948 h 6046908"/>
              <a:gd name="connsiteX43" fmla="*/ 282886 w 4527226"/>
              <a:gd name="connsiteY43" fmla="*/ 2084508 h 6046908"/>
              <a:gd name="connsiteX44" fmla="*/ 328606 w 4527226"/>
              <a:gd name="connsiteY44" fmla="*/ 1977828 h 6046908"/>
              <a:gd name="connsiteX45" fmla="*/ 359086 w 4527226"/>
              <a:gd name="connsiteY45" fmla="*/ 1871148 h 6046908"/>
              <a:gd name="connsiteX46" fmla="*/ 374326 w 4527226"/>
              <a:gd name="connsiteY46" fmla="*/ 1810188 h 6046908"/>
              <a:gd name="connsiteX47" fmla="*/ 343846 w 4527226"/>
              <a:gd name="connsiteY47" fmla="*/ 1756848 h 6046908"/>
              <a:gd name="connsiteX48" fmla="*/ 328606 w 4527226"/>
              <a:gd name="connsiteY48" fmla="*/ 1680648 h 6046908"/>
              <a:gd name="connsiteX49" fmla="*/ 412426 w 4527226"/>
              <a:gd name="connsiteY49" fmla="*/ 1474908 h 6046908"/>
              <a:gd name="connsiteX50" fmla="*/ 442906 w 4527226"/>
              <a:gd name="connsiteY50" fmla="*/ 1307268 h 6046908"/>
              <a:gd name="connsiteX51" fmla="*/ 465766 w 4527226"/>
              <a:gd name="connsiteY51" fmla="*/ 1192968 h 6046908"/>
              <a:gd name="connsiteX52" fmla="*/ 503866 w 4527226"/>
              <a:gd name="connsiteY52" fmla="*/ 1055808 h 6046908"/>
              <a:gd name="connsiteX53" fmla="*/ 557206 w 4527226"/>
              <a:gd name="connsiteY53" fmla="*/ 888168 h 6046908"/>
              <a:gd name="connsiteX54" fmla="*/ 503866 w 4527226"/>
              <a:gd name="connsiteY54" fmla="*/ 888168 h 6046908"/>
              <a:gd name="connsiteX55" fmla="*/ 412426 w 4527226"/>
              <a:gd name="connsiteY55" fmla="*/ 834828 h 6046908"/>
              <a:gd name="connsiteX56" fmla="*/ 328606 w 4527226"/>
              <a:gd name="connsiteY56" fmla="*/ 789108 h 6046908"/>
              <a:gd name="connsiteX57" fmla="*/ 260026 w 4527226"/>
              <a:gd name="connsiteY57" fmla="*/ 773868 h 6046908"/>
              <a:gd name="connsiteX58" fmla="*/ 214306 w 4527226"/>
              <a:gd name="connsiteY58" fmla="*/ 751008 h 6046908"/>
              <a:gd name="connsiteX59" fmla="*/ 260026 w 4527226"/>
              <a:gd name="connsiteY59" fmla="*/ 674808 h 6046908"/>
              <a:gd name="connsiteX60" fmla="*/ 374326 w 4527226"/>
              <a:gd name="connsiteY60" fmla="*/ 606228 h 6046908"/>
              <a:gd name="connsiteX61" fmla="*/ 557206 w 4527226"/>
              <a:gd name="connsiteY61" fmla="*/ 507168 h 6046908"/>
              <a:gd name="connsiteX62" fmla="*/ 656266 w 4527226"/>
              <a:gd name="connsiteY62" fmla="*/ 423348 h 6046908"/>
              <a:gd name="connsiteX63" fmla="*/ 892486 w 4527226"/>
              <a:gd name="connsiteY63" fmla="*/ 232848 h 6046908"/>
              <a:gd name="connsiteX64" fmla="*/ 1174426 w 4527226"/>
              <a:gd name="connsiteY64" fmla="*/ 80448 h 6046908"/>
              <a:gd name="connsiteX65" fmla="*/ 1593526 w 4527226"/>
              <a:gd name="connsiteY65" fmla="*/ 11868 h 6046908"/>
              <a:gd name="connsiteX66" fmla="*/ 1944046 w 4527226"/>
              <a:gd name="connsiteY66" fmla="*/ 4248 h 6046908"/>
              <a:gd name="connsiteX67" fmla="*/ 2172646 w 4527226"/>
              <a:gd name="connsiteY67" fmla="*/ 4248 h 6046908"/>
              <a:gd name="connsiteX68" fmla="*/ 2393626 w 4527226"/>
              <a:gd name="connsiteY68" fmla="*/ 57588 h 6046908"/>
              <a:gd name="connsiteX69" fmla="*/ 2667946 w 4527226"/>
              <a:gd name="connsiteY69" fmla="*/ 133788 h 6046908"/>
              <a:gd name="connsiteX70" fmla="*/ 2820346 w 4527226"/>
              <a:gd name="connsiteY70" fmla="*/ 202368 h 6046908"/>
              <a:gd name="connsiteX71" fmla="*/ 3102286 w 4527226"/>
              <a:gd name="connsiteY71" fmla="*/ 400488 h 6046908"/>
              <a:gd name="connsiteX72" fmla="*/ 3285166 w 4527226"/>
              <a:gd name="connsiteY72" fmla="*/ 651948 h 6046908"/>
              <a:gd name="connsiteX73" fmla="*/ 3407086 w 4527226"/>
              <a:gd name="connsiteY73" fmla="*/ 918648 h 6046908"/>
              <a:gd name="connsiteX74" fmla="*/ 3475666 w 4527226"/>
              <a:gd name="connsiteY74" fmla="*/ 1238688 h 6046908"/>
              <a:gd name="connsiteX75" fmla="*/ 3506146 w 4527226"/>
              <a:gd name="connsiteY75" fmla="*/ 1543488 h 6046908"/>
              <a:gd name="connsiteX76" fmla="*/ 3506146 w 4527226"/>
              <a:gd name="connsiteY76" fmla="*/ 1962588 h 6046908"/>
              <a:gd name="connsiteX77" fmla="*/ 3338506 w 4527226"/>
              <a:gd name="connsiteY77" fmla="*/ 2305488 h 6046908"/>
              <a:gd name="connsiteX78" fmla="*/ 3254686 w 4527226"/>
              <a:gd name="connsiteY78" fmla="*/ 2473128 h 6046908"/>
              <a:gd name="connsiteX79" fmla="*/ 3132766 w 4527226"/>
              <a:gd name="connsiteY79" fmla="*/ 2663628 h 6046908"/>
              <a:gd name="connsiteX80" fmla="*/ 3071806 w 4527226"/>
              <a:gd name="connsiteY80" fmla="*/ 2838888 h 6046908"/>
              <a:gd name="connsiteX81" fmla="*/ 3064186 w 4527226"/>
              <a:gd name="connsiteY81" fmla="*/ 2915088 h 6046908"/>
              <a:gd name="connsiteX82" fmla="*/ 3018466 w 4527226"/>
              <a:gd name="connsiteY82" fmla="*/ 3014148 h 6046908"/>
              <a:gd name="connsiteX83" fmla="*/ 2980366 w 4527226"/>
              <a:gd name="connsiteY83" fmla="*/ 3082728 h 6046908"/>
              <a:gd name="connsiteX84" fmla="*/ 2957506 w 4527226"/>
              <a:gd name="connsiteY84" fmla="*/ 3120828 h 6046908"/>
              <a:gd name="connsiteX85" fmla="*/ 2957506 w 4527226"/>
              <a:gd name="connsiteY85" fmla="*/ 3555168 h 6046908"/>
              <a:gd name="connsiteX86" fmla="*/ 3010846 w 4527226"/>
              <a:gd name="connsiteY86" fmla="*/ 3539928 h 6046908"/>
              <a:gd name="connsiteX87" fmla="*/ 3109906 w 4527226"/>
              <a:gd name="connsiteY87" fmla="*/ 3570408 h 6046908"/>
              <a:gd name="connsiteX88" fmla="*/ 3140386 w 4527226"/>
              <a:gd name="connsiteY88" fmla="*/ 3631368 h 6046908"/>
              <a:gd name="connsiteX89" fmla="*/ 3117526 w 4527226"/>
              <a:gd name="connsiteY89" fmla="*/ 3738048 h 6046908"/>
              <a:gd name="connsiteX90" fmla="*/ 3125146 w 4527226"/>
              <a:gd name="connsiteY90" fmla="*/ 4103808 h 6046908"/>
              <a:gd name="connsiteX91" fmla="*/ 3163246 w 4527226"/>
              <a:gd name="connsiteY91" fmla="*/ 4157148 h 6046908"/>
              <a:gd name="connsiteX92" fmla="*/ 3201346 w 4527226"/>
              <a:gd name="connsiteY92" fmla="*/ 4164768 h 6046908"/>
              <a:gd name="connsiteX93" fmla="*/ 3231826 w 4527226"/>
              <a:gd name="connsiteY93" fmla="*/ 4172388 h 6046908"/>
              <a:gd name="connsiteX94" fmla="*/ 3285166 w 4527226"/>
              <a:gd name="connsiteY94" fmla="*/ 4294308 h 6046908"/>
              <a:gd name="connsiteX95" fmla="*/ 3300406 w 4527226"/>
              <a:gd name="connsiteY95" fmla="*/ 4347648 h 6046908"/>
              <a:gd name="connsiteX96" fmla="*/ 3330886 w 4527226"/>
              <a:gd name="connsiteY96" fmla="*/ 4408608 h 6046908"/>
              <a:gd name="connsiteX97" fmla="*/ 3551866 w 4527226"/>
              <a:gd name="connsiteY97" fmla="*/ 4644828 h 6046908"/>
              <a:gd name="connsiteX98" fmla="*/ 3887146 w 4527226"/>
              <a:gd name="connsiteY98" fmla="*/ 5025828 h 6046908"/>
              <a:gd name="connsiteX99" fmla="*/ 4100506 w 4527226"/>
              <a:gd name="connsiteY99" fmla="*/ 5300148 h 6046908"/>
              <a:gd name="connsiteX100" fmla="*/ 4367206 w 4527226"/>
              <a:gd name="connsiteY100" fmla="*/ 5726868 h 6046908"/>
              <a:gd name="connsiteX101" fmla="*/ 4527226 w 4527226"/>
              <a:gd name="connsiteY101" fmla="*/ 6046908 h 6046908"/>
              <a:gd name="connsiteX0" fmla="*/ 511486 w 4527226"/>
              <a:gd name="connsiteY0" fmla="*/ 5612568 h 6046908"/>
              <a:gd name="connsiteX1" fmla="*/ 541966 w 4527226"/>
              <a:gd name="connsiteY1" fmla="*/ 5521128 h 6046908"/>
              <a:gd name="connsiteX2" fmla="*/ 564826 w 4527226"/>
              <a:gd name="connsiteY2" fmla="*/ 5353488 h 6046908"/>
              <a:gd name="connsiteX3" fmla="*/ 602926 w 4527226"/>
              <a:gd name="connsiteY3" fmla="*/ 5223948 h 6046908"/>
              <a:gd name="connsiteX4" fmla="*/ 625786 w 4527226"/>
              <a:gd name="connsiteY4" fmla="*/ 5178228 h 6046908"/>
              <a:gd name="connsiteX5" fmla="*/ 701986 w 4527226"/>
              <a:gd name="connsiteY5" fmla="*/ 5071548 h 6046908"/>
              <a:gd name="connsiteX6" fmla="*/ 717226 w 4527226"/>
              <a:gd name="connsiteY6" fmla="*/ 5063928 h 6046908"/>
              <a:gd name="connsiteX7" fmla="*/ 709606 w 4527226"/>
              <a:gd name="connsiteY7" fmla="*/ 5025828 h 6046908"/>
              <a:gd name="connsiteX8" fmla="*/ 701986 w 4527226"/>
              <a:gd name="connsiteY8" fmla="*/ 5002968 h 6046908"/>
              <a:gd name="connsiteX9" fmla="*/ 968686 w 4527226"/>
              <a:gd name="connsiteY9" fmla="*/ 4682928 h 6046908"/>
              <a:gd name="connsiteX10" fmla="*/ 961066 w 4527226"/>
              <a:gd name="connsiteY10" fmla="*/ 4644828 h 6046908"/>
              <a:gd name="connsiteX11" fmla="*/ 1342066 w 4527226"/>
              <a:gd name="connsiteY11" fmla="*/ 4172388 h 6046908"/>
              <a:gd name="connsiteX12" fmla="*/ 1258246 w 4527226"/>
              <a:gd name="connsiteY12" fmla="*/ 4012368 h 6046908"/>
              <a:gd name="connsiteX13" fmla="*/ 1204906 w 4527226"/>
              <a:gd name="connsiteY13" fmla="*/ 3928548 h 6046908"/>
              <a:gd name="connsiteX14" fmla="*/ 1174426 w 4527226"/>
              <a:gd name="connsiteY14" fmla="*/ 3768528 h 6046908"/>
              <a:gd name="connsiteX15" fmla="*/ 1151566 w 4527226"/>
              <a:gd name="connsiteY15" fmla="*/ 3699948 h 6046908"/>
              <a:gd name="connsiteX16" fmla="*/ 1143946 w 4527226"/>
              <a:gd name="connsiteY16" fmla="*/ 3669468 h 6046908"/>
              <a:gd name="connsiteX17" fmla="*/ 1067746 w 4527226"/>
              <a:gd name="connsiteY17" fmla="*/ 3661848 h 6046908"/>
              <a:gd name="connsiteX18" fmla="*/ 938206 w 4527226"/>
              <a:gd name="connsiteY18" fmla="*/ 3669468 h 6046908"/>
              <a:gd name="connsiteX19" fmla="*/ 831526 w 4527226"/>
              <a:gd name="connsiteY19" fmla="*/ 3692328 h 6046908"/>
              <a:gd name="connsiteX20" fmla="*/ 610546 w 4527226"/>
              <a:gd name="connsiteY20" fmla="*/ 3738048 h 6046908"/>
              <a:gd name="connsiteX21" fmla="*/ 389566 w 4527226"/>
              <a:gd name="connsiteY21" fmla="*/ 3638988 h 6046908"/>
              <a:gd name="connsiteX22" fmla="*/ 381946 w 4527226"/>
              <a:gd name="connsiteY22" fmla="*/ 3326568 h 6046908"/>
              <a:gd name="connsiteX23" fmla="*/ 420046 w 4527226"/>
              <a:gd name="connsiteY23" fmla="*/ 3227508 h 6046908"/>
              <a:gd name="connsiteX24" fmla="*/ 389566 w 4527226"/>
              <a:gd name="connsiteY24" fmla="*/ 3166548 h 6046908"/>
              <a:gd name="connsiteX25" fmla="*/ 351466 w 4527226"/>
              <a:gd name="connsiteY25" fmla="*/ 3105588 h 6046908"/>
              <a:gd name="connsiteX26" fmla="*/ 397186 w 4527226"/>
              <a:gd name="connsiteY26" fmla="*/ 3021768 h 6046908"/>
              <a:gd name="connsiteX27" fmla="*/ 488626 w 4527226"/>
              <a:gd name="connsiteY27" fmla="*/ 2998908 h 6046908"/>
              <a:gd name="connsiteX28" fmla="*/ 471956 w 4527226"/>
              <a:gd name="connsiteY28" fmla="*/ 2942709 h 6046908"/>
              <a:gd name="connsiteX29" fmla="*/ 435286 w 4527226"/>
              <a:gd name="connsiteY29" fmla="*/ 2930328 h 6046908"/>
              <a:gd name="connsiteX30" fmla="*/ 389566 w 4527226"/>
              <a:gd name="connsiteY30" fmla="*/ 2930328 h 6046908"/>
              <a:gd name="connsiteX31" fmla="*/ 314000 w 4527226"/>
              <a:gd name="connsiteY31" fmla="*/ 2893495 h 6046908"/>
              <a:gd name="connsiteX32" fmla="*/ 320986 w 4527226"/>
              <a:gd name="connsiteY32" fmla="*/ 2846508 h 6046908"/>
              <a:gd name="connsiteX33" fmla="*/ 328606 w 4527226"/>
              <a:gd name="connsiteY33" fmla="*/ 2793168 h 6046908"/>
              <a:gd name="connsiteX34" fmla="*/ 313366 w 4527226"/>
              <a:gd name="connsiteY34" fmla="*/ 2732208 h 6046908"/>
              <a:gd name="connsiteX35" fmla="*/ 267646 w 4527226"/>
              <a:gd name="connsiteY35" fmla="*/ 2671248 h 6046908"/>
              <a:gd name="connsiteX36" fmla="*/ 176206 w 4527226"/>
              <a:gd name="connsiteY36" fmla="*/ 2656008 h 6046908"/>
              <a:gd name="connsiteX37" fmla="*/ 54286 w 4527226"/>
              <a:gd name="connsiteY37" fmla="*/ 2610288 h 6046908"/>
              <a:gd name="connsiteX38" fmla="*/ 7931 w 4527226"/>
              <a:gd name="connsiteY38" fmla="*/ 2563298 h 6046908"/>
              <a:gd name="connsiteX39" fmla="*/ 8566 w 4527226"/>
              <a:gd name="connsiteY39" fmla="*/ 2488368 h 6046908"/>
              <a:gd name="connsiteX40" fmla="*/ 92386 w 4527226"/>
              <a:gd name="connsiteY40" fmla="*/ 2335968 h 6046908"/>
              <a:gd name="connsiteX41" fmla="*/ 221926 w 4527226"/>
              <a:gd name="connsiteY41" fmla="*/ 2175948 h 6046908"/>
              <a:gd name="connsiteX42" fmla="*/ 282886 w 4527226"/>
              <a:gd name="connsiteY42" fmla="*/ 2084508 h 6046908"/>
              <a:gd name="connsiteX43" fmla="*/ 328606 w 4527226"/>
              <a:gd name="connsiteY43" fmla="*/ 1977828 h 6046908"/>
              <a:gd name="connsiteX44" fmla="*/ 359086 w 4527226"/>
              <a:gd name="connsiteY44" fmla="*/ 1871148 h 6046908"/>
              <a:gd name="connsiteX45" fmla="*/ 374326 w 4527226"/>
              <a:gd name="connsiteY45" fmla="*/ 1810188 h 6046908"/>
              <a:gd name="connsiteX46" fmla="*/ 343846 w 4527226"/>
              <a:gd name="connsiteY46" fmla="*/ 1756848 h 6046908"/>
              <a:gd name="connsiteX47" fmla="*/ 328606 w 4527226"/>
              <a:gd name="connsiteY47" fmla="*/ 1680648 h 6046908"/>
              <a:gd name="connsiteX48" fmla="*/ 412426 w 4527226"/>
              <a:gd name="connsiteY48" fmla="*/ 1474908 h 6046908"/>
              <a:gd name="connsiteX49" fmla="*/ 442906 w 4527226"/>
              <a:gd name="connsiteY49" fmla="*/ 1307268 h 6046908"/>
              <a:gd name="connsiteX50" fmla="*/ 465766 w 4527226"/>
              <a:gd name="connsiteY50" fmla="*/ 1192968 h 6046908"/>
              <a:gd name="connsiteX51" fmla="*/ 503866 w 4527226"/>
              <a:gd name="connsiteY51" fmla="*/ 1055808 h 6046908"/>
              <a:gd name="connsiteX52" fmla="*/ 557206 w 4527226"/>
              <a:gd name="connsiteY52" fmla="*/ 888168 h 6046908"/>
              <a:gd name="connsiteX53" fmla="*/ 503866 w 4527226"/>
              <a:gd name="connsiteY53" fmla="*/ 888168 h 6046908"/>
              <a:gd name="connsiteX54" fmla="*/ 412426 w 4527226"/>
              <a:gd name="connsiteY54" fmla="*/ 834828 h 6046908"/>
              <a:gd name="connsiteX55" fmla="*/ 328606 w 4527226"/>
              <a:gd name="connsiteY55" fmla="*/ 789108 h 6046908"/>
              <a:gd name="connsiteX56" fmla="*/ 260026 w 4527226"/>
              <a:gd name="connsiteY56" fmla="*/ 773868 h 6046908"/>
              <a:gd name="connsiteX57" fmla="*/ 214306 w 4527226"/>
              <a:gd name="connsiteY57" fmla="*/ 751008 h 6046908"/>
              <a:gd name="connsiteX58" fmla="*/ 260026 w 4527226"/>
              <a:gd name="connsiteY58" fmla="*/ 674808 h 6046908"/>
              <a:gd name="connsiteX59" fmla="*/ 374326 w 4527226"/>
              <a:gd name="connsiteY59" fmla="*/ 606228 h 6046908"/>
              <a:gd name="connsiteX60" fmla="*/ 557206 w 4527226"/>
              <a:gd name="connsiteY60" fmla="*/ 507168 h 6046908"/>
              <a:gd name="connsiteX61" fmla="*/ 656266 w 4527226"/>
              <a:gd name="connsiteY61" fmla="*/ 423348 h 6046908"/>
              <a:gd name="connsiteX62" fmla="*/ 892486 w 4527226"/>
              <a:gd name="connsiteY62" fmla="*/ 232848 h 6046908"/>
              <a:gd name="connsiteX63" fmla="*/ 1174426 w 4527226"/>
              <a:gd name="connsiteY63" fmla="*/ 80448 h 6046908"/>
              <a:gd name="connsiteX64" fmla="*/ 1593526 w 4527226"/>
              <a:gd name="connsiteY64" fmla="*/ 11868 h 6046908"/>
              <a:gd name="connsiteX65" fmla="*/ 1944046 w 4527226"/>
              <a:gd name="connsiteY65" fmla="*/ 4248 h 6046908"/>
              <a:gd name="connsiteX66" fmla="*/ 2172646 w 4527226"/>
              <a:gd name="connsiteY66" fmla="*/ 4248 h 6046908"/>
              <a:gd name="connsiteX67" fmla="*/ 2393626 w 4527226"/>
              <a:gd name="connsiteY67" fmla="*/ 57588 h 6046908"/>
              <a:gd name="connsiteX68" fmla="*/ 2667946 w 4527226"/>
              <a:gd name="connsiteY68" fmla="*/ 133788 h 6046908"/>
              <a:gd name="connsiteX69" fmla="*/ 2820346 w 4527226"/>
              <a:gd name="connsiteY69" fmla="*/ 202368 h 6046908"/>
              <a:gd name="connsiteX70" fmla="*/ 3102286 w 4527226"/>
              <a:gd name="connsiteY70" fmla="*/ 400488 h 6046908"/>
              <a:gd name="connsiteX71" fmla="*/ 3285166 w 4527226"/>
              <a:gd name="connsiteY71" fmla="*/ 651948 h 6046908"/>
              <a:gd name="connsiteX72" fmla="*/ 3407086 w 4527226"/>
              <a:gd name="connsiteY72" fmla="*/ 918648 h 6046908"/>
              <a:gd name="connsiteX73" fmla="*/ 3475666 w 4527226"/>
              <a:gd name="connsiteY73" fmla="*/ 1238688 h 6046908"/>
              <a:gd name="connsiteX74" fmla="*/ 3506146 w 4527226"/>
              <a:gd name="connsiteY74" fmla="*/ 1543488 h 6046908"/>
              <a:gd name="connsiteX75" fmla="*/ 3506146 w 4527226"/>
              <a:gd name="connsiteY75" fmla="*/ 1962588 h 6046908"/>
              <a:gd name="connsiteX76" fmla="*/ 3338506 w 4527226"/>
              <a:gd name="connsiteY76" fmla="*/ 2305488 h 6046908"/>
              <a:gd name="connsiteX77" fmla="*/ 3254686 w 4527226"/>
              <a:gd name="connsiteY77" fmla="*/ 2473128 h 6046908"/>
              <a:gd name="connsiteX78" fmla="*/ 3132766 w 4527226"/>
              <a:gd name="connsiteY78" fmla="*/ 2663628 h 6046908"/>
              <a:gd name="connsiteX79" fmla="*/ 3071806 w 4527226"/>
              <a:gd name="connsiteY79" fmla="*/ 2838888 h 6046908"/>
              <a:gd name="connsiteX80" fmla="*/ 3064186 w 4527226"/>
              <a:gd name="connsiteY80" fmla="*/ 2915088 h 6046908"/>
              <a:gd name="connsiteX81" fmla="*/ 3018466 w 4527226"/>
              <a:gd name="connsiteY81" fmla="*/ 3014148 h 6046908"/>
              <a:gd name="connsiteX82" fmla="*/ 2980366 w 4527226"/>
              <a:gd name="connsiteY82" fmla="*/ 3082728 h 6046908"/>
              <a:gd name="connsiteX83" fmla="*/ 2957506 w 4527226"/>
              <a:gd name="connsiteY83" fmla="*/ 3120828 h 6046908"/>
              <a:gd name="connsiteX84" fmla="*/ 2957506 w 4527226"/>
              <a:gd name="connsiteY84" fmla="*/ 3555168 h 6046908"/>
              <a:gd name="connsiteX85" fmla="*/ 3010846 w 4527226"/>
              <a:gd name="connsiteY85" fmla="*/ 3539928 h 6046908"/>
              <a:gd name="connsiteX86" fmla="*/ 3109906 w 4527226"/>
              <a:gd name="connsiteY86" fmla="*/ 3570408 h 6046908"/>
              <a:gd name="connsiteX87" fmla="*/ 3140386 w 4527226"/>
              <a:gd name="connsiteY87" fmla="*/ 3631368 h 6046908"/>
              <a:gd name="connsiteX88" fmla="*/ 3117526 w 4527226"/>
              <a:gd name="connsiteY88" fmla="*/ 3738048 h 6046908"/>
              <a:gd name="connsiteX89" fmla="*/ 3125146 w 4527226"/>
              <a:gd name="connsiteY89" fmla="*/ 4103808 h 6046908"/>
              <a:gd name="connsiteX90" fmla="*/ 3163246 w 4527226"/>
              <a:gd name="connsiteY90" fmla="*/ 4157148 h 6046908"/>
              <a:gd name="connsiteX91" fmla="*/ 3201346 w 4527226"/>
              <a:gd name="connsiteY91" fmla="*/ 4164768 h 6046908"/>
              <a:gd name="connsiteX92" fmla="*/ 3231826 w 4527226"/>
              <a:gd name="connsiteY92" fmla="*/ 4172388 h 6046908"/>
              <a:gd name="connsiteX93" fmla="*/ 3285166 w 4527226"/>
              <a:gd name="connsiteY93" fmla="*/ 4294308 h 6046908"/>
              <a:gd name="connsiteX94" fmla="*/ 3300406 w 4527226"/>
              <a:gd name="connsiteY94" fmla="*/ 4347648 h 6046908"/>
              <a:gd name="connsiteX95" fmla="*/ 3330886 w 4527226"/>
              <a:gd name="connsiteY95" fmla="*/ 4408608 h 6046908"/>
              <a:gd name="connsiteX96" fmla="*/ 3551866 w 4527226"/>
              <a:gd name="connsiteY96" fmla="*/ 4644828 h 6046908"/>
              <a:gd name="connsiteX97" fmla="*/ 3887146 w 4527226"/>
              <a:gd name="connsiteY97" fmla="*/ 5025828 h 6046908"/>
              <a:gd name="connsiteX98" fmla="*/ 4100506 w 4527226"/>
              <a:gd name="connsiteY98" fmla="*/ 5300148 h 6046908"/>
              <a:gd name="connsiteX99" fmla="*/ 4367206 w 4527226"/>
              <a:gd name="connsiteY99" fmla="*/ 5726868 h 6046908"/>
              <a:gd name="connsiteX100" fmla="*/ 4527226 w 4527226"/>
              <a:gd name="connsiteY100" fmla="*/ 6046908 h 6046908"/>
              <a:gd name="connsiteX0" fmla="*/ 541966 w 4527226"/>
              <a:gd name="connsiteY0" fmla="*/ 5521128 h 6046908"/>
              <a:gd name="connsiteX1" fmla="*/ 564826 w 4527226"/>
              <a:gd name="connsiteY1" fmla="*/ 5353488 h 6046908"/>
              <a:gd name="connsiteX2" fmla="*/ 602926 w 4527226"/>
              <a:gd name="connsiteY2" fmla="*/ 5223948 h 6046908"/>
              <a:gd name="connsiteX3" fmla="*/ 625786 w 4527226"/>
              <a:gd name="connsiteY3" fmla="*/ 5178228 h 6046908"/>
              <a:gd name="connsiteX4" fmla="*/ 701986 w 4527226"/>
              <a:gd name="connsiteY4" fmla="*/ 5071548 h 6046908"/>
              <a:gd name="connsiteX5" fmla="*/ 717226 w 4527226"/>
              <a:gd name="connsiteY5" fmla="*/ 5063928 h 6046908"/>
              <a:gd name="connsiteX6" fmla="*/ 709606 w 4527226"/>
              <a:gd name="connsiteY6" fmla="*/ 5025828 h 6046908"/>
              <a:gd name="connsiteX7" fmla="*/ 701986 w 4527226"/>
              <a:gd name="connsiteY7" fmla="*/ 5002968 h 6046908"/>
              <a:gd name="connsiteX8" fmla="*/ 968686 w 4527226"/>
              <a:gd name="connsiteY8" fmla="*/ 4682928 h 6046908"/>
              <a:gd name="connsiteX9" fmla="*/ 961066 w 4527226"/>
              <a:gd name="connsiteY9" fmla="*/ 4644828 h 6046908"/>
              <a:gd name="connsiteX10" fmla="*/ 1342066 w 4527226"/>
              <a:gd name="connsiteY10" fmla="*/ 4172388 h 6046908"/>
              <a:gd name="connsiteX11" fmla="*/ 1258246 w 4527226"/>
              <a:gd name="connsiteY11" fmla="*/ 4012368 h 6046908"/>
              <a:gd name="connsiteX12" fmla="*/ 1204906 w 4527226"/>
              <a:gd name="connsiteY12" fmla="*/ 3928548 h 6046908"/>
              <a:gd name="connsiteX13" fmla="*/ 1174426 w 4527226"/>
              <a:gd name="connsiteY13" fmla="*/ 3768528 h 6046908"/>
              <a:gd name="connsiteX14" fmla="*/ 1151566 w 4527226"/>
              <a:gd name="connsiteY14" fmla="*/ 3699948 h 6046908"/>
              <a:gd name="connsiteX15" fmla="*/ 1143946 w 4527226"/>
              <a:gd name="connsiteY15" fmla="*/ 3669468 h 6046908"/>
              <a:gd name="connsiteX16" fmla="*/ 1067746 w 4527226"/>
              <a:gd name="connsiteY16" fmla="*/ 3661848 h 6046908"/>
              <a:gd name="connsiteX17" fmla="*/ 938206 w 4527226"/>
              <a:gd name="connsiteY17" fmla="*/ 3669468 h 6046908"/>
              <a:gd name="connsiteX18" fmla="*/ 831526 w 4527226"/>
              <a:gd name="connsiteY18" fmla="*/ 3692328 h 6046908"/>
              <a:gd name="connsiteX19" fmla="*/ 610546 w 4527226"/>
              <a:gd name="connsiteY19" fmla="*/ 3738048 h 6046908"/>
              <a:gd name="connsiteX20" fmla="*/ 389566 w 4527226"/>
              <a:gd name="connsiteY20" fmla="*/ 3638988 h 6046908"/>
              <a:gd name="connsiteX21" fmla="*/ 381946 w 4527226"/>
              <a:gd name="connsiteY21" fmla="*/ 3326568 h 6046908"/>
              <a:gd name="connsiteX22" fmla="*/ 420046 w 4527226"/>
              <a:gd name="connsiteY22" fmla="*/ 3227508 h 6046908"/>
              <a:gd name="connsiteX23" fmla="*/ 389566 w 4527226"/>
              <a:gd name="connsiteY23" fmla="*/ 3166548 h 6046908"/>
              <a:gd name="connsiteX24" fmla="*/ 351466 w 4527226"/>
              <a:gd name="connsiteY24" fmla="*/ 3105588 h 6046908"/>
              <a:gd name="connsiteX25" fmla="*/ 397186 w 4527226"/>
              <a:gd name="connsiteY25" fmla="*/ 3021768 h 6046908"/>
              <a:gd name="connsiteX26" fmla="*/ 488626 w 4527226"/>
              <a:gd name="connsiteY26" fmla="*/ 2998908 h 6046908"/>
              <a:gd name="connsiteX27" fmla="*/ 471956 w 4527226"/>
              <a:gd name="connsiteY27" fmla="*/ 2942709 h 6046908"/>
              <a:gd name="connsiteX28" fmla="*/ 435286 w 4527226"/>
              <a:gd name="connsiteY28" fmla="*/ 2930328 h 6046908"/>
              <a:gd name="connsiteX29" fmla="*/ 389566 w 4527226"/>
              <a:gd name="connsiteY29" fmla="*/ 2930328 h 6046908"/>
              <a:gd name="connsiteX30" fmla="*/ 314000 w 4527226"/>
              <a:gd name="connsiteY30" fmla="*/ 2893495 h 6046908"/>
              <a:gd name="connsiteX31" fmla="*/ 320986 w 4527226"/>
              <a:gd name="connsiteY31" fmla="*/ 2846508 h 6046908"/>
              <a:gd name="connsiteX32" fmla="*/ 328606 w 4527226"/>
              <a:gd name="connsiteY32" fmla="*/ 2793168 h 6046908"/>
              <a:gd name="connsiteX33" fmla="*/ 313366 w 4527226"/>
              <a:gd name="connsiteY33" fmla="*/ 2732208 h 6046908"/>
              <a:gd name="connsiteX34" fmla="*/ 267646 w 4527226"/>
              <a:gd name="connsiteY34" fmla="*/ 2671248 h 6046908"/>
              <a:gd name="connsiteX35" fmla="*/ 176206 w 4527226"/>
              <a:gd name="connsiteY35" fmla="*/ 2656008 h 6046908"/>
              <a:gd name="connsiteX36" fmla="*/ 54286 w 4527226"/>
              <a:gd name="connsiteY36" fmla="*/ 2610288 h 6046908"/>
              <a:gd name="connsiteX37" fmla="*/ 7931 w 4527226"/>
              <a:gd name="connsiteY37" fmla="*/ 2563298 h 6046908"/>
              <a:gd name="connsiteX38" fmla="*/ 8566 w 4527226"/>
              <a:gd name="connsiteY38" fmla="*/ 2488368 h 6046908"/>
              <a:gd name="connsiteX39" fmla="*/ 92386 w 4527226"/>
              <a:gd name="connsiteY39" fmla="*/ 2335968 h 6046908"/>
              <a:gd name="connsiteX40" fmla="*/ 221926 w 4527226"/>
              <a:gd name="connsiteY40" fmla="*/ 2175948 h 6046908"/>
              <a:gd name="connsiteX41" fmla="*/ 282886 w 4527226"/>
              <a:gd name="connsiteY41" fmla="*/ 2084508 h 6046908"/>
              <a:gd name="connsiteX42" fmla="*/ 328606 w 4527226"/>
              <a:gd name="connsiteY42" fmla="*/ 1977828 h 6046908"/>
              <a:gd name="connsiteX43" fmla="*/ 359086 w 4527226"/>
              <a:gd name="connsiteY43" fmla="*/ 1871148 h 6046908"/>
              <a:gd name="connsiteX44" fmla="*/ 374326 w 4527226"/>
              <a:gd name="connsiteY44" fmla="*/ 1810188 h 6046908"/>
              <a:gd name="connsiteX45" fmla="*/ 343846 w 4527226"/>
              <a:gd name="connsiteY45" fmla="*/ 1756848 h 6046908"/>
              <a:gd name="connsiteX46" fmla="*/ 328606 w 4527226"/>
              <a:gd name="connsiteY46" fmla="*/ 1680648 h 6046908"/>
              <a:gd name="connsiteX47" fmla="*/ 412426 w 4527226"/>
              <a:gd name="connsiteY47" fmla="*/ 1474908 h 6046908"/>
              <a:gd name="connsiteX48" fmla="*/ 442906 w 4527226"/>
              <a:gd name="connsiteY48" fmla="*/ 1307268 h 6046908"/>
              <a:gd name="connsiteX49" fmla="*/ 465766 w 4527226"/>
              <a:gd name="connsiteY49" fmla="*/ 1192968 h 6046908"/>
              <a:gd name="connsiteX50" fmla="*/ 503866 w 4527226"/>
              <a:gd name="connsiteY50" fmla="*/ 1055808 h 6046908"/>
              <a:gd name="connsiteX51" fmla="*/ 557206 w 4527226"/>
              <a:gd name="connsiteY51" fmla="*/ 888168 h 6046908"/>
              <a:gd name="connsiteX52" fmla="*/ 503866 w 4527226"/>
              <a:gd name="connsiteY52" fmla="*/ 888168 h 6046908"/>
              <a:gd name="connsiteX53" fmla="*/ 412426 w 4527226"/>
              <a:gd name="connsiteY53" fmla="*/ 834828 h 6046908"/>
              <a:gd name="connsiteX54" fmla="*/ 328606 w 4527226"/>
              <a:gd name="connsiteY54" fmla="*/ 789108 h 6046908"/>
              <a:gd name="connsiteX55" fmla="*/ 260026 w 4527226"/>
              <a:gd name="connsiteY55" fmla="*/ 773868 h 6046908"/>
              <a:gd name="connsiteX56" fmla="*/ 214306 w 4527226"/>
              <a:gd name="connsiteY56" fmla="*/ 751008 h 6046908"/>
              <a:gd name="connsiteX57" fmla="*/ 260026 w 4527226"/>
              <a:gd name="connsiteY57" fmla="*/ 674808 h 6046908"/>
              <a:gd name="connsiteX58" fmla="*/ 374326 w 4527226"/>
              <a:gd name="connsiteY58" fmla="*/ 606228 h 6046908"/>
              <a:gd name="connsiteX59" fmla="*/ 557206 w 4527226"/>
              <a:gd name="connsiteY59" fmla="*/ 507168 h 6046908"/>
              <a:gd name="connsiteX60" fmla="*/ 656266 w 4527226"/>
              <a:gd name="connsiteY60" fmla="*/ 423348 h 6046908"/>
              <a:gd name="connsiteX61" fmla="*/ 892486 w 4527226"/>
              <a:gd name="connsiteY61" fmla="*/ 232848 h 6046908"/>
              <a:gd name="connsiteX62" fmla="*/ 1174426 w 4527226"/>
              <a:gd name="connsiteY62" fmla="*/ 80448 h 6046908"/>
              <a:gd name="connsiteX63" fmla="*/ 1593526 w 4527226"/>
              <a:gd name="connsiteY63" fmla="*/ 11868 h 6046908"/>
              <a:gd name="connsiteX64" fmla="*/ 1944046 w 4527226"/>
              <a:gd name="connsiteY64" fmla="*/ 4248 h 6046908"/>
              <a:gd name="connsiteX65" fmla="*/ 2172646 w 4527226"/>
              <a:gd name="connsiteY65" fmla="*/ 4248 h 6046908"/>
              <a:gd name="connsiteX66" fmla="*/ 2393626 w 4527226"/>
              <a:gd name="connsiteY66" fmla="*/ 57588 h 6046908"/>
              <a:gd name="connsiteX67" fmla="*/ 2667946 w 4527226"/>
              <a:gd name="connsiteY67" fmla="*/ 133788 h 6046908"/>
              <a:gd name="connsiteX68" fmla="*/ 2820346 w 4527226"/>
              <a:gd name="connsiteY68" fmla="*/ 202368 h 6046908"/>
              <a:gd name="connsiteX69" fmla="*/ 3102286 w 4527226"/>
              <a:gd name="connsiteY69" fmla="*/ 400488 h 6046908"/>
              <a:gd name="connsiteX70" fmla="*/ 3285166 w 4527226"/>
              <a:gd name="connsiteY70" fmla="*/ 651948 h 6046908"/>
              <a:gd name="connsiteX71" fmla="*/ 3407086 w 4527226"/>
              <a:gd name="connsiteY71" fmla="*/ 918648 h 6046908"/>
              <a:gd name="connsiteX72" fmla="*/ 3475666 w 4527226"/>
              <a:gd name="connsiteY72" fmla="*/ 1238688 h 6046908"/>
              <a:gd name="connsiteX73" fmla="*/ 3506146 w 4527226"/>
              <a:gd name="connsiteY73" fmla="*/ 1543488 h 6046908"/>
              <a:gd name="connsiteX74" fmla="*/ 3506146 w 4527226"/>
              <a:gd name="connsiteY74" fmla="*/ 1962588 h 6046908"/>
              <a:gd name="connsiteX75" fmla="*/ 3338506 w 4527226"/>
              <a:gd name="connsiteY75" fmla="*/ 2305488 h 6046908"/>
              <a:gd name="connsiteX76" fmla="*/ 3254686 w 4527226"/>
              <a:gd name="connsiteY76" fmla="*/ 2473128 h 6046908"/>
              <a:gd name="connsiteX77" fmla="*/ 3132766 w 4527226"/>
              <a:gd name="connsiteY77" fmla="*/ 2663628 h 6046908"/>
              <a:gd name="connsiteX78" fmla="*/ 3071806 w 4527226"/>
              <a:gd name="connsiteY78" fmla="*/ 2838888 h 6046908"/>
              <a:gd name="connsiteX79" fmla="*/ 3064186 w 4527226"/>
              <a:gd name="connsiteY79" fmla="*/ 2915088 h 6046908"/>
              <a:gd name="connsiteX80" fmla="*/ 3018466 w 4527226"/>
              <a:gd name="connsiteY80" fmla="*/ 3014148 h 6046908"/>
              <a:gd name="connsiteX81" fmla="*/ 2980366 w 4527226"/>
              <a:gd name="connsiteY81" fmla="*/ 3082728 h 6046908"/>
              <a:gd name="connsiteX82" fmla="*/ 2957506 w 4527226"/>
              <a:gd name="connsiteY82" fmla="*/ 3120828 h 6046908"/>
              <a:gd name="connsiteX83" fmla="*/ 2957506 w 4527226"/>
              <a:gd name="connsiteY83" fmla="*/ 3555168 h 6046908"/>
              <a:gd name="connsiteX84" fmla="*/ 3010846 w 4527226"/>
              <a:gd name="connsiteY84" fmla="*/ 3539928 h 6046908"/>
              <a:gd name="connsiteX85" fmla="*/ 3109906 w 4527226"/>
              <a:gd name="connsiteY85" fmla="*/ 3570408 h 6046908"/>
              <a:gd name="connsiteX86" fmla="*/ 3140386 w 4527226"/>
              <a:gd name="connsiteY86" fmla="*/ 3631368 h 6046908"/>
              <a:gd name="connsiteX87" fmla="*/ 3117526 w 4527226"/>
              <a:gd name="connsiteY87" fmla="*/ 3738048 h 6046908"/>
              <a:gd name="connsiteX88" fmla="*/ 3125146 w 4527226"/>
              <a:gd name="connsiteY88" fmla="*/ 4103808 h 6046908"/>
              <a:gd name="connsiteX89" fmla="*/ 3163246 w 4527226"/>
              <a:gd name="connsiteY89" fmla="*/ 4157148 h 6046908"/>
              <a:gd name="connsiteX90" fmla="*/ 3201346 w 4527226"/>
              <a:gd name="connsiteY90" fmla="*/ 4164768 h 6046908"/>
              <a:gd name="connsiteX91" fmla="*/ 3231826 w 4527226"/>
              <a:gd name="connsiteY91" fmla="*/ 4172388 h 6046908"/>
              <a:gd name="connsiteX92" fmla="*/ 3285166 w 4527226"/>
              <a:gd name="connsiteY92" fmla="*/ 4294308 h 6046908"/>
              <a:gd name="connsiteX93" fmla="*/ 3300406 w 4527226"/>
              <a:gd name="connsiteY93" fmla="*/ 4347648 h 6046908"/>
              <a:gd name="connsiteX94" fmla="*/ 3330886 w 4527226"/>
              <a:gd name="connsiteY94" fmla="*/ 4408608 h 6046908"/>
              <a:gd name="connsiteX95" fmla="*/ 3551866 w 4527226"/>
              <a:gd name="connsiteY95" fmla="*/ 4644828 h 6046908"/>
              <a:gd name="connsiteX96" fmla="*/ 3887146 w 4527226"/>
              <a:gd name="connsiteY96" fmla="*/ 5025828 h 6046908"/>
              <a:gd name="connsiteX97" fmla="*/ 4100506 w 4527226"/>
              <a:gd name="connsiteY97" fmla="*/ 5300148 h 6046908"/>
              <a:gd name="connsiteX98" fmla="*/ 4367206 w 4527226"/>
              <a:gd name="connsiteY98" fmla="*/ 5726868 h 6046908"/>
              <a:gd name="connsiteX99" fmla="*/ 4527226 w 4527226"/>
              <a:gd name="connsiteY99" fmla="*/ 6046908 h 6046908"/>
              <a:gd name="connsiteX0" fmla="*/ 564826 w 4527226"/>
              <a:gd name="connsiteY0" fmla="*/ 5353488 h 6046908"/>
              <a:gd name="connsiteX1" fmla="*/ 602926 w 4527226"/>
              <a:gd name="connsiteY1" fmla="*/ 5223948 h 6046908"/>
              <a:gd name="connsiteX2" fmla="*/ 625786 w 4527226"/>
              <a:gd name="connsiteY2" fmla="*/ 5178228 h 6046908"/>
              <a:gd name="connsiteX3" fmla="*/ 701986 w 4527226"/>
              <a:gd name="connsiteY3" fmla="*/ 5071548 h 6046908"/>
              <a:gd name="connsiteX4" fmla="*/ 717226 w 4527226"/>
              <a:gd name="connsiteY4" fmla="*/ 5063928 h 6046908"/>
              <a:gd name="connsiteX5" fmla="*/ 709606 w 4527226"/>
              <a:gd name="connsiteY5" fmla="*/ 5025828 h 6046908"/>
              <a:gd name="connsiteX6" fmla="*/ 701986 w 4527226"/>
              <a:gd name="connsiteY6" fmla="*/ 5002968 h 6046908"/>
              <a:gd name="connsiteX7" fmla="*/ 968686 w 4527226"/>
              <a:gd name="connsiteY7" fmla="*/ 4682928 h 6046908"/>
              <a:gd name="connsiteX8" fmla="*/ 961066 w 4527226"/>
              <a:gd name="connsiteY8" fmla="*/ 4644828 h 6046908"/>
              <a:gd name="connsiteX9" fmla="*/ 1342066 w 4527226"/>
              <a:gd name="connsiteY9" fmla="*/ 4172388 h 6046908"/>
              <a:gd name="connsiteX10" fmla="*/ 1258246 w 4527226"/>
              <a:gd name="connsiteY10" fmla="*/ 4012368 h 6046908"/>
              <a:gd name="connsiteX11" fmla="*/ 1204906 w 4527226"/>
              <a:gd name="connsiteY11" fmla="*/ 3928548 h 6046908"/>
              <a:gd name="connsiteX12" fmla="*/ 1174426 w 4527226"/>
              <a:gd name="connsiteY12" fmla="*/ 3768528 h 6046908"/>
              <a:gd name="connsiteX13" fmla="*/ 1151566 w 4527226"/>
              <a:gd name="connsiteY13" fmla="*/ 3699948 h 6046908"/>
              <a:gd name="connsiteX14" fmla="*/ 1143946 w 4527226"/>
              <a:gd name="connsiteY14" fmla="*/ 3669468 h 6046908"/>
              <a:gd name="connsiteX15" fmla="*/ 1067746 w 4527226"/>
              <a:gd name="connsiteY15" fmla="*/ 3661848 h 6046908"/>
              <a:gd name="connsiteX16" fmla="*/ 938206 w 4527226"/>
              <a:gd name="connsiteY16" fmla="*/ 3669468 h 6046908"/>
              <a:gd name="connsiteX17" fmla="*/ 831526 w 4527226"/>
              <a:gd name="connsiteY17" fmla="*/ 3692328 h 6046908"/>
              <a:gd name="connsiteX18" fmla="*/ 610546 w 4527226"/>
              <a:gd name="connsiteY18" fmla="*/ 3738048 h 6046908"/>
              <a:gd name="connsiteX19" fmla="*/ 389566 w 4527226"/>
              <a:gd name="connsiteY19" fmla="*/ 3638988 h 6046908"/>
              <a:gd name="connsiteX20" fmla="*/ 381946 w 4527226"/>
              <a:gd name="connsiteY20" fmla="*/ 3326568 h 6046908"/>
              <a:gd name="connsiteX21" fmla="*/ 420046 w 4527226"/>
              <a:gd name="connsiteY21" fmla="*/ 3227508 h 6046908"/>
              <a:gd name="connsiteX22" fmla="*/ 389566 w 4527226"/>
              <a:gd name="connsiteY22" fmla="*/ 3166548 h 6046908"/>
              <a:gd name="connsiteX23" fmla="*/ 351466 w 4527226"/>
              <a:gd name="connsiteY23" fmla="*/ 3105588 h 6046908"/>
              <a:gd name="connsiteX24" fmla="*/ 397186 w 4527226"/>
              <a:gd name="connsiteY24" fmla="*/ 3021768 h 6046908"/>
              <a:gd name="connsiteX25" fmla="*/ 488626 w 4527226"/>
              <a:gd name="connsiteY25" fmla="*/ 2998908 h 6046908"/>
              <a:gd name="connsiteX26" fmla="*/ 471956 w 4527226"/>
              <a:gd name="connsiteY26" fmla="*/ 2942709 h 6046908"/>
              <a:gd name="connsiteX27" fmla="*/ 435286 w 4527226"/>
              <a:gd name="connsiteY27" fmla="*/ 2930328 h 6046908"/>
              <a:gd name="connsiteX28" fmla="*/ 389566 w 4527226"/>
              <a:gd name="connsiteY28" fmla="*/ 2930328 h 6046908"/>
              <a:gd name="connsiteX29" fmla="*/ 314000 w 4527226"/>
              <a:gd name="connsiteY29" fmla="*/ 2893495 h 6046908"/>
              <a:gd name="connsiteX30" fmla="*/ 320986 w 4527226"/>
              <a:gd name="connsiteY30" fmla="*/ 2846508 h 6046908"/>
              <a:gd name="connsiteX31" fmla="*/ 328606 w 4527226"/>
              <a:gd name="connsiteY31" fmla="*/ 2793168 h 6046908"/>
              <a:gd name="connsiteX32" fmla="*/ 313366 w 4527226"/>
              <a:gd name="connsiteY32" fmla="*/ 2732208 h 6046908"/>
              <a:gd name="connsiteX33" fmla="*/ 267646 w 4527226"/>
              <a:gd name="connsiteY33" fmla="*/ 2671248 h 6046908"/>
              <a:gd name="connsiteX34" fmla="*/ 176206 w 4527226"/>
              <a:gd name="connsiteY34" fmla="*/ 2656008 h 6046908"/>
              <a:gd name="connsiteX35" fmla="*/ 54286 w 4527226"/>
              <a:gd name="connsiteY35" fmla="*/ 2610288 h 6046908"/>
              <a:gd name="connsiteX36" fmla="*/ 7931 w 4527226"/>
              <a:gd name="connsiteY36" fmla="*/ 2563298 h 6046908"/>
              <a:gd name="connsiteX37" fmla="*/ 8566 w 4527226"/>
              <a:gd name="connsiteY37" fmla="*/ 2488368 h 6046908"/>
              <a:gd name="connsiteX38" fmla="*/ 92386 w 4527226"/>
              <a:gd name="connsiteY38" fmla="*/ 2335968 h 6046908"/>
              <a:gd name="connsiteX39" fmla="*/ 221926 w 4527226"/>
              <a:gd name="connsiteY39" fmla="*/ 2175948 h 6046908"/>
              <a:gd name="connsiteX40" fmla="*/ 282886 w 4527226"/>
              <a:gd name="connsiteY40" fmla="*/ 2084508 h 6046908"/>
              <a:gd name="connsiteX41" fmla="*/ 328606 w 4527226"/>
              <a:gd name="connsiteY41" fmla="*/ 1977828 h 6046908"/>
              <a:gd name="connsiteX42" fmla="*/ 359086 w 4527226"/>
              <a:gd name="connsiteY42" fmla="*/ 1871148 h 6046908"/>
              <a:gd name="connsiteX43" fmla="*/ 374326 w 4527226"/>
              <a:gd name="connsiteY43" fmla="*/ 1810188 h 6046908"/>
              <a:gd name="connsiteX44" fmla="*/ 343846 w 4527226"/>
              <a:gd name="connsiteY44" fmla="*/ 1756848 h 6046908"/>
              <a:gd name="connsiteX45" fmla="*/ 328606 w 4527226"/>
              <a:gd name="connsiteY45" fmla="*/ 1680648 h 6046908"/>
              <a:gd name="connsiteX46" fmla="*/ 412426 w 4527226"/>
              <a:gd name="connsiteY46" fmla="*/ 1474908 h 6046908"/>
              <a:gd name="connsiteX47" fmla="*/ 442906 w 4527226"/>
              <a:gd name="connsiteY47" fmla="*/ 1307268 h 6046908"/>
              <a:gd name="connsiteX48" fmla="*/ 465766 w 4527226"/>
              <a:gd name="connsiteY48" fmla="*/ 1192968 h 6046908"/>
              <a:gd name="connsiteX49" fmla="*/ 503866 w 4527226"/>
              <a:gd name="connsiteY49" fmla="*/ 1055808 h 6046908"/>
              <a:gd name="connsiteX50" fmla="*/ 557206 w 4527226"/>
              <a:gd name="connsiteY50" fmla="*/ 888168 h 6046908"/>
              <a:gd name="connsiteX51" fmla="*/ 503866 w 4527226"/>
              <a:gd name="connsiteY51" fmla="*/ 888168 h 6046908"/>
              <a:gd name="connsiteX52" fmla="*/ 412426 w 4527226"/>
              <a:gd name="connsiteY52" fmla="*/ 834828 h 6046908"/>
              <a:gd name="connsiteX53" fmla="*/ 328606 w 4527226"/>
              <a:gd name="connsiteY53" fmla="*/ 789108 h 6046908"/>
              <a:gd name="connsiteX54" fmla="*/ 260026 w 4527226"/>
              <a:gd name="connsiteY54" fmla="*/ 773868 h 6046908"/>
              <a:gd name="connsiteX55" fmla="*/ 214306 w 4527226"/>
              <a:gd name="connsiteY55" fmla="*/ 751008 h 6046908"/>
              <a:gd name="connsiteX56" fmla="*/ 260026 w 4527226"/>
              <a:gd name="connsiteY56" fmla="*/ 674808 h 6046908"/>
              <a:gd name="connsiteX57" fmla="*/ 374326 w 4527226"/>
              <a:gd name="connsiteY57" fmla="*/ 606228 h 6046908"/>
              <a:gd name="connsiteX58" fmla="*/ 557206 w 4527226"/>
              <a:gd name="connsiteY58" fmla="*/ 507168 h 6046908"/>
              <a:gd name="connsiteX59" fmla="*/ 656266 w 4527226"/>
              <a:gd name="connsiteY59" fmla="*/ 423348 h 6046908"/>
              <a:gd name="connsiteX60" fmla="*/ 892486 w 4527226"/>
              <a:gd name="connsiteY60" fmla="*/ 232848 h 6046908"/>
              <a:gd name="connsiteX61" fmla="*/ 1174426 w 4527226"/>
              <a:gd name="connsiteY61" fmla="*/ 80448 h 6046908"/>
              <a:gd name="connsiteX62" fmla="*/ 1593526 w 4527226"/>
              <a:gd name="connsiteY62" fmla="*/ 11868 h 6046908"/>
              <a:gd name="connsiteX63" fmla="*/ 1944046 w 4527226"/>
              <a:gd name="connsiteY63" fmla="*/ 4248 h 6046908"/>
              <a:gd name="connsiteX64" fmla="*/ 2172646 w 4527226"/>
              <a:gd name="connsiteY64" fmla="*/ 4248 h 6046908"/>
              <a:gd name="connsiteX65" fmla="*/ 2393626 w 4527226"/>
              <a:gd name="connsiteY65" fmla="*/ 57588 h 6046908"/>
              <a:gd name="connsiteX66" fmla="*/ 2667946 w 4527226"/>
              <a:gd name="connsiteY66" fmla="*/ 133788 h 6046908"/>
              <a:gd name="connsiteX67" fmla="*/ 2820346 w 4527226"/>
              <a:gd name="connsiteY67" fmla="*/ 202368 h 6046908"/>
              <a:gd name="connsiteX68" fmla="*/ 3102286 w 4527226"/>
              <a:gd name="connsiteY68" fmla="*/ 400488 h 6046908"/>
              <a:gd name="connsiteX69" fmla="*/ 3285166 w 4527226"/>
              <a:gd name="connsiteY69" fmla="*/ 651948 h 6046908"/>
              <a:gd name="connsiteX70" fmla="*/ 3407086 w 4527226"/>
              <a:gd name="connsiteY70" fmla="*/ 918648 h 6046908"/>
              <a:gd name="connsiteX71" fmla="*/ 3475666 w 4527226"/>
              <a:gd name="connsiteY71" fmla="*/ 1238688 h 6046908"/>
              <a:gd name="connsiteX72" fmla="*/ 3506146 w 4527226"/>
              <a:gd name="connsiteY72" fmla="*/ 1543488 h 6046908"/>
              <a:gd name="connsiteX73" fmla="*/ 3506146 w 4527226"/>
              <a:gd name="connsiteY73" fmla="*/ 1962588 h 6046908"/>
              <a:gd name="connsiteX74" fmla="*/ 3338506 w 4527226"/>
              <a:gd name="connsiteY74" fmla="*/ 2305488 h 6046908"/>
              <a:gd name="connsiteX75" fmla="*/ 3254686 w 4527226"/>
              <a:gd name="connsiteY75" fmla="*/ 2473128 h 6046908"/>
              <a:gd name="connsiteX76" fmla="*/ 3132766 w 4527226"/>
              <a:gd name="connsiteY76" fmla="*/ 2663628 h 6046908"/>
              <a:gd name="connsiteX77" fmla="*/ 3071806 w 4527226"/>
              <a:gd name="connsiteY77" fmla="*/ 2838888 h 6046908"/>
              <a:gd name="connsiteX78" fmla="*/ 3064186 w 4527226"/>
              <a:gd name="connsiteY78" fmla="*/ 2915088 h 6046908"/>
              <a:gd name="connsiteX79" fmla="*/ 3018466 w 4527226"/>
              <a:gd name="connsiteY79" fmla="*/ 3014148 h 6046908"/>
              <a:gd name="connsiteX80" fmla="*/ 2980366 w 4527226"/>
              <a:gd name="connsiteY80" fmla="*/ 3082728 h 6046908"/>
              <a:gd name="connsiteX81" fmla="*/ 2957506 w 4527226"/>
              <a:gd name="connsiteY81" fmla="*/ 3120828 h 6046908"/>
              <a:gd name="connsiteX82" fmla="*/ 2957506 w 4527226"/>
              <a:gd name="connsiteY82" fmla="*/ 3555168 h 6046908"/>
              <a:gd name="connsiteX83" fmla="*/ 3010846 w 4527226"/>
              <a:gd name="connsiteY83" fmla="*/ 3539928 h 6046908"/>
              <a:gd name="connsiteX84" fmla="*/ 3109906 w 4527226"/>
              <a:gd name="connsiteY84" fmla="*/ 3570408 h 6046908"/>
              <a:gd name="connsiteX85" fmla="*/ 3140386 w 4527226"/>
              <a:gd name="connsiteY85" fmla="*/ 3631368 h 6046908"/>
              <a:gd name="connsiteX86" fmla="*/ 3117526 w 4527226"/>
              <a:gd name="connsiteY86" fmla="*/ 3738048 h 6046908"/>
              <a:gd name="connsiteX87" fmla="*/ 3125146 w 4527226"/>
              <a:gd name="connsiteY87" fmla="*/ 4103808 h 6046908"/>
              <a:gd name="connsiteX88" fmla="*/ 3163246 w 4527226"/>
              <a:gd name="connsiteY88" fmla="*/ 4157148 h 6046908"/>
              <a:gd name="connsiteX89" fmla="*/ 3201346 w 4527226"/>
              <a:gd name="connsiteY89" fmla="*/ 4164768 h 6046908"/>
              <a:gd name="connsiteX90" fmla="*/ 3231826 w 4527226"/>
              <a:gd name="connsiteY90" fmla="*/ 4172388 h 6046908"/>
              <a:gd name="connsiteX91" fmla="*/ 3285166 w 4527226"/>
              <a:gd name="connsiteY91" fmla="*/ 4294308 h 6046908"/>
              <a:gd name="connsiteX92" fmla="*/ 3300406 w 4527226"/>
              <a:gd name="connsiteY92" fmla="*/ 4347648 h 6046908"/>
              <a:gd name="connsiteX93" fmla="*/ 3330886 w 4527226"/>
              <a:gd name="connsiteY93" fmla="*/ 4408608 h 6046908"/>
              <a:gd name="connsiteX94" fmla="*/ 3551866 w 4527226"/>
              <a:gd name="connsiteY94" fmla="*/ 4644828 h 6046908"/>
              <a:gd name="connsiteX95" fmla="*/ 3887146 w 4527226"/>
              <a:gd name="connsiteY95" fmla="*/ 5025828 h 6046908"/>
              <a:gd name="connsiteX96" fmla="*/ 4100506 w 4527226"/>
              <a:gd name="connsiteY96" fmla="*/ 5300148 h 6046908"/>
              <a:gd name="connsiteX97" fmla="*/ 4367206 w 4527226"/>
              <a:gd name="connsiteY97" fmla="*/ 5726868 h 6046908"/>
              <a:gd name="connsiteX98" fmla="*/ 4527226 w 4527226"/>
              <a:gd name="connsiteY98" fmla="*/ 6046908 h 6046908"/>
              <a:gd name="connsiteX0" fmla="*/ 602926 w 4527226"/>
              <a:gd name="connsiteY0" fmla="*/ 5223948 h 6046908"/>
              <a:gd name="connsiteX1" fmla="*/ 625786 w 4527226"/>
              <a:gd name="connsiteY1" fmla="*/ 5178228 h 6046908"/>
              <a:gd name="connsiteX2" fmla="*/ 701986 w 4527226"/>
              <a:gd name="connsiteY2" fmla="*/ 5071548 h 6046908"/>
              <a:gd name="connsiteX3" fmla="*/ 717226 w 4527226"/>
              <a:gd name="connsiteY3" fmla="*/ 5063928 h 6046908"/>
              <a:gd name="connsiteX4" fmla="*/ 709606 w 4527226"/>
              <a:gd name="connsiteY4" fmla="*/ 5025828 h 6046908"/>
              <a:gd name="connsiteX5" fmla="*/ 701986 w 4527226"/>
              <a:gd name="connsiteY5" fmla="*/ 5002968 h 6046908"/>
              <a:gd name="connsiteX6" fmla="*/ 968686 w 4527226"/>
              <a:gd name="connsiteY6" fmla="*/ 4682928 h 6046908"/>
              <a:gd name="connsiteX7" fmla="*/ 961066 w 4527226"/>
              <a:gd name="connsiteY7" fmla="*/ 4644828 h 6046908"/>
              <a:gd name="connsiteX8" fmla="*/ 1342066 w 4527226"/>
              <a:gd name="connsiteY8" fmla="*/ 4172388 h 6046908"/>
              <a:gd name="connsiteX9" fmla="*/ 1258246 w 4527226"/>
              <a:gd name="connsiteY9" fmla="*/ 4012368 h 6046908"/>
              <a:gd name="connsiteX10" fmla="*/ 1204906 w 4527226"/>
              <a:gd name="connsiteY10" fmla="*/ 3928548 h 6046908"/>
              <a:gd name="connsiteX11" fmla="*/ 1174426 w 4527226"/>
              <a:gd name="connsiteY11" fmla="*/ 3768528 h 6046908"/>
              <a:gd name="connsiteX12" fmla="*/ 1151566 w 4527226"/>
              <a:gd name="connsiteY12" fmla="*/ 3699948 h 6046908"/>
              <a:gd name="connsiteX13" fmla="*/ 1143946 w 4527226"/>
              <a:gd name="connsiteY13" fmla="*/ 3669468 h 6046908"/>
              <a:gd name="connsiteX14" fmla="*/ 1067746 w 4527226"/>
              <a:gd name="connsiteY14" fmla="*/ 3661848 h 6046908"/>
              <a:gd name="connsiteX15" fmla="*/ 938206 w 4527226"/>
              <a:gd name="connsiteY15" fmla="*/ 3669468 h 6046908"/>
              <a:gd name="connsiteX16" fmla="*/ 831526 w 4527226"/>
              <a:gd name="connsiteY16" fmla="*/ 3692328 h 6046908"/>
              <a:gd name="connsiteX17" fmla="*/ 610546 w 4527226"/>
              <a:gd name="connsiteY17" fmla="*/ 3738048 h 6046908"/>
              <a:gd name="connsiteX18" fmla="*/ 389566 w 4527226"/>
              <a:gd name="connsiteY18" fmla="*/ 3638988 h 6046908"/>
              <a:gd name="connsiteX19" fmla="*/ 381946 w 4527226"/>
              <a:gd name="connsiteY19" fmla="*/ 3326568 h 6046908"/>
              <a:gd name="connsiteX20" fmla="*/ 420046 w 4527226"/>
              <a:gd name="connsiteY20" fmla="*/ 3227508 h 6046908"/>
              <a:gd name="connsiteX21" fmla="*/ 389566 w 4527226"/>
              <a:gd name="connsiteY21" fmla="*/ 3166548 h 6046908"/>
              <a:gd name="connsiteX22" fmla="*/ 351466 w 4527226"/>
              <a:gd name="connsiteY22" fmla="*/ 3105588 h 6046908"/>
              <a:gd name="connsiteX23" fmla="*/ 397186 w 4527226"/>
              <a:gd name="connsiteY23" fmla="*/ 3021768 h 6046908"/>
              <a:gd name="connsiteX24" fmla="*/ 488626 w 4527226"/>
              <a:gd name="connsiteY24" fmla="*/ 2998908 h 6046908"/>
              <a:gd name="connsiteX25" fmla="*/ 471956 w 4527226"/>
              <a:gd name="connsiteY25" fmla="*/ 2942709 h 6046908"/>
              <a:gd name="connsiteX26" fmla="*/ 435286 w 4527226"/>
              <a:gd name="connsiteY26" fmla="*/ 2930328 h 6046908"/>
              <a:gd name="connsiteX27" fmla="*/ 389566 w 4527226"/>
              <a:gd name="connsiteY27" fmla="*/ 2930328 h 6046908"/>
              <a:gd name="connsiteX28" fmla="*/ 314000 w 4527226"/>
              <a:gd name="connsiteY28" fmla="*/ 2893495 h 6046908"/>
              <a:gd name="connsiteX29" fmla="*/ 320986 w 4527226"/>
              <a:gd name="connsiteY29" fmla="*/ 2846508 h 6046908"/>
              <a:gd name="connsiteX30" fmla="*/ 328606 w 4527226"/>
              <a:gd name="connsiteY30" fmla="*/ 2793168 h 6046908"/>
              <a:gd name="connsiteX31" fmla="*/ 313366 w 4527226"/>
              <a:gd name="connsiteY31" fmla="*/ 2732208 h 6046908"/>
              <a:gd name="connsiteX32" fmla="*/ 267646 w 4527226"/>
              <a:gd name="connsiteY32" fmla="*/ 2671248 h 6046908"/>
              <a:gd name="connsiteX33" fmla="*/ 176206 w 4527226"/>
              <a:gd name="connsiteY33" fmla="*/ 2656008 h 6046908"/>
              <a:gd name="connsiteX34" fmla="*/ 54286 w 4527226"/>
              <a:gd name="connsiteY34" fmla="*/ 2610288 h 6046908"/>
              <a:gd name="connsiteX35" fmla="*/ 7931 w 4527226"/>
              <a:gd name="connsiteY35" fmla="*/ 2563298 h 6046908"/>
              <a:gd name="connsiteX36" fmla="*/ 8566 w 4527226"/>
              <a:gd name="connsiteY36" fmla="*/ 2488368 h 6046908"/>
              <a:gd name="connsiteX37" fmla="*/ 92386 w 4527226"/>
              <a:gd name="connsiteY37" fmla="*/ 2335968 h 6046908"/>
              <a:gd name="connsiteX38" fmla="*/ 221926 w 4527226"/>
              <a:gd name="connsiteY38" fmla="*/ 2175948 h 6046908"/>
              <a:gd name="connsiteX39" fmla="*/ 282886 w 4527226"/>
              <a:gd name="connsiteY39" fmla="*/ 2084508 h 6046908"/>
              <a:gd name="connsiteX40" fmla="*/ 328606 w 4527226"/>
              <a:gd name="connsiteY40" fmla="*/ 1977828 h 6046908"/>
              <a:gd name="connsiteX41" fmla="*/ 359086 w 4527226"/>
              <a:gd name="connsiteY41" fmla="*/ 1871148 h 6046908"/>
              <a:gd name="connsiteX42" fmla="*/ 374326 w 4527226"/>
              <a:gd name="connsiteY42" fmla="*/ 1810188 h 6046908"/>
              <a:gd name="connsiteX43" fmla="*/ 343846 w 4527226"/>
              <a:gd name="connsiteY43" fmla="*/ 1756848 h 6046908"/>
              <a:gd name="connsiteX44" fmla="*/ 328606 w 4527226"/>
              <a:gd name="connsiteY44" fmla="*/ 1680648 h 6046908"/>
              <a:gd name="connsiteX45" fmla="*/ 412426 w 4527226"/>
              <a:gd name="connsiteY45" fmla="*/ 1474908 h 6046908"/>
              <a:gd name="connsiteX46" fmla="*/ 442906 w 4527226"/>
              <a:gd name="connsiteY46" fmla="*/ 1307268 h 6046908"/>
              <a:gd name="connsiteX47" fmla="*/ 465766 w 4527226"/>
              <a:gd name="connsiteY47" fmla="*/ 1192968 h 6046908"/>
              <a:gd name="connsiteX48" fmla="*/ 503866 w 4527226"/>
              <a:gd name="connsiteY48" fmla="*/ 1055808 h 6046908"/>
              <a:gd name="connsiteX49" fmla="*/ 557206 w 4527226"/>
              <a:gd name="connsiteY49" fmla="*/ 888168 h 6046908"/>
              <a:gd name="connsiteX50" fmla="*/ 503866 w 4527226"/>
              <a:gd name="connsiteY50" fmla="*/ 888168 h 6046908"/>
              <a:gd name="connsiteX51" fmla="*/ 412426 w 4527226"/>
              <a:gd name="connsiteY51" fmla="*/ 834828 h 6046908"/>
              <a:gd name="connsiteX52" fmla="*/ 328606 w 4527226"/>
              <a:gd name="connsiteY52" fmla="*/ 789108 h 6046908"/>
              <a:gd name="connsiteX53" fmla="*/ 260026 w 4527226"/>
              <a:gd name="connsiteY53" fmla="*/ 773868 h 6046908"/>
              <a:gd name="connsiteX54" fmla="*/ 214306 w 4527226"/>
              <a:gd name="connsiteY54" fmla="*/ 751008 h 6046908"/>
              <a:gd name="connsiteX55" fmla="*/ 260026 w 4527226"/>
              <a:gd name="connsiteY55" fmla="*/ 674808 h 6046908"/>
              <a:gd name="connsiteX56" fmla="*/ 374326 w 4527226"/>
              <a:gd name="connsiteY56" fmla="*/ 606228 h 6046908"/>
              <a:gd name="connsiteX57" fmla="*/ 557206 w 4527226"/>
              <a:gd name="connsiteY57" fmla="*/ 507168 h 6046908"/>
              <a:gd name="connsiteX58" fmla="*/ 656266 w 4527226"/>
              <a:gd name="connsiteY58" fmla="*/ 423348 h 6046908"/>
              <a:gd name="connsiteX59" fmla="*/ 892486 w 4527226"/>
              <a:gd name="connsiteY59" fmla="*/ 232848 h 6046908"/>
              <a:gd name="connsiteX60" fmla="*/ 1174426 w 4527226"/>
              <a:gd name="connsiteY60" fmla="*/ 80448 h 6046908"/>
              <a:gd name="connsiteX61" fmla="*/ 1593526 w 4527226"/>
              <a:gd name="connsiteY61" fmla="*/ 11868 h 6046908"/>
              <a:gd name="connsiteX62" fmla="*/ 1944046 w 4527226"/>
              <a:gd name="connsiteY62" fmla="*/ 4248 h 6046908"/>
              <a:gd name="connsiteX63" fmla="*/ 2172646 w 4527226"/>
              <a:gd name="connsiteY63" fmla="*/ 4248 h 6046908"/>
              <a:gd name="connsiteX64" fmla="*/ 2393626 w 4527226"/>
              <a:gd name="connsiteY64" fmla="*/ 57588 h 6046908"/>
              <a:gd name="connsiteX65" fmla="*/ 2667946 w 4527226"/>
              <a:gd name="connsiteY65" fmla="*/ 133788 h 6046908"/>
              <a:gd name="connsiteX66" fmla="*/ 2820346 w 4527226"/>
              <a:gd name="connsiteY66" fmla="*/ 202368 h 6046908"/>
              <a:gd name="connsiteX67" fmla="*/ 3102286 w 4527226"/>
              <a:gd name="connsiteY67" fmla="*/ 400488 h 6046908"/>
              <a:gd name="connsiteX68" fmla="*/ 3285166 w 4527226"/>
              <a:gd name="connsiteY68" fmla="*/ 651948 h 6046908"/>
              <a:gd name="connsiteX69" fmla="*/ 3407086 w 4527226"/>
              <a:gd name="connsiteY69" fmla="*/ 918648 h 6046908"/>
              <a:gd name="connsiteX70" fmla="*/ 3475666 w 4527226"/>
              <a:gd name="connsiteY70" fmla="*/ 1238688 h 6046908"/>
              <a:gd name="connsiteX71" fmla="*/ 3506146 w 4527226"/>
              <a:gd name="connsiteY71" fmla="*/ 1543488 h 6046908"/>
              <a:gd name="connsiteX72" fmla="*/ 3506146 w 4527226"/>
              <a:gd name="connsiteY72" fmla="*/ 1962588 h 6046908"/>
              <a:gd name="connsiteX73" fmla="*/ 3338506 w 4527226"/>
              <a:gd name="connsiteY73" fmla="*/ 2305488 h 6046908"/>
              <a:gd name="connsiteX74" fmla="*/ 3254686 w 4527226"/>
              <a:gd name="connsiteY74" fmla="*/ 2473128 h 6046908"/>
              <a:gd name="connsiteX75" fmla="*/ 3132766 w 4527226"/>
              <a:gd name="connsiteY75" fmla="*/ 2663628 h 6046908"/>
              <a:gd name="connsiteX76" fmla="*/ 3071806 w 4527226"/>
              <a:gd name="connsiteY76" fmla="*/ 2838888 h 6046908"/>
              <a:gd name="connsiteX77" fmla="*/ 3064186 w 4527226"/>
              <a:gd name="connsiteY77" fmla="*/ 2915088 h 6046908"/>
              <a:gd name="connsiteX78" fmla="*/ 3018466 w 4527226"/>
              <a:gd name="connsiteY78" fmla="*/ 3014148 h 6046908"/>
              <a:gd name="connsiteX79" fmla="*/ 2980366 w 4527226"/>
              <a:gd name="connsiteY79" fmla="*/ 3082728 h 6046908"/>
              <a:gd name="connsiteX80" fmla="*/ 2957506 w 4527226"/>
              <a:gd name="connsiteY80" fmla="*/ 3120828 h 6046908"/>
              <a:gd name="connsiteX81" fmla="*/ 2957506 w 4527226"/>
              <a:gd name="connsiteY81" fmla="*/ 3555168 h 6046908"/>
              <a:gd name="connsiteX82" fmla="*/ 3010846 w 4527226"/>
              <a:gd name="connsiteY82" fmla="*/ 3539928 h 6046908"/>
              <a:gd name="connsiteX83" fmla="*/ 3109906 w 4527226"/>
              <a:gd name="connsiteY83" fmla="*/ 3570408 h 6046908"/>
              <a:gd name="connsiteX84" fmla="*/ 3140386 w 4527226"/>
              <a:gd name="connsiteY84" fmla="*/ 3631368 h 6046908"/>
              <a:gd name="connsiteX85" fmla="*/ 3117526 w 4527226"/>
              <a:gd name="connsiteY85" fmla="*/ 3738048 h 6046908"/>
              <a:gd name="connsiteX86" fmla="*/ 3125146 w 4527226"/>
              <a:gd name="connsiteY86" fmla="*/ 4103808 h 6046908"/>
              <a:gd name="connsiteX87" fmla="*/ 3163246 w 4527226"/>
              <a:gd name="connsiteY87" fmla="*/ 4157148 h 6046908"/>
              <a:gd name="connsiteX88" fmla="*/ 3201346 w 4527226"/>
              <a:gd name="connsiteY88" fmla="*/ 4164768 h 6046908"/>
              <a:gd name="connsiteX89" fmla="*/ 3231826 w 4527226"/>
              <a:gd name="connsiteY89" fmla="*/ 4172388 h 6046908"/>
              <a:gd name="connsiteX90" fmla="*/ 3285166 w 4527226"/>
              <a:gd name="connsiteY90" fmla="*/ 4294308 h 6046908"/>
              <a:gd name="connsiteX91" fmla="*/ 3300406 w 4527226"/>
              <a:gd name="connsiteY91" fmla="*/ 4347648 h 6046908"/>
              <a:gd name="connsiteX92" fmla="*/ 3330886 w 4527226"/>
              <a:gd name="connsiteY92" fmla="*/ 4408608 h 6046908"/>
              <a:gd name="connsiteX93" fmla="*/ 3551866 w 4527226"/>
              <a:gd name="connsiteY93" fmla="*/ 4644828 h 6046908"/>
              <a:gd name="connsiteX94" fmla="*/ 3887146 w 4527226"/>
              <a:gd name="connsiteY94" fmla="*/ 5025828 h 6046908"/>
              <a:gd name="connsiteX95" fmla="*/ 4100506 w 4527226"/>
              <a:gd name="connsiteY95" fmla="*/ 5300148 h 6046908"/>
              <a:gd name="connsiteX96" fmla="*/ 4367206 w 4527226"/>
              <a:gd name="connsiteY96" fmla="*/ 5726868 h 6046908"/>
              <a:gd name="connsiteX97" fmla="*/ 4527226 w 4527226"/>
              <a:gd name="connsiteY97" fmla="*/ 6046908 h 6046908"/>
              <a:gd name="connsiteX0" fmla="*/ 625786 w 4527226"/>
              <a:gd name="connsiteY0" fmla="*/ 5178228 h 6046908"/>
              <a:gd name="connsiteX1" fmla="*/ 701986 w 4527226"/>
              <a:gd name="connsiteY1" fmla="*/ 5071548 h 6046908"/>
              <a:gd name="connsiteX2" fmla="*/ 717226 w 4527226"/>
              <a:gd name="connsiteY2" fmla="*/ 5063928 h 6046908"/>
              <a:gd name="connsiteX3" fmla="*/ 709606 w 4527226"/>
              <a:gd name="connsiteY3" fmla="*/ 5025828 h 6046908"/>
              <a:gd name="connsiteX4" fmla="*/ 701986 w 4527226"/>
              <a:gd name="connsiteY4" fmla="*/ 5002968 h 6046908"/>
              <a:gd name="connsiteX5" fmla="*/ 968686 w 4527226"/>
              <a:gd name="connsiteY5" fmla="*/ 4682928 h 6046908"/>
              <a:gd name="connsiteX6" fmla="*/ 961066 w 4527226"/>
              <a:gd name="connsiteY6" fmla="*/ 4644828 h 6046908"/>
              <a:gd name="connsiteX7" fmla="*/ 1342066 w 4527226"/>
              <a:gd name="connsiteY7" fmla="*/ 4172388 h 6046908"/>
              <a:gd name="connsiteX8" fmla="*/ 1258246 w 4527226"/>
              <a:gd name="connsiteY8" fmla="*/ 4012368 h 6046908"/>
              <a:gd name="connsiteX9" fmla="*/ 1204906 w 4527226"/>
              <a:gd name="connsiteY9" fmla="*/ 3928548 h 6046908"/>
              <a:gd name="connsiteX10" fmla="*/ 1174426 w 4527226"/>
              <a:gd name="connsiteY10" fmla="*/ 3768528 h 6046908"/>
              <a:gd name="connsiteX11" fmla="*/ 1151566 w 4527226"/>
              <a:gd name="connsiteY11" fmla="*/ 3699948 h 6046908"/>
              <a:gd name="connsiteX12" fmla="*/ 1143946 w 4527226"/>
              <a:gd name="connsiteY12" fmla="*/ 3669468 h 6046908"/>
              <a:gd name="connsiteX13" fmla="*/ 1067746 w 4527226"/>
              <a:gd name="connsiteY13" fmla="*/ 3661848 h 6046908"/>
              <a:gd name="connsiteX14" fmla="*/ 938206 w 4527226"/>
              <a:gd name="connsiteY14" fmla="*/ 3669468 h 6046908"/>
              <a:gd name="connsiteX15" fmla="*/ 831526 w 4527226"/>
              <a:gd name="connsiteY15" fmla="*/ 3692328 h 6046908"/>
              <a:gd name="connsiteX16" fmla="*/ 610546 w 4527226"/>
              <a:gd name="connsiteY16" fmla="*/ 3738048 h 6046908"/>
              <a:gd name="connsiteX17" fmla="*/ 389566 w 4527226"/>
              <a:gd name="connsiteY17" fmla="*/ 3638988 h 6046908"/>
              <a:gd name="connsiteX18" fmla="*/ 381946 w 4527226"/>
              <a:gd name="connsiteY18" fmla="*/ 3326568 h 6046908"/>
              <a:gd name="connsiteX19" fmla="*/ 420046 w 4527226"/>
              <a:gd name="connsiteY19" fmla="*/ 3227508 h 6046908"/>
              <a:gd name="connsiteX20" fmla="*/ 389566 w 4527226"/>
              <a:gd name="connsiteY20" fmla="*/ 3166548 h 6046908"/>
              <a:gd name="connsiteX21" fmla="*/ 351466 w 4527226"/>
              <a:gd name="connsiteY21" fmla="*/ 3105588 h 6046908"/>
              <a:gd name="connsiteX22" fmla="*/ 397186 w 4527226"/>
              <a:gd name="connsiteY22" fmla="*/ 3021768 h 6046908"/>
              <a:gd name="connsiteX23" fmla="*/ 488626 w 4527226"/>
              <a:gd name="connsiteY23" fmla="*/ 2998908 h 6046908"/>
              <a:gd name="connsiteX24" fmla="*/ 471956 w 4527226"/>
              <a:gd name="connsiteY24" fmla="*/ 2942709 h 6046908"/>
              <a:gd name="connsiteX25" fmla="*/ 435286 w 4527226"/>
              <a:gd name="connsiteY25" fmla="*/ 2930328 h 6046908"/>
              <a:gd name="connsiteX26" fmla="*/ 389566 w 4527226"/>
              <a:gd name="connsiteY26" fmla="*/ 2930328 h 6046908"/>
              <a:gd name="connsiteX27" fmla="*/ 314000 w 4527226"/>
              <a:gd name="connsiteY27" fmla="*/ 2893495 h 6046908"/>
              <a:gd name="connsiteX28" fmla="*/ 320986 w 4527226"/>
              <a:gd name="connsiteY28" fmla="*/ 2846508 h 6046908"/>
              <a:gd name="connsiteX29" fmla="*/ 328606 w 4527226"/>
              <a:gd name="connsiteY29" fmla="*/ 2793168 h 6046908"/>
              <a:gd name="connsiteX30" fmla="*/ 313366 w 4527226"/>
              <a:gd name="connsiteY30" fmla="*/ 2732208 h 6046908"/>
              <a:gd name="connsiteX31" fmla="*/ 267646 w 4527226"/>
              <a:gd name="connsiteY31" fmla="*/ 2671248 h 6046908"/>
              <a:gd name="connsiteX32" fmla="*/ 176206 w 4527226"/>
              <a:gd name="connsiteY32" fmla="*/ 2656008 h 6046908"/>
              <a:gd name="connsiteX33" fmla="*/ 54286 w 4527226"/>
              <a:gd name="connsiteY33" fmla="*/ 2610288 h 6046908"/>
              <a:gd name="connsiteX34" fmla="*/ 7931 w 4527226"/>
              <a:gd name="connsiteY34" fmla="*/ 2563298 h 6046908"/>
              <a:gd name="connsiteX35" fmla="*/ 8566 w 4527226"/>
              <a:gd name="connsiteY35" fmla="*/ 2488368 h 6046908"/>
              <a:gd name="connsiteX36" fmla="*/ 92386 w 4527226"/>
              <a:gd name="connsiteY36" fmla="*/ 2335968 h 6046908"/>
              <a:gd name="connsiteX37" fmla="*/ 221926 w 4527226"/>
              <a:gd name="connsiteY37" fmla="*/ 2175948 h 6046908"/>
              <a:gd name="connsiteX38" fmla="*/ 282886 w 4527226"/>
              <a:gd name="connsiteY38" fmla="*/ 2084508 h 6046908"/>
              <a:gd name="connsiteX39" fmla="*/ 328606 w 4527226"/>
              <a:gd name="connsiteY39" fmla="*/ 1977828 h 6046908"/>
              <a:gd name="connsiteX40" fmla="*/ 359086 w 4527226"/>
              <a:gd name="connsiteY40" fmla="*/ 1871148 h 6046908"/>
              <a:gd name="connsiteX41" fmla="*/ 374326 w 4527226"/>
              <a:gd name="connsiteY41" fmla="*/ 1810188 h 6046908"/>
              <a:gd name="connsiteX42" fmla="*/ 343846 w 4527226"/>
              <a:gd name="connsiteY42" fmla="*/ 1756848 h 6046908"/>
              <a:gd name="connsiteX43" fmla="*/ 328606 w 4527226"/>
              <a:gd name="connsiteY43" fmla="*/ 1680648 h 6046908"/>
              <a:gd name="connsiteX44" fmla="*/ 412426 w 4527226"/>
              <a:gd name="connsiteY44" fmla="*/ 1474908 h 6046908"/>
              <a:gd name="connsiteX45" fmla="*/ 442906 w 4527226"/>
              <a:gd name="connsiteY45" fmla="*/ 1307268 h 6046908"/>
              <a:gd name="connsiteX46" fmla="*/ 465766 w 4527226"/>
              <a:gd name="connsiteY46" fmla="*/ 1192968 h 6046908"/>
              <a:gd name="connsiteX47" fmla="*/ 503866 w 4527226"/>
              <a:gd name="connsiteY47" fmla="*/ 1055808 h 6046908"/>
              <a:gd name="connsiteX48" fmla="*/ 557206 w 4527226"/>
              <a:gd name="connsiteY48" fmla="*/ 888168 h 6046908"/>
              <a:gd name="connsiteX49" fmla="*/ 503866 w 4527226"/>
              <a:gd name="connsiteY49" fmla="*/ 888168 h 6046908"/>
              <a:gd name="connsiteX50" fmla="*/ 412426 w 4527226"/>
              <a:gd name="connsiteY50" fmla="*/ 834828 h 6046908"/>
              <a:gd name="connsiteX51" fmla="*/ 328606 w 4527226"/>
              <a:gd name="connsiteY51" fmla="*/ 789108 h 6046908"/>
              <a:gd name="connsiteX52" fmla="*/ 260026 w 4527226"/>
              <a:gd name="connsiteY52" fmla="*/ 773868 h 6046908"/>
              <a:gd name="connsiteX53" fmla="*/ 214306 w 4527226"/>
              <a:gd name="connsiteY53" fmla="*/ 751008 h 6046908"/>
              <a:gd name="connsiteX54" fmla="*/ 260026 w 4527226"/>
              <a:gd name="connsiteY54" fmla="*/ 674808 h 6046908"/>
              <a:gd name="connsiteX55" fmla="*/ 374326 w 4527226"/>
              <a:gd name="connsiteY55" fmla="*/ 606228 h 6046908"/>
              <a:gd name="connsiteX56" fmla="*/ 557206 w 4527226"/>
              <a:gd name="connsiteY56" fmla="*/ 507168 h 6046908"/>
              <a:gd name="connsiteX57" fmla="*/ 656266 w 4527226"/>
              <a:gd name="connsiteY57" fmla="*/ 423348 h 6046908"/>
              <a:gd name="connsiteX58" fmla="*/ 892486 w 4527226"/>
              <a:gd name="connsiteY58" fmla="*/ 232848 h 6046908"/>
              <a:gd name="connsiteX59" fmla="*/ 1174426 w 4527226"/>
              <a:gd name="connsiteY59" fmla="*/ 80448 h 6046908"/>
              <a:gd name="connsiteX60" fmla="*/ 1593526 w 4527226"/>
              <a:gd name="connsiteY60" fmla="*/ 11868 h 6046908"/>
              <a:gd name="connsiteX61" fmla="*/ 1944046 w 4527226"/>
              <a:gd name="connsiteY61" fmla="*/ 4248 h 6046908"/>
              <a:gd name="connsiteX62" fmla="*/ 2172646 w 4527226"/>
              <a:gd name="connsiteY62" fmla="*/ 4248 h 6046908"/>
              <a:gd name="connsiteX63" fmla="*/ 2393626 w 4527226"/>
              <a:gd name="connsiteY63" fmla="*/ 57588 h 6046908"/>
              <a:gd name="connsiteX64" fmla="*/ 2667946 w 4527226"/>
              <a:gd name="connsiteY64" fmla="*/ 133788 h 6046908"/>
              <a:gd name="connsiteX65" fmla="*/ 2820346 w 4527226"/>
              <a:gd name="connsiteY65" fmla="*/ 202368 h 6046908"/>
              <a:gd name="connsiteX66" fmla="*/ 3102286 w 4527226"/>
              <a:gd name="connsiteY66" fmla="*/ 400488 h 6046908"/>
              <a:gd name="connsiteX67" fmla="*/ 3285166 w 4527226"/>
              <a:gd name="connsiteY67" fmla="*/ 651948 h 6046908"/>
              <a:gd name="connsiteX68" fmla="*/ 3407086 w 4527226"/>
              <a:gd name="connsiteY68" fmla="*/ 918648 h 6046908"/>
              <a:gd name="connsiteX69" fmla="*/ 3475666 w 4527226"/>
              <a:gd name="connsiteY69" fmla="*/ 1238688 h 6046908"/>
              <a:gd name="connsiteX70" fmla="*/ 3506146 w 4527226"/>
              <a:gd name="connsiteY70" fmla="*/ 1543488 h 6046908"/>
              <a:gd name="connsiteX71" fmla="*/ 3506146 w 4527226"/>
              <a:gd name="connsiteY71" fmla="*/ 1962588 h 6046908"/>
              <a:gd name="connsiteX72" fmla="*/ 3338506 w 4527226"/>
              <a:gd name="connsiteY72" fmla="*/ 2305488 h 6046908"/>
              <a:gd name="connsiteX73" fmla="*/ 3254686 w 4527226"/>
              <a:gd name="connsiteY73" fmla="*/ 2473128 h 6046908"/>
              <a:gd name="connsiteX74" fmla="*/ 3132766 w 4527226"/>
              <a:gd name="connsiteY74" fmla="*/ 2663628 h 6046908"/>
              <a:gd name="connsiteX75" fmla="*/ 3071806 w 4527226"/>
              <a:gd name="connsiteY75" fmla="*/ 2838888 h 6046908"/>
              <a:gd name="connsiteX76" fmla="*/ 3064186 w 4527226"/>
              <a:gd name="connsiteY76" fmla="*/ 2915088 h 6046908"/>
              <a:gd name="connsiteX77" fmla="*/ 3018466 w 4527226"/>
              <a:gd name="connsiteY77" fmla="*/ 3014148 h 6046908"/>
              <a:gd name="connsiteX78" fmla="*/ 2980366 w 4527226"/>
              <a:gd name="connsiteY78" fmla="*/ 3082728 h 6046908"/>
              <a:gd name="connsiteX79" fmla="*/ 2957506 w 4527226"/>
              <a:gd name="connsiteY79" fmla="*/ 3120828 h 6046908"/>
              <a:gd name="connsiteX80" fmla="*/ 2957506 w 4527226"/>
              <a:gd name="connsiteY80" fmla="*/ 3555168 h 6046908"/>
              <a:gd name="connsiteX81" fmla="*/ 3010846 w 4527226"/>
              <a:gd name="connsiteY81" fmla="*/ 3539928 h 6046908"/>
              <a:gd name="connsiteX82" fmla="*/ 3109906 w 4527226"/>
              <a:gd name="connsiteY82" fmla="*/ 3570408 h 6046908"/>
              <a:gd name="connsiteX83" fmla="*/ 3140386 w 4527226"/>
              <a:gd name="connsiteY83" fmla="*/ 3631368 h 6046908"/>
              <a:gd name="connsiteX84" fmla="*/ 3117526 w 4527226"/>
              <a:gd name="connsiteY84" fmla="*/ 3738048 h 6046908"/>
              <a:gd name="connsiteX85" fmla="*/ 3125146 w 4527226"/>
              <a:gd name="connsiteY85" fmla="*/ 4103808 h 6046908"/>
              <a:gd name="connsiteX86" fmla="*/ 3163246 w 4527226"/>
              <a:gd name="connsiteY86" fmla="*/ 4157148 h 6046908"/>
              <a:gd name="connsiteX87" fmla="*/ 3201346 w 4527226"/>
              <a:gd name="connsiteY87" fmla="*/ 4164768 h 6046908"/>
              <a:gd name="connsiteX88" fmla="*/ 3231826 w 4527226"/>
              <a:gd name="connsiteY88" fmla="*/ 4172388 h 6046908"/>
              <a:gd name="connsiteX89" fmla="*/ 3285166 w 4527226"/>
              <a:gd name="connsiteY89" fmla="*/ 4294308 h 6046908"/>
              <a:gd name="connsiteX90" fmla="*/ 3300406 w 4527226"/>
              <a:gd name="connsiteY90" fmla="*/ 4347648 h 6046908"/>
              <a:gd name="connsiteX91" fmla="*/ 3330886 w 4527226"/>
              <a:gd name="connsiteY91" fmla="*/ 4408608 h 6046908"/>
              <a:gd name="connsiteX92" fmla="*/ 3551866 w 4527226"/>
              <a:gd name="connsiteY92" fmla="*/ 4644828 h 6046908"/>
              <a:gd name="connsiteX93" fmla="*/ 3887146 w 4527226"/>
              <a:gd name="connsiteY93" fmla="*/ 5025828 h 6046908"/>
              <a:gd name="connsiteX94" fmla="*/ 4100506 w 4527226"/>
              <a:gd name="connsiteY94" fmla="*/ 5300148 h 6046908"/>
              <a:gd name="connsiteX95" fmla="*/ 4367206 w 4527226"/>
              <a:gd name="connsiteY95" fmla="*/ 5726868 h 6046908"/>
              <a:gd name="connsiteX96" fmla="*/ 4527226 w 4527226"/>
              <a:gd name="connsiteY96" fmla="*/ 6046908 h 6046908"/>
              <a:gd name="connsiteX0" fmla="*/ 701986 w 4527226"/>
              <a:gd name="connsiteY0" fmla="*/ 5071548 h 6046908"/>
              <a:gd name="connsiteX1" fmla="*/ 717226 w 4527226"/>
              <a:gd name="connsiteY1" fmla="*/ 5063928 h 6046908"/>
              <a:gd name="connsiteX2" fmla="*/ 709606 w 4527226"/>
              <a:gd name="connsiteY2" fmla="*/ 5025828 h 6046908"/>
              <a:gd name="connsiteX3" fmla="*/ 701986 w 4527226"/>
              <a:gd name="connsiteY3" fmla="*/ 5002968 h 6046908"/>
              <a:gd name="connsiteX4" fmla="*/ 968686 w 4527226"/>
              <a:gd name="connsiteY4" fmla="*/ 4682928 h 6046908"/>
              <a:gd name="connsiteX5" fmla="*/ 961066 w 4527226"/>
              <a:gd name="connsiteY5" fmla="*/ 4644828 h 6046908"/>
              <a:gd name="connsiteX6" fmla="*/ 1342066 w 4527226"/>
              <a:gd name="connsiteY6" fmla="*/ 4172388 h 6046908"/>
              <a:gd name="connsiteX7" fmla="*/ 1258246 w 4527226"/>
              <a:gd name="connsiteY7" fmla="*/ 4012368 h 6046908"/>
              <a:gd name="connsiteX8" fmla="*/ 1204906 w 4527226"/>
              <a:gd name="connsiteY8" fmla="*/ 3928548 h 6046908"/>
              <a:gd name="connsiteX9" fmla="*/ 1174426 w 4527226"/>
              <a:gd name="connsiteY9" fmla="*/ 3768528 h 6046908"/>
              <a:gd name="connsiteX10" fmla="*/ 1151566 w 4527226"/>
              <a:gd name="connsiteY10" fmla="*/ 3699948 h 6046908"/>
              <a:gd name="connsiteX11" fmla="*/ 1143946 w 4527226"/>
              <a:gd name="connsiteY11" fmla="*/ 3669468 h 6046908"/>
              <a:gd name="connsiteX12" fmla="*/ 1067746 w 4527226"/>
              <a:gd name="connsiteY12" fmla="*/ 3661848 h 6046908"/>
              <a:gd name="connsiteX13" fmla="*/ 938206 w 4527226"/>
              <a:gd name="connsiteY13" fmla="*/ 3669468 h 6046908"/>
              <a:gd name="connsiteX14" fmla="*/ 831526 w 4527226"/>
              <a:gd name="connsiteY14" fmla="*/ 3692328 h 6046908"/>
              <a:gd name="connsiteX15" fmla="*/ 610546 w 4527226"/>
              <a:gd name="connsiteY15" fmla="*/ 3738048 h 6046908"/>
              <a:gd name="connsiteX16" fmla="*/ 389566 w 4527226"/>
              <a:gd name="connsiteY16" fmla="*/ 3638988 h 6046908"/>
              <a:gd name="connsiteX17" fmla="*/ 381946 w 4527226"/>
              <a:gd name="connsiteY17" fmla="*/ 3326568 h 6046908"/>
              <a:gd name="connsiteX18" fmla="*/ 420046 w 4527226"/>
              <a:gd name="connsiteY18" fmla="*/ 3227508 h 6046908"/>
              <a:gd name="connsiteX19" fmla="*/ 389566 w 4527226"/>
              <a:gd name="connsiteY19" fmla="*/ 3166548 h 6046908"/>
              <a:gd name="connsiteX20" fmla="*/ 351466 w 4527226"/>
              <a:gd name="connsiteY20" fmla="*/ 3105588 h 6046908"/>
              <a:gd name="connsiteX21" fmla="*/ 397186 w 4527226"/>
              <a:gd name="connsiteY21" fmla="*/ 3021768 h 6046908"/>
              <a:gd name="connsiteX22" fmla="*/ 488626 w 4527226"/>
              <a:gd name="connsiteY22" fmla="*/ 2998908 h 6046908"/>
              <a:gd name="connsiteX23" fmla="*/ 471956 w 4527226"/>
              <a:gd name="connsiteY23" fmla="*/ 2942709 h 6046908"/>
              <a:gd name="connsiteX24" fmla="*/ 435286 w 4527226"/>
              <a:gd name="connsiteY24" fmla="*/ 2930328 h 6046908"/>
              <a:gd name="connsiteX25" fmla="*/ 389566 w 4527226"/>
              <a:gd name="connsiteY25" fmla="*/ 2930328 h 6046908"/>
              <a:gd name="connsiteX26" fmla="*/ 314000 w 4527226"/>
              <a:gd name="connsiteY26" fmla="*/ 2893495 h 6046908"/>
              <a:gd name="connsiteX27" fmla="*/ 320986 w 4527226"/>
              <a:gd name="connsiteY27" fmla="*/ 2846508 h 6046908"/>
              <a:gd name="connsiteX28" fmla="*/ 328606 w 4527226"/>
              <a:gd name="connsiteY28" fmla="*/ 2793168 h 6046908"/>
              <a:gd name="connsiteX29" fmla="*/ 313366 w 4527226"/>
              <a:gd name="connsiteY29" fmla="*/ 2732208 h 6046908"/>
              <a:gd name="connsiteX30" fmla="*/ 267646 w 4527226"/>
              <a:gd name="connsiteY30" fmla="*/ 2671248 h 6046908"/>
              <a:gd name="connsiteX31" fmla="*/ 176206 w 4527226"/>
              <a:gd name="connsiteY31" fmla="*/ 2656008 h 6046908"/>
              <a:gd name="connsiteX32" fmla="*/ 54286 w 4527226"/>
              <a:gd name="connsiteY32" fmla="*/ 2610288 h 6046908"/>
              <a:gd name="connsiteX33" fmla="*/ 7931 w 4527226"/>
              <a:gd name="connsiteY33" fmla="*/ 2563298 h 6046908"/>
              <a:gd name="connsiteX34" fmla="*/ 8566 w 4527226"/>
              <a:gd name="connsiteY34" fmla="*/ 2488368 h 6046908"/>
              <a:gd name="connsiteX35" fmla="*/ 92386 w 4527226"/>
              <a:gd name="connsiteY35" fmla="*/ 2335968 h 6046908"/>
              <a:gd name="connsiteX36" fmla="*/ 221926 w 4527226"/>
              <a:gd name="connsiteY36" fmla="*/ 2175948 h 6046908"/>
              <a:gd name="connsiteX37" fmla="*/ 282886 w 4527226"/>
              <a:gd name="connsiteY37" fmla="*/ 2084508 h 6046908"/>
              <a:gd name="connsiteX38" fmla="*/ 328606 w 4527226"/>
              <a:gd name="connsiteY38" fmla="*/ 1977828 h 6046908"/>
              <a:gd name="connsiteX39" fmla="*/ 359086 w 4527226"/>
              <a:gd name="connsiteY39" fmla="*/ 1871148 h 6046908"/>
              <a:gd name="connsiteX40" fmla="*/ 374326 w 4527226"/>
              <a:gd name="connsiteY40" fmla="*/ 1810188 h 6046908"/>
              <a:gd name="connsiteX41" fmla="*/ 343846 w 4527226"/>
              <a:gd name="connsiteY41" fmla="*/ 1756848 h 6046908"/>
              <a:gd name="connsiteX42" fmla="*/ 328606 w 4527226"/>
              <a:gd name="connsiteY42" fmla="*/ 1680648 h 6046908"/>
              <a:gd name="connsiteX43" fmla="*/ 412426 w 4527226"/>
              <a:gd name="connsiteY43" fmla="*/ 1474908 h 6046908"/>
              <a:gd name="connsiteX44" fmla="*/ 442906 w 4527226"/>
              <a:gd name="connsiteY44" fmla="*/ 1307268 h 6046908"/>
              <a:gd name="connsiteX45" fmla="*/ 465766 w 4527226"/>
              <a:gd name="connsiteY45" fmla="*/ 1192968 h 6046908"/>
              <a:gd name="connsiteX46" fmla="*/ 503866 w 4527226"/>
              <a:gd name="connsiteY46" fmla="*/ 1055808 h 6046908"/>
              <a:gd name="connsiteX47" fmla="*/ 557206 w 4527226"/>
              <a:gd name="connsiteY47" fmla="*/ 888168 h 6046908"/>
              <a:gd name="connsiteX48" fmla="*/ 503866 w 4527226"/>
              <a:gd name="connsiteY48" fmla="*/ 888168 h 6046908"/>
              <a:gd name="connsiteX49" fmla="*/ 412426 w 4527226"/>
              <a:gd name="connsiteY49" fmla="*/ 834828 h 6046908"/>
              <a:gd name="connsiteX50" fmla="*/ 328606 w 4527226"/>
              <a:gd name="connsiteY50" fmla="*/ 789108 h 6046908"/>
              <a:gd name="connsiteX51" fmla="*/ 260026 w 4527226"/>
              <a:gd name="connsiteY51" fmla="*/ 773868 h 6046908"/>
              <a:gd name="connsiteX52" fmla="*/ 214306 w 4527226"/>
              <a:gd name="connsiteY52" fmla="*/ 751008 h 6046908"/>
              <a:gd name="connsiteX53" fmla="*/ 260026 w 4527226"/>
              <a:gd name="connsiteY53" fmla="*/ 674808 h 6046908"/>
              <a:gd name="connsiteX54" fmla="*/ 374326 w 4527226"/>
              <a:gd name="connsiteY54" fmla="*/ 606228 h 6046908"/>
              <a:gd name="connsiteX55" fmla="*/ 557206 w 4527226"/>
              <a:gd name="connsiteY55" fmla="*/ 507168 h 6046908"/>
              <a:gd name="connsiteX56" fmla="*/ 656266 w 4527226"/>
              <a:gd name="connsiteY56" fmla="*/ 423348 h 6046908"/>
              <a:gd name="connsiteX57" fmla="*/ 892486 w 4527226"/>
              <a:gd name="connsiteY57" fmla="*/ 232848 h 6046908"/>
              <a:gd name="connsiteX58" fmla="*/ 1174426 w 4527226"/>
              <a:gd name="connsiteY58" fmla="*/ 80448 h 6046908"/>
              <a:gd name="connsiteX59" fmla="*/ 1593526 w 4527226"/>
              <a:gd name="connsiteY59" fmla="*/ 11868 h 6046908"/>
              <a:gd name="connsiteX60" fmla="*/ 1944046 w 4527226"/>
              <a:gd name="connsiteY60" fmla="*/ 4248 h 6046908"/>
              <a:gd name="connsiteX61" fmla="*/ 2172646 w 4527226"/>
              <a:gd name="connsiteY61" fmla="*/ 4248 h 6046908"/>
              <a:gd name="connsiteX62" fmla="*/ 2393626 w 4527226"/>
              <a:gd name="connsiteY62" fmla="*/ 57588 h 6046908"/>
              <a:gd name="connsiteX63" fmla="*/ 2667946 w 4527226"/>
              <a:gd name="connsiteY63" fmla="*/ 133788 h 6046908"/>
              <a:gd name="connsiteX64" fmla="*/ 2820346 w 4527226"/>
              <a:gd name="connsiteY64" fmla="*/ 202368 h 6046908"/>
              <a:gd name="connsiteX65" fmla="*/ 3102286 w 4527226"/>
              <a:gd name="connsiteY65" fmla="*/ 400488 h 6046908"/>
              <a:gd name="connsiteX66" fmla="*/ 3285166 w 4527226"/>
              <a:gd name="connsiteY66" fmla="*/ 651948 h 6046908"/>
              <a:gd name="connsiteX67" fmla="*/ 3407086 w 4527226"/>
              <a:gd name="connsiteY67" fmla="*/ 918648 h 6046908"/>
              <a:gd name="connsiteX68" fmla="*/ 3475666 w 4527226"/>
              <a:gd name="connsiteY68" fmla="*/ 1238688 h 6046908"/>
              <a:gd name="connsiteX69" fmla="*/ 3506146 w 4527226"/>
              <a:gd name="connsiteY69" fmla="*/ 1543488 h 6046908"/>
              <a:gd name="connsiteX70" fmla="*/ 3506146 w 4527226"/>
              <a:gd name="connsiteY70" fmla="*/ 1962588 h 6046908"/>
              <a:gd name="connsiteX71" fmla="*/ 3338506 w 4527226"/>
              <a:gd name="connsiteY71" fmla="*/ 2305488 h 6046908"/>
              <a:gd name="connsiteX72" fmla="*/ 3254686 w 4527226"/>
              <a:gd name="connsiteY72" fmla="*/ 2473128 h 6046908"/>
              <a:gd name="connsiteX73" fmla="*/ 3132766 w 4527226"/>
              <a:gd name="connsiteY73" fmla="*/ 2663628 h 6046908"/>
              <a:gd name="connsiteX74" fmla="*/ 3071806 w 4527226"/>
              <a:gd name="connsiteY74" fmla="*/ 2838888 h 6046908"/>
              <a:gd name="connsiteX75" fmla="*/ 3064186 w 4527226"/>
              <a:gd name="connsiteY75" fmla="*/ 2915088 h 6046908"/>
              <a:gd name="connsiteX76" fmla="*/ 3018466 w 4527226"/>
              <a:gd name="connsiteY76" fmla="*/ 3014148 h 6046908"/>
              <a:gd name="connsiteX77" fmla="*/ 2980366 w 4527226"/>
              <a:gd name="connsiteY77" fmla="*/ 3082728 h 6046908"/>
              <a:gd name="connsiteX78" fmla="*/ 2957506 w 4527226"/>
              <a:gd name="connsiteY78" fmla="*/ 3120828 h 6046908"/>
              <a:gd name="connsiteX79" fmla="*/ 2957506 w 4527226"/>
              <a:gd name="connsiteY79" fmla="*/ 3555168 h 6046908"/>
              <a:gd name="connsiteX80" fmla="*/ 3010846 w 4527226"/>
              <a:gd name="connsiteY80" fmla="*/ 3539928 h 6046908"/>
              <a:gd name="connsiteX81" fmla="*/ 3109906 w 4527226"/>
              <a:gd name="connsiteY81" fmla="*/ 3570408 h 6046908"/>
              <a:gd name="connsiteX82" fmla="*/ 3140386 w 4527226"/>
              <a:gd name="connsiteY82" fmla="*/ 3631368 h 6046908"/>
              <a:gd name="connsiteX83" fmla="*/ 3117526 w 4527226"/>
              <a:gd name="connsiteY83" fmla="*/ 3738048 h 6046908"/>
              <a:gd name="connsiteX84" fmla="*/ 3125146 w 4527226"/>
              <a:gd name="connsiteY84" fmla="*/ 4103808 h 6046908"/>
              <a:gd name="connsiteX85" fmla="*/ 3163246 w 4527226"/>
              <a:gd name="connsiteY85" fmla="*/ 4157148 h 6046908"/>
              <a:gd name="connsiteX86" fmla="*/ 3201346 w 4527226"/>
              <a:gd name="connsiteY86" fmla="*/ 4164768 h 6046908"/>
              <a:gd name="connsiteX87" fmla="*/ 3231826 w 4527226"/>
              <a:gd name="connsiteY87" fmla="*/ 4172388 h 6046908"/>
              <a:gd name="connsiteX88" fmla="*/ 3285166 w 4527226"/>
              <a:gd name="connsiteY88" fmla="*/ 4294308 h 6046908"/>
              <a:gd name="connsiteX89" fmla="*/ 3300406 w 4527226"/>
              <a:gd name="connsiteY89" fmla="*/ 4347648 h 6046908"/>
              <a:gd name="connsiteX90" fmla="*/ 3330886 w 4527226"/>
              <a:gd name="connsiteY90" fmla="*/ 4408608 h 6046908"/>
              <a:gd name="connsiteX91" fmla="*/ 3551866 w 4527226"/>
              <a:gd name="connsiteY91" fmla="*/ 4644828 h 6046908"/>
              <a:gd name="connsiteX92" fmla="*/ 3887146 w 4527226"/>
              <a:gd name="connsiteY92" fmla="*/ 5025828 h 6046908"/>
              <a:gd name="connsiteX93" fmla="*/ 4100506 w 4527226"/>
              <a:gd name="connsiteY93" fmla="*/ 5300148 h 6046908"/>
              <a:gd name="connsiteX94" fmla="*/ 4367206 w 4527226"/>
              <a:gd name="connsiteY94" fmla="*/ 5726868 h 6046908"/>
              <a:gd name="connsiteX95" fmla="*/ 4527226 w 4527226"/>
              <a:gd name="connsiteY95" fmla="*/ 6046908 h 6046908"/>
              <a:gd name="connsiteX0" fmla="*/ 717226 w 4527226"/>
              <a:gd name="connsiteY0" fmla="*/ 5063928 h 6046908"/>
              <a:gd name="connsiteX1" fmla="*/ 709606 w 4527226"/>
              <a:gd name="connsiteY1" fmla="*/ 5025828 h 6046908"/>
              <a:gd name="connsiteX2" fmla="*/ 701986 w 4527226"/>
              <a:gd name="connsiteY2" fmla="*/ 5002968 h 6046908"/>
              <a:gd name="connsiteX3" fmla="*/ 968686 w 4527226"/>
              <a:gd name="connsiteY3" fmla="*/ 4682928 h 6046908"/>
              <a:gd name="connsiteX4" fmla="*/ 961066 w 4527226"/>
              <a:gd name="connsiteY4" fmla="*/ 4644828 h 6046908"/>
              <a:gd name="connsiteX5" fmla="*/ 1342066 w 4527226"/>
              <a:gd name="connsiteY5" fmla="*/ 4172388 h 6046908"/>
              <a:gd name="connsiteX6" fmla="*/ 1258246 w 4527226"/>
              <a:gd name="connsiteY6" fmla="*/ 4012368 h 6046908"/>
              <a:gd name="connsiteX7" fmla="*/ 1204906 w 4527226"/>
              <a:gd name="connsiteY7" fmla="*/ 3928548 h 6046908"/>
              <a:gd name="connsiteX8" fmla="*/ 1174426 w 4527226"/>
              <a:gd name="connsiteY8" fmla="*/ 3768528 h 6046908"/>
              <a:gd name="connsiteX9" fmla="*/ 1151566 w 4527226"/>
              <a:gd name="connsiteY9" fmla="*/ 3699948 h 6046908"/>
              <a:gd name="connsiteX10" fmla="*/ 1143946 w 4527226"/>
              <a:gd name="connsiteY10" fmla="*/ 3669468 h 6046908"/>
              <a:gd name="connsiteX11" fmla="*/ 1067746 w 4527226"/>
              <a:gd name="connsiteY11" fmla="*/ 3661848 h 6046908"/>
              <a:gd name="connsiteX12" fmla="*/ 938206 w 4527226"/>
              <a:gd name="connsiteY12" fmla="*/ 3669468 h 6046908"/>
              <a:gd name="connsiteX13" fmla="*/ 831526 w 4527226"/>
              <a:gd name="connsiteY13" fmla="*/ 3692328 h 6046908"/>
              <a:gd name="connsiteX14" fmla="*/ 610546 w 4527226"/>
              <a:gd name="connsiteY14" fmla="*/ 3738048 h 6046908"/>
              <a:gd name="connsiteX15" fmla="*/ 389566 w 4527226"/>
              <a:gd name="connsiteY15" fmla="*/ 3638988 h 6046908"/>
              <a:gd name="connsiteX16" fmla="*/ 381946 w 4527226"/>
              <a:gd name="connsiteY16" fmla="*/ 3326568 h 6046908"/>
              <a:gd name="connsiteX17" fmla="*/ 420046 w 4527226"/>
              <a:gd name="connsiteY17" fmla="*/ 3227508 h 6046908"/>
              <a:gd name="connsiteX18" fmla="*/ 389566 w 4527226"/>
              <a:gd name="connsiteY18" fmla="*/ 3166548 h 6046908"/>
              <a:gd name="connsiteX19" fmla="*/ 351466 w 4527226"/>
              <a:gd name="connsiteY19" fmla="*/ 3105588 h 6046908"/>
              <a:gd name="connsiteX20" fmla="*/ 397186 w 4527226"/>
              <a:gd name="connsiteY20" fmla="*/ 3021768 h 6046908"/>
              <a:gd name="connsiteX21" fmla="*/ 488626 w 4527226"/>
              <a:gd name="connsiteY21" fmla="*/ 2998908 h 6046908"/>
              <a:gd name="connsiteX22" fmla="*/ 471956 w 4527226"/>
              <a:gd name="connsiteY22" fmla="*/ 2942709 h 6046908"/>
              <a:gd name="connsiteX23" fmla="*/ 435286 w 4527226"/>
              <a:gd name="connsiteY23" fmla="*/ 2930328 h 6046908"/>
              <a:gd name="connsiteX24" fmla="*/ 389566 w 4527226"/>
              <a:gd name="connsiteY24" fmla="*/ 2930328 h 6046908"/>
              <a:gd name="connsiteX25" fmla="*/ 314000 w 4527226"/>
              <a:gd name="connsiteY25" fmla="*/ 2893495 h 6046908"/>
              <a:gd name="connsiteX26" fmla="*/ 320986 w 4527226"/>
              <a:gd name="connsiteY26" fmla="*/ 2846508 h 6046908"/>
              <a:gd name="connsiteX27" fmla="*/ 328606 w 4527226"/>
              <a:gd name="connsiteY27" fmla="*/ 2793168 h 6046908"/>
              <a:gd name="connsiteX28" fmla="*/ 313366 w 4527226"/>
              <a:gd name="connsiteY28" fmla="*/ 2732208 h 6046908"/>
              <a:gd name="connsiteX29" fmla="*/ 267646 w 4527226"/>
              <a:gd name="connsiteY29" fmla="*/ 2671248 h 6046908"/>
              <a:gd name="connsiteX30" fmla="*/ 176206 w 4527226"/>
              <a:gd name="connsiteY30" fmla="*/ 2656008 h 6046908"/>
              <a:gd name="connsiteX31" fmla="*/ 54286 w 4527226"/>
              <a:gd name="connsiteY31" fmla="*/ 2610288 h 6046908"/>
              <a:gd name="connsiteX32" fmla="*/ 7931 w 4527226"/>
              <a:gd name="connsiteY32" fmla="*/ 2563298 h 6046908"/>
              <a:gd name="connsiteX33" fmla="*/ 8566 w 4527226"/>
              <a:gd name="connsiteY33" fmla="*/ 2488368 h 6046908"/>
              <a:gd name="connsiteX34" fmla="*/ 92386 w 4527226"/>
              <a:gd name="connsiteY34" fmla="*/ 2335968 h 6046908"/>
              <a:gd name="connsiteX35" fmla="*/ 221926 w 4527226"/>
              <a:gd name="connsiteY35" fmla="*/ 2175948 h 6046908"/>
              <a:gd name="connsiteX36" fmla="*/ 282886 w 4527226"/>
              <a:gd name="connsiteY36" fmla="*/ 2084508 h 6046908"/>
              <a:gd name="connsiteX37" fmla="*/ 328606 w 4527226"/>
              <a:gd name="connsiteY37" fmla="*/ 1977828 h 6046908"/>
              <a:gd name="connsiteX38" fmla="*/ 359086 w 4527226"/>
              <a:gd name="connsiteY38" fmla="*/ 1871148 h 6046908"/>
              <a:gd name="connsiteX39" fmla="*/ 374326 w 4527226"/>
              <a:gd name="connsiteY39" fmla="*/ 1810188 h 6046908"/>
              <a:gd name="connsiteX40" fmla="*/ 343846 w 4527226"/>
              <a:gd name="connsiteY40" fmla="*/ 1756848 h 6046908"/>
              <a:gd name="connsiteX41" fmla="*/ 328606 w 4527226"/>
              <a:gd name="connsiteY41" fmla="*/ 1680648 h 6046908"/>
              <a:gd name="connsiteX42" fmla="*/ 412426 w 4527226"/>
              <a:gd name="connsiteY42" fmla="*/ 1474908 h 6046908"/>
              <a:gd name="connsiteX43" fmla="*/ 442906 w 4527226"/>
              <a:gd name="connsiteY43" fmla="*/ 1307268 h 6046908"/>
              <a:gd name="connsiteX44" fmla="*/ 465766 w 4527226"/>
              <a:gd name="connsiteY44" fmla="*/ 1192968 h 6046908"/>
              <a:gd name="connsiteX45" fmla="*/ 503866 w 4527226"/>
              <a:gd name="connsiteY45" fmla="*/ 1055808 h 6046908"/>
              <a:gd name="connsiteX46" fmla="*/ 557206 w 4527226"/>
              <a:gd name="connsiteY46" fmla="*/ 888168 h 6046908"/>
              <a:gd name="connsiteX47" fmla="*/ 503866 w 4527226"/>
              <a:gd name="connsiteY47" fmla="*/ 888168 h 6046908"/>
              <a:gd name="connsiteX48" fmla="*/ 412426 w 4527226"/>
              <a:gd name="connsiteY48" fmla="*/ 834828 h 6046908"/>
              <a:gd name="connsiteX49" fmla="*/ 328606 w 4527226"/>
              <a:gd name="connsiteY49" fmla="*/ 789108 h 6046908"/>
              <a:gd name="connsiteX50" fmla="*/ 260026 w 4527226"/>
              <a:gd name="connsiteY50" fmla="*/ 773868 h 6046908"/>
              <a:gd name="connsiteX51" fmla="*/ 214306 w 4527226"/>
              <a:gd name="connsiteY51" fmla="*/ 751008 h 6046908"/>
              <a:gd name="connsiteX52" fmla="*/ 260026 w 4527226"/>
              <a:gd name="connsiteY52" fmla="*/ 674808 h 6046908"/>
              <a:gd name="connsiteX53" fmla="*/ 374326 w 4527226"/>
              <a:gd name="connsiteY53" fmla="*/ 606228 h 6046908"/>
              <a:gd name="connsiteX54" fmla="*/ 557206 w 4527226"/>
              <a:gd name="connsiteY54" fmla="*/ 507168 h 6046908"/>
              <a:gd name="connsiteX55" fmla="*/ 656266 w 4527226"/>
              <a:gd name="connsiteY55" fmla="*/ 423348 h 6046908"/>
              <a:gd name="connsiteX56" fmla="*/ 892486 w 4527226"/>
              <a:gd name="connsiteY56" fmla="*/ 232848 h 6046908"/>
              <a:gd name="connsiteX57" fmla="*/ 1174426 w 4527226"/>
              <a:gd name="connsiteY57" fmla="*/ 80448 h 6046908"/>
              <a:gd name="connsiteX58" fmla="*/ 1593526 w 4527226"/>
              <a:gd name="connsiteY58" fmla="*/ 11868 h 6046908"/>
              <a:gd name="connsiteX59" fmla="*/ 1944046 w 4527226"/>
              <a:gd name="connsiteY59" fmla="*/ 4248 h 6046908"/>
              <a:gd name="connsiteX60" fmla="*/ 2172646 w 4527226"/>
              <a:gd name="connsiteY60" fmla="*/ 4248 h 6046908"/>
              <a:gd name="connsiteX61" fmla="*/ 2393626 w 4527226"/>
              <a:gd name="connsiteY61" fmla="*/ 57588 h 6046908"/>
              <a:gd name="connsiteX62" fmla="*/ 2667946 w 4527226"/>
              <a:gd name="connsiteY62" fmla="*/ 133788 h 6046908"/>
              <a:gd name="connsiteX63" fmla="*/ 2820346 w 4527226"/>
              <a:gd name="connsiteY63" fmla="*/ 202368 h 6046908"/>
              <a:gd name="connsiteX64" fmla="*/ 3102286 w 4527226"/>
              <a:gd name="connsiteY64" fmla="*/ 400488 h 6046908"/>
              <a:gd name="connsiteX65" fmla="*/ 3285166 w 4527226"/>
              <a:gd name="connsiteY65" fmla="*/ 651948 h 6046908"/>
              <a:gd name="connsiteX66" fmla="*/ 3407086 w 4527226"/>
              <a:gd name="connsiteY66" fmla="*/ 918648 h 6046908"/>
              <a:gd name="connsiteX67" fmla="*/ 3475666 w 4527226"/>
              <a:gd name="connsiteY67" fmla="*/ 1238688 h 6046908"/>
              <a:gd name="connsiteX68" fmla="*/ 3506146 w 4527226"/>
              <a:gd name="connsiteY68" fmla="*/ 1543488 h 6046908"/>
              <a:gd name="connsiteX69" fmla="*/ 3506146 w 4527226"/>
              <a:gd name="connsiteY69" fmla="*/ 1962588 h 6046908"/>
              <a:gd name="connsiteX70" fmla="*/ 3338506 w 4527226"/>
              <a:gd name="connsiteY70" fmla="*/ 2305488 h 6046908"/>
              <a:gd name="connsiteX71" fmla="*/ 3254686 w 4527226"/>
              <a:gd name="connsiteY71" fmla="*/ 2473128 h 6046908"/>
              <a:gd name="connsiteX72" fmla="*/ 3132766 w 4527226"/>
              <a:gd name="connsiteY72" fmla="*/ 2663628 h 6046908"/>
              <a:gd name="connsiteX73" fmla="*/ 3071806 w 4527226"/>
              <a:gd name="connsiteY73" fmla="*/ 2838888 h 6046908"/>
              <a:gd name="connsiteX74" fmla="*/ 3064186 w 4527226"/>
              <a:gd name="connsiteY74" fmla="*/ 2915088 h 6046908"/>
              <a:gd name="connsiteX75" fmla="*/ 3018466 w 4527226"/>
              <a:gd name="connsiteY75" fmla="*/ 3014148 h 6046908"/>
              <a:gd name="connsiteX76" fmla="*/ 2980366 w 4527226"/>
              <a:gd name="connsiteY76" fmla="*/ 3082728 h 6046908"/>
              <a:gd name="connsiteX77" fmla="*/ 2957506 w 4527226"/>
              <a:gd name="connsiteY77" fmla="*/ 3120828 h 6046908"/>
              <a:gd name="connsiteX78" fmla="*/ 2957506 w 4527226"/>
              <a:gd name="connsiteY78" fmla="*/ 3555168 h 6046908"/>
              <a:gd name="connsiteX79" fmla="*/ 3010846 w 4527226"/>
              <a:gd name="connsiteY79" fmla="*/ 3539928 h 6046908"/>
              <a:gd name="connsiteX80" fmla="*/ 3109906 w 4527226"/>
              <a:gd name="connsiteY80" fmla="*/ 3570408 h 6046908"/>
              <a:gd name="connsiteX81" fmla="*/ 3140386 w 4527226"/>
              <a:gd name="connsiteY81" fmla="*/ 3631368 h 6046908"/>
              <a:gd name="connsiteX82" fmla="*/ 3117526 w 4527226"/>
              <a:gd name="connsiteY82" fmla="*/ 3738048 h 6046908"/>
              <a:gd name="connsiteX83" fmla="*/ 3125146 w 4527226"/>
              <a:gd name="connsiteY83" fmla="*/ 4103808 h 6046908"/>
              <a:gd name="connsiteX84" fmla="*/ 3163246 w 4527226"/>
              <a:gd name="connsiteY84" fmla="*/ 4157148 h 6046908"/>
              <a:gd name="connsiteX85" fmla="*/ 3201346 w 4527226"/>
              <a:gd name="connsiteY85" fmla="*/ 4164768 h 6046908"/>
              <a:gd name="connsiteX86" fmla="*/ 3231826 w 4527226"/>
              <a:gd name="connsiteY86" fmla="*/ 4172388 h 6046908"/>
              <a:gd name="connsiteX87" fmla="*/ 3285166 w 4527226"/>
              <a:gd name="connsiteY87" fmla="*/ 4294308 h 6046908"/>
              <a:gd name="connsiteX88" fmla="*/ 3300406 w 4527226"/>
              <a:gd name="connsiteY88" fmla="*/ 4347648 h 6046908"/>
              <a:gd name="connsiteX89" fmla="*/ 3330886 w 4527226"/>
              <a:gd name="connsiteY89" fmla="*/ 4408608 h 6046908"/>
              <a:gd name="connsiteX90" fmla="*/ 3551866 w 4527226"/>
              <a:gd name="connsiteY90" fmla="*/ 4644828 h 6046908"/>
              <a:gd name="connsiteX91" fmla="*/ 3887146 w 4527226"/>
              <a:gd name="connsiteY91" fmla="*/ 5025828 h 6046908"/>
              <a:gd name="connsiteX92" fmla="*/ 4100506 w 4527226"/>
              <a:gd name="connsiteY92" fmla="*/ 5300148 h 6046908"/>
              <a:gd name="connsiteX93" fmla="*/ 4367206 w 4527226"/>
              <a:gd name="connsiteY93" fmla="*/ 5726868 h 6046908"/>
              <a:gd name="connsiteX94" fmla="*/ 4527226 w 4527226"/>
              <a:gd name="connsiteY94" fmla="*/ 6046908 h 6046908"/>
              <a:gd name="connsiteX0" fmla="*/ 709606 w 4527226"/>
              <a:gd name="connsiteY0" fmla="*/ 5025828 h 6046908"/>
              <a:gd name="connsiteX1" fmla="*/ 701986 w 4527226"/>
              <a:gd name="connsiteY1" fmla="*/ 5002968 h 6046908"/>
              <a:gd name="connsiteX2" fmla="*/ 968686 w 4527226"/>
              <a:gd name="connsiteY2" fmla="*/ 4682928 h 6046908"/>
              <a:gd name="connsiteX3" fmla="*/ 961066 w 4527226"/>
              <a:gd name="connsiteY3" fmla="*/ 4644828 h 6046908"/>
              <a:gd name="connsiteX4" fmla="*/ 1342066 w 4527226"/>
              <a:gd name="connsiteY4" fmla="*/ 4172388 h 6046908"/>
              <a:gd name="connsiteX5" fmla="*/ 1258246 w 4527226"/>
              <a:gd name="connsiteY5" fmla="*/ 4012368 h 6046908"/>
              <a:gd name="connsiteX6" fmla="*/ 1204906 w 4527226"/>
              <a:gd name="connsiteY6" fmla="*/ 3928548 h 6046908"/>
              <a:gd name="connsiteX7" fmla="*/ 1174426 w 4527226"/>
              <a:gd name="connsiteY7" fmla="*/ 3768528 h 6046908"/>
              <a:gd name="connsiteX8" fmla="*/ 1151566 w 4527226"/>
              <a:gd name="connsiteY8" fmla="*/ 3699948 h 6046908"/>
              <a:gd name="connsiteX9" fmla="*/ 1143946 w 4527226"/>
              <a:gd name="connsiteY9" fmla="*/ 3669468 h 6046908"/>
              <a:gd name="connsiteX10" fmla="*/ 1067746 w 4527226"/>
              <a:gd name="connsiteY10" fmla="*/ 3661848 h 6046908"/>
              <a:gd name="connsiteX11" fmla="*/ 938206 w 4527226"/>
              <a:gd name="connsiteY11" fmla="*/ 3669468 h 6046908"/>
              <a:gd name="connsiteX12" fmla="*/ 831526 w 4527226"/>
              <a:gd name="connsiteY12" fmla="*/ 3692328 h 6046908"/>
              <a:gd name="connsiteX13" fmla="*/ 610546 w 4527226"/>
              <a:gd name="connsiteY13" fmla="*/ 3738048 h 6046908"/>
              <a:gd name="connsiteX14" fmla="*/ 389566 w 4527226"/>
              <a:gd name="connsiteY14" fmla="*/ 3638988 h 6046908"/>
              <a:gd name="connsiteX15" fmla="*/ 381946 w 4527226"/>
              <a:gd name="connsiteY15" fmla="*/ 3326568 h 6046908"/>
              <a:gd name="connsiteX16" fmla="*/ 420046 w 4527226"/>
              <a:gd name="connsiteY16" fmla="*/ 3227508 h 6046908"/>
              <a:gd name="connsiteX17" fmla="*/ 389566 w 4527226"/>
              <a:gd name="connsiteY17" fmla="*/ 3166548 h 6046908"/>
              <a:gd name="connsiteX18" fmla="*/ 351466 w 4527226"/>
              <a:gd name="connsiteY18" fmla="*/ 3105588 h 6046908"/>
              <a:gd name="connsiteX19" fmla="*/ 397186 w 4527226"/>
              <a:gd name="connsiteY19" fmla="*/ 3021768 h 6046908"/>
              <a:gd name="connsiteX20" fmla="*/ 488626 w 4527226"/>
              <a:gd name="connsiteY20" fmla="*/ 2998908 h 6046908"/>
              <a:gd name="connsiteX21" fmla="*/ 471956 w 4527226"/>
              <a:gd name="connsiteY21" fmla="*/ 2942709 h 6046908"/>
              <a:gd name="connsiteX22" fmla="*/ 435286 w 4527226"/>
              <a:gd name="connsiteY22" fmla="*/ 2930328 h 6046908"/>
              <a:gd name="connsiteX23" fmla="*/ 389566 w 4527226"/>
              <a:gd name="connsiteY23" fmla="*/ 2930328 h 6046908"/>
              <a:gd name="connsiteX24" fmla="*/ 314000 w 4527226"/>
              <a:gd name="connsiteY24" fmla="*/ 2893495 h 6046908"/>
              <a:gd name="connsiteX25" fmla="*/ 320986 w 4527226"/>
              <a:gd name="connsiteY25" fmla="*/ 2846508 h 6046908"/>
              <a:gd name="connsiteX26" fmla="*/ 328606 w 4527226"/>
              <a:gd name="connsiteY26" fmla="*/ 2793168 h 6046908"/>
              <a:gd name="connsiteX27" fmla="*/ 313366 w 4527226"/>
              <a:gd name="connsiteY27" fmla="*/ 2732208 h 6046908"/>
              <a:gd name="connsiteX28" fmla="*/ 267646 w 4527226"/>
              <a:gd name="connsiteY28" fmla="*/ 2671248 h 6046908"/>
              <a:gd name="connsiteX29" fmla="*/ 176206 w 4527226"/>
              <a:gd name="connsiteY29" fmla="*/ 2656008 h 6046908"/>
              <a:gd name="connsiteX30" fmla="*/ 54286 w 4527226"/>
              <a:gd name="connsiteY30" fmla="*/ 2610288 h 6046908"/>
              <a:gd name="connsiteX31" fmla="*/ 7931 w 4527226"/>
              <a:gd name="connsiteY31" fmla="*/ 2563298 h 6046908"/>
              <a:gd name="connsiteX32" fmla="*/ 8566 w 4527226"/>
              <a:gd name="connsiteY32" fmla="*/ 2488368 h 6046908"/>
              <a:gd name="connsiteX33" fmla="*/ 92386 w 4527226"/>
              <a:gd name="connsiteY33" fmla="*/ 2335968 h 6046908"/>
              <a:gd name="connsiteX34" fmla="*/ 221926 w 4527226"/>
              <a:gd name="connsiteY34" fmla="*/ 2175948 h 6046908"/>
              <a:gd name="connsiteX35" fmla="*/ 282886 w 4527226"/>
              <a:gd name="connsiteY35" fmla="*/ 2084508 h 6046908"/>
              <a:gd name="connsiteX36" fmla="*/ 328606 w 4527226"/>
              <a:gd name="connsiteY36" fmla="*/ 1977828 h 6046908"/>
              <a:gd name="connsiteX37" fmla="*/ 359086 w 4527226"/>
              <a:gd name="connsiteY37" fmla="*/ 1871148 h 6046908"/>
              <a:gd name="connsiteX38" fmla="*/ 374326 w 4527226"/>
              <a:gd name="connsiteY38" fmla="*/ 1810188 h 6046908"/>
              <a:gd name="connsiteX39" fmla="*/ 343846 w 4527226"/>
              <a:gd name="connsiteY39" fmla="*/ 1756848 h 6046908"/>
              <a:gd name="connsiteX40" fmla="*/ 328606 w 4527226"/>
              <a:gd name="connsiteY40" fmla="*/ 1680648 h 6046908"/>
              <a:gd name="connsiteX41" fmla="*/ 412426 w 4527226"/>
              <a:gd name="connsiteY41" fmla="*/ 1474908 h 6046908"/>
              <a:gd name="connsiteX42" fmla="*/ 442906 w 4527226"/>
              <a:gd name="connsiteY42" fmla="*/ 1307268 h 6046908"/>
              <a:gd name="connsiteX43" fmla="*/ 465766 w 4527226"/>
              <a:gd name="connsiteY43" fmla="*/ 1192968 h 6046908"/>
              <a:gd name="connsiteX44" fmla="*/ 503866 w 4527226"/>
              <a:gd name="connsiteY44" fmla="*/ 1055808 h 6046908"/>
              <a:gd name="connsiteX45" fmla="*/ 557206 w 4527226"/>
              <a:gd name="connsiteY45" fmla="*/ 888168 h 6046908"/>
              <a:gd name="connsiteX46" fmla="*/ 503866 w 4527226"/>
              <a:gd name="connsiteY46" fmla="*/ 888168 h 6046908"/>
              <a:gd name="connsiteX47" fmla="*/ 412426 w 4527226"/>
              <a:gd name="connsiteY47" fmla="*/ 834828 h 6046908"/>
              <a:gd name="connsiteX48" fmla="*/ 328606 w 4527226"/>
              <a:gd name="connsiteY48" fmla="*/ 789108 h 6046908"/>
              <a:gd name="connsiteX49" fmla="*/ 260026 w 4527226"/>
              <a:gd name="connsiteY49" fmla="*/ 773868 h 6046908"/>
              <a:gd name="connsiteX50" fmla="*/ 214306 w 4527226"/>
              <a:gd name="connsiteY50" fmla="*/ 751008 h 6046908"/>
              <a:gd name="connsiteX51" fmla="*/ 260026 w 4527226"/>
              <a:gd name="connsiteY51" fmla="*/ 674808 h 6046908"/>
              <a:gd name="connsiteX52" fmla="*/ 374326 w 4527226"/>
              <a:gd name="connsiteY52" fmla="*/ 606228 h 6046908"/>
              <a:gd name="connsiteX53" fmla="*/ 557206 w 4527226"/>
              <a:gd name="connsiteY53" fmla="*/ 507168 h 6046908"/>
              <a:gd name="connsiteX54" fmla="*/ 656266 w 4527226"/>
              <a:gd name="connsiteY54" fmla="*/ 423348 h 6046908"/>
              <a:gd name="connsiteX55" fmla="*/ 892486 w 4527226"/>
              <a:gd name="connsiteY55" fmla="*/ 232848 h 6046908"/>
              <a:gd name="connsiteX56" fmla="*/ 1174426 w 4527226"/>
              <a:gd name="connsiteY56" fmla="*/ 80448 h 6046908"/>
              <a:gd name="connsiteX57" fmla="*/ 1593526 w 4527226"/>
              <a:gd name="connsiteY57" fmla="*/ 11868 h 6046908"/>
              <a:gd name="connsiteX58" fmla="*/ 1944046 w 4527226"/>
              <a:gd name="connsiteY58" fmla="*/ 4248 h 6046908"/>
              <a:gd name="connsiteX59" fmla="*/ 2172646 w 4527226"/>
              <a:gd name="connsiteY59" fmla="*/ 4248 h 6046908"/>
              <a:gd name="connsiteX60" fmla="*/ 2393626 w 4527226"/>
              <a:gd name="connsiteY60" fmla="*/ 57588 h 6046908"/>
              <a:gd name="connsiteX61" fmla="*/ 2667946 w 4527226"/>
              <a:gd name="connsiteY61" fmla="*/ 133788 h 6046908"/>
              <a:gd name="connsiteX62" fmla="*/ 2820346 w 4527226"/>
              <a:gd name="connsiteY62" fmla="*/ 202368 h 6046908"/>
              <a:gd name="connsiteX63" fmla="*/ 3102286 w 4527226"/>
              <a:gd name="connsiteY63" fmla="*/ 400488 h 6046908"/>
              <a:gd name="connsiteX64" fmla="*/ 3285166 w 4527226"/>
              <a:gd name="connsiteY64" fmla="*/ 651948 h 6046908"/>
              <a:gd name="connsiteX65" fmla="*/ 3407086 w 4527226"/>
              <a:gd name="connsiteY65" fmla="*/ 918648 h 6046908"/>
              <a:gd name="connsiteX66" fmla="*/ 3475666 w 4527226"/>
              <a:gd name="connsiteY66" fmla="*/ 1238688 h 6046908"/>
              <a:gd name="connsiteX67" fmla="*/ 3506146 w 4527226"/>
              <a:gd name="connsiteY67" fmla="*/ 1543488 h 6046908"/>
              <a:gd name="connsiteX68" fmla="*/ 3506146 w 4527226"/>
              <a:gd name="connsiteY68" fmla="*/ 1962588 h 6046908"/>
              <a:gd name="connsiteX69" fmla="*/ 3338506 w 4527226"/>
              <a:gd name="connsiteY69" fmla="*/ 2305488 h 6046908"/>
              <a:gd name="connsiteX70" fmla="*/ 3254686 w 4527226"/>
              <a:gd name="connsiteY70" fmla="*/ 2473128 h 6046908"/>
              <a:gd name="connsiteX71" fmla="*/ 3132766 w 4527226"/>
              <a:gd name="connsiteY71" fmla="*/ 2663628 h 6046908"/>
              <a:gd name="connsiteX72" fmla="*/ 3071806 w 4527226"/>
              <a:gd name="connsiteY72" fmla="*/ 2838888 h 6046908"/>
              <a:gd name="connsiteX73" fmla="*/ 3064186 w 4527226"/>
              <a:gd name="connsiteY73" fmla="*/ 2915088 h 6046908"/>
              <a:gd name="connsiteX74" fmla="*/ 3018466 w 4527226"/>
              <a:gd name="connsiteY74" fmla="*/ 3014148 h 6046908"/>
              <a:gd name="connsiteX75" fmla="*/ 2980366 w 4527226"/>
              <a:gd name="connsiteY75" fmla="*/ 3082728 h 6046908"/>
              <a:gd name="connsiteX76" fmla="*/ 2957506 w 4527226"/>
              <a:gd name="connsiteY76" fmla="*/ 3120828 h 6046908"/>
              <a:gd name="connsiteX77" fmla="*/ 2957506 w 4527226"/>
              <a:gd name="connsiteY77" fmla="*/ 3555168 h 6046908"/>
              <a:gd name="connsiteX78" fmla="*/ 3010846 w 4527226"/>
              <a:gd name="connsiteY78" fmla="*/ 3539928 h 6046908"/>
              <a:gd name="connsiteX79" fmla="*/ 3109906 w 4527226"/>
              <a:gd name="connsiteY79" fmla="*/ 3570408 h 6046908"/>
              <a:gd name="connsiteX80" fmla="*/ 3140386 w 4527226"/>
              <a:gd name="connsiteY80" fmla="*/ 3631368 h 6046908"/>
              <a:gd name="connsiteX81" fmla="*/ 3117526 w 4527226"/>
              <a:gd name="connsiteY81" fmla="*/ 3738048 h 6046908"/>
              <a:gd name="connsiteX82" fmla="*/ 3125146 w 4527226"/>
              <a:gd name="connsiteY82" fmla="*/ 4103808 h 6046908"/>
              <a:gd name="connsiteX83" fmla="*/ 3163246 w 4527226"/>
              <a:gd name="connsiteY83" fmla="*/ 4157148 h 6046908"/>
              <a:gd name="connsiteX84" fmla="*/ 3201346 w 4527226"/>
              <a:gd name="connsiteY84" fmla="*/ 4164768 h 6046908"/>
              <a:gd name="connsiteX85" fmla="*/ 3231826 w 4527226"/>
              <a:gd name="connsiteY85" fmla="*/ 4172388 h 6046908"/>
              <a:gd name="connsiteX86" fmla="*/ 3285166 w 4527226"/>
              <a:gd name="connsiteY86" fmla="*/ 4294308 h 6046908"/>
              <a:gd name="connsiteX87" fmla="*/ 3300406 w 4527226"/>
              <a:gd name="connsiteY87" fmla="*/ 4347648 h 6046908"/>
              <a:gd name="connsiteX88" fmla="*/ 3330886 w 4527226"/>
              <a:gd name="connsiteY88" fmla="*/ 4408608 h 6046908"/>
              <a:gd name="connsiteX89" fmla="*/ 3551866 w 4527226"/>
              <a:gd name="connsiteY89" fmla="*/ 4644828 h 6046908"/>
              <a:gd name="connsiteX90" fmla="*/ 3887146 w 4527226"/>
              <a:gd name="connsiteY90" fmla="*/ 5025828 h 6046908"/>
              <a:gd name="connsiteX91" fmla="*/ 4100506 w 4527226"/>
              <a:gd name="connsiteY91" fmla="*/ 5300148 h 6046908"/>
              <a:gd name="connsiteX92" fmla="*/ 4367206 w 4527226"/>
              <a:gd name="connsiteY92" fmla="*/ 5726868 h 6046908"/>
              <a:gd name="connsiteX93" fmla="*/ 4527226 w 4527226"/>
              <a:gd name="connsiteY93" fmla="*/ 6046908 h 6046908"/>
              <a:gd name="connsiteX0" fmla="*/ 701986 w 4527226"/>
              <a:gd name="connsiteY0" fmla="*/ 5002968 h 6046908"/>
              <a:gd name="connsiteX1" fmla="*/ 968686 w 4527226"/>
              <a:gd name="connsiteY1" fmla="*/ 4682928 h 6046908"/>
              <a:gd name="connsiteX2" fmla="*/ 961066 w 4527226"/>
              <a:gd name="connsiteY2" fmla="*/ 4644828 h 6046908"/>
              <a:gd name="connsiteX3" fmla="*/ 1342066 w 4527226"/>
              <a:gd name="connsiteY3" fmla="*/ 4172388 h 6046908"/>
              <a:gd name="connsiteX4" fmla="*/ 1258246 w 4527226"/>
              <a:gd name="connsiteY4" fmla="*/ 4012368 h 6046908"/>
              <a:gd name="connsiteX5" fmla="*/ 1204906 w 4527226"/>
              <a:gd name="connsiteY5" fmla="*/ 3928548 h 6046908"/>
              <a:gd name="connsiteX6" fmla="*/ 1174426 w 4527226"/>
              <a:gd name="connsiteY6" fmla="*/ 3768528 h 6046908"/>
              <a:gd name="connsiteX7" fmla="*/ 1151566 w 4527226"/>
              <a:gd name="connsiteY7" fmla="*/ 3699948 h 6046908"/>
              <a:gd name="connsiteX8" fmla="*/ 1143946 w 4527226"/>
              <a:gd name="connsiteY8" fmla="*/ 3669468 h 6046908"/>
              <a:gd name="connsiteX9" fmla="*/ 1067746 w 4527226"/>
              <a:gd name="connsiteY9" fmla="*/ 3661848 h 6046908"/>
              <a:gd name="connsiteX10" fmla="*/ 938206 w 4527226"/>
              <a:gd name="connsiteY10" fmla="*/ 3669468 h 6046908"/>
              <a:gd name="connsiteX11" fmla="*/ 831526 w 4527226"/>
              <a:gd name="connsiteY11" fmla="*/ 3692328 h 6046908"/>
              <a:gd name="connsiteX12" fmla="*/ 610546 w 4527226"/>
              <a:gd name="connsiteY12" fmla="*/ 3738048 h 6046908"/>
              <a:gd name="connsiteX13" fmla="*/ 389566 w 4527226"/>
              <a:gd name="connsiteY13" fmla="*/ 3638988 h 6046908"/>
              <a:gd name="connsiteX14" fmla="*/ 381946 w 4527226"/>
              <a:gd name="connsiteY14" fmla="*/ 3326568 h 6046908"/>
              <a:gd name="connsiteX15" fmla="*/ 420046 w 4527226"/>
              <a:gd name="connsiteY15" fmla="*/ 3227508 h 6046908"/>
              <a:gd name="connsiteX16" fmla="*/ 389566 w 4527226"/>
              <a:gd name="connsiteY16" fmla="*/ 3166548 h 6046908"/>
              <a:gd name="connsiteX17" fmla="*/ 351466 w 4527226"/>
              <a:gd name="connsiteY17" fmla="*/ 3105588 h 6046908"/>
              <a:gd name="connsiteX18" fmla="*/ 397186 w 4527226"/>
              <a:gd name="connsiteY18" fmla="*/ 3021768 h 6046908"/>
              <a:gd name="connsiteX19" fmla="*/ 488626 w 4527226"/>
              <a:gd name="connsiteY19" fmla="*/ 2998908 h 6046908"/>
              <a:gd name="connsiteX20" fmla="*/ 471956 w 4527226"/>
              <a:gd name="connsiteY20" fmla="*/ 2942709 h 6046908"/>
              <a:gd name="connsiteX21" fmla="*/ 435286 w 4527226"/>
              <a:gd name="connsiteY21" fmla="*/ 2930328 h 6046908"/>
              <a:gd name="connsiteX22" fmla="*/ 389566 w 4527226"/>
              <a:gd name="connsiteY22" fmla="*/ 2930328 h 6046908"/>
              <a:gd name="connsiteX23" fmla="*/ 314000 w 4527226"/>
              <a:gd name="connsiteY23" fmla="*/ 2893495 h 6046908"/>
              <a:gd name="connsiteX24" fmla="*/ 320986 w 4527226"/>
              <a:gd name="connsiteY24" fmla="*/ 2846508 h 6046908"/>
              <a:gd name="connsiteX25" fmla="*/ 328606 w 4527226"/>
              <a:gd name="connsiteY25" fmla="*/ 2793168 h 6046908"/>
              <a:gd name="connsiteX26" fmla="*/ 313366 w 4527226"/>
              <a:gd name="connsiteY26" fmla="*/ 2732208 h 6046908"/>
              <a:gd name="connsiteX27" fmla="*/ 267646 w 4527226"/>
              <a:gd name="connsiteY27" fmla="*/ 2671248 h 6046908"/>
              <a:gd name="connsiteX28" fmla="*/ 176206 w 4527226"/>
              <a:gd name="connsiteY28" fmla="*/ 2656008 h 6046908"/>
              <a:gd name="connsiteX29" fmla="*/ 54286 w 4527226"/>
              <a:gd name="connsiteY29" fmla="*/ 2610288 h 6046908"/>
              <a:gd name="connsiteX30" fmla="*/ 7931 w 4527226"/>
              <a:gd name="connsiteY30" fmla="*/ 2563298 h 6046908"/>
              <a:gd name="connsiteX31" fmla="*/ 8566 w 4527226"/>
              <a:gd name="connsiteY31" fmla="*/ 2488368 h 6046908"/>
              <a:gd name="connsiteX32" fmla="*/ 92386 w 4527226"/>
              <a:gd name="connsiteY32" fmla="*/ 2335968 h 6046908"/>
              <a:gd name="connsiteX33" fmla="*/ 221926 w 4527226"/>
              <a:gd name="connsiteY33" fmla="*/ 2175948 h 6046908"/>
              <a:gd name="connsiteX34" fmla="*/ 282886 w 4527226"/>
              <a:gd name="connsiteY34" fmla="*/ 2084508 h 6046908"/>
              <a:gd name="connsiteX35" fmla="*/ 328606 w 4527226"/>
              <a:gd name="connsiteY35" fmla="*/ 1977828 h 6046908"/>
              <a:gd name="connsiteX36" fmla="*/ 359086 w 4527226"/>
              <a:gd name="connsiteY36" fmla="*/ 1871148 h 6046908"/>
              <a:gd name="connsiteX37" fmla="*/ 374326 w 4527226"/>
              <a:gd name="connsiteY37" fmla="*/ 1810188 h 6046908"/>
              <a:gd name="connsiteX38" fmla="*/ 343846 w 4527226"/>
              <a:gd name="connsiteY38" fmla="*/ 1756848 h 6046908"/>
              <a:gd name="connsiteX39" fmla="*/ 328606 w 4527226"/>
              <a:gd name="connsiteY39" fmla="*/ 1680648 h 6046908"/>
              <a:gd name="connsiteX40" fmla="*/ 412426 w 4527226"/>
              <a:gd name="connsiteY40" fmla="*/ 1474908 h 6046908"/>
              <a:gd name="connsiteX41" fmla="*/ 442906 w 4527226"/>
              <a:gd name="connsiteY41" fmla="*/ 1307268 h 6046908"/>
              <a:gd name="connsiteX42" fmla="*/ 465766 w 4527226"/>
              <a:gd name="connsiteY42" fmla="*/ 1192968 h 6046908"/>
              <a:gd name="connsiteX43" fmla="*/ 503866 w 4527226"/>
              <a:gd name="connsiteY43" fmla="*/ 1055808 h 6046908"/>
              <a:gd name="connsiteX44" fmla="*/ 557206 w 4527226"/>
              <a:gd name="connsiteY44" fmla="*/ 888168 h 6046908"/>
              <a:gd name="connsiteX45" fmla="*/ 503866 w 4527226"/>
              <a:gd name="connsiteY45" fmla="*/ 888168 h 6046908"/>
              <a:gd name="connsiteX46" fmla="*/ 412426 w 4527226"/>
              <a:gd name="connsiteY46" fmla="*/ 834828 h 6046908"/>
              <a:gd name="connsiteX47" fmla="*/ 328606 w 4527226"/>
              <a:gd name="connsiteY47" fmla="*/ 789108 h 6046908"/>
              <a:gd name="connsiteX48" fmla="*/ 260026 w 4527226"/>
              <a:gd name="connsiteY48" fmla="*/ 773868 h 6046908"/>
              <a:gd name="connsiteX49" fmla="*/ 214306 w 4527226"/>
              <a:gd name="connsiteY49" fmla="*/ 751008 h 6046908"/>
              <a:gd name="connsiteX50" fmla="*/ 260026 w 4527226"/>
              <a:gd name="connsiteY50" fmla="*/ 674808 h 6046908"/>
              <a:gd name="connsiteX51" fmla="*/ 374326 w 4527226"/>
              <a:gd name="connsiteY51" fmla="*/ 606228 h 6046908"/>
              <a:gd name="connsiteX52" fmla="*/ 557206 w 4527226"/>
              <a:gd name="connsiteY52" fmla="*/ 507168 h 6046908"/>
              <a:gd name="connsiteX53" fmla="*/ 656266 w 4527226"/>
              <a:gd name="connsiteY53" fmla="*/ 423348 h 6046908"/>
              <a:gd name="connsiteX54" fmla="*/ 892486 w 4527226"/>
              <a:gd name="connsiteY54" fmla="*/ 232848 h 6046908"/>
              <a:gd name="connsiteX55" fmla="*/ 1174426 w 4527226"/>
              <a:gd name="connsiteY55" fmla="*/ 80448 h 6046908"/>
              <a:gd name="connsiteX56" fmla="*/ 1593526 w 4527226"/>
              <a:gd name="connsiteY56" fmla="*/ 11868 h 6046908"/>
              <a:gd name="connsiteX57" fmla="*/ 1944046 w 4527226"/>
              <a:gd name="connsiteY57" fmla="*/ 4248 h 6046908"/>
              <a:gd name="connsiteX58" fmla="*/ 2172646 w 4527226"/>
              <a:gd name="connsiteY58" fmla="*/ 4248 h 6046908"/>
              <a:gd name="connsiteX59" fmla="*/ 2393626 w 4527226"/>
              <a:gd name="connsiteY59" fmla="*/ 57588 h 6046908"/>
              <a:gd name="connsiteX60" fmla="*/ 2667946 w 4527226"/>
              <a:gd name="connsiteY60" fmla="*/ 133788 h 6046908"/>
              <a:gd name="connsiteX61" fmla="*/ 2820346 w 4527226"/>
              <a:gd name="connsiteY61" fmla="*/ 202368 h 6046908"/>
              <a:gd name="connsiteX62" fmla="*/ 3102286 w 4527226"/>
              <a:gd name="connsiteY62" fmla="*/ 400488 h 6046908"/>
              <a:gd name="connsiteX63" fmla="*/ 3285166 w 4527226"/>
              <a:gd name="connsiteY63" fmla="*/ 651948 h 6046908"/>
              <a:gd name="connsiteX64" fmla="*/ 3407086 w 4527226"/>
              <a:gd name="connsiteY64" fmla="*/ 918648 h 6046908"/>
              <a:gd name="connsiteX65" fmla="*/ 3475666 w 4527226"/>
              <a:gd name="connsiteY65" fmla="*/ 1238688 h 6046908"/>
              <a:gd name="connsiteX66" fmla="*/ 3506146 w 4527226"/>
              <a:gd name="connsiteY66" fmla="*/ 1543488 h 6046908"/>
              <a:gd name="connsiteX67" fmla="*/ 3506146 w 4527226"/>
              <a:gd name="connsiteY67" fmla="*/ 1962588 h 6046908"/>
              <a:gd name="connsiteX68" fmla="*/ 3338506 w 4527226"/>
              <a:gd name="connsiteY68" fmla="*/ 2305488 h 6046908"/>
              <a:gd name="connsiteX69" fmla="*/ 3254686 w 4527226"/>
              <a:gd name="connsiteY69" fmla="*/ 2473128 h 6046908"/>
              <a:gd name="connsiteX70" fmla="*/ 3132766 w 4527226"/>
              <a:gd name="connsiteY70" fmla="*/ 2663628 h 6046908"/>
              <a:gd name="connsiteX71" fmla="*/ 3071806 w 4527226"/>
              <a:gd name="connsiteY71" fmla="*/ 2838888 h 6046908"/>
              <a:gd name="connsiteX72" fmla="*/ 3064186 w 4527226"/>
              <a:gd name="connsiteY72" fmla="*/ 2915088 h 6046908"/>
              <a:gd name="connsiteX73" fmla="*/ 3018466 w 4527226"/>
              <a:gd name="connsiteY73" fmla="*/ 3014148 h 6046908"/>
              <a:gd name="connsiteX74" fmla="*/ 2980366 w 4527226"/>
              <a:gd name="connsiteY74" fmla="*/ 3082728 h 6046908"/>
              <a:gd name="connsiteX75" fmla="*/ 2957506 w 4527226"/>
              <a:gd name="connsiteY75" fmla="*/ 3120828 h 6046908"/>
              <a:gd name="connsiteX76" fmla="*/ 2957506 w 4527226"/>
              <a:gd name="connsiteY76" fmla="*/ 3555168 h 6046908"/>
              <a:gd name="connsiteX77" fmla="*/ 3010846 w 4527226"/>
              <a:gd name="connsiteY77" fmla="*/ 3539928 h 6046908"/>
              <a:gd name="connsiteX78" fmla="*/ 3109906 w 4527226"/>
              <a:gd name="connsiteY78" fmla="*/ 3570408 h 6046908"/>
              <a:gd name="connsiteX79" fmla="*/ 3140386 w 4527226"/>
              <a:gd name="connsiteY79" fmla="*/ 3631368 h 6046908"/>
              <a:gd name="connsiteX80" fmla="*/ 3117526 w 4527226"/>
              <a:gd name="connsiteY80" fmla="*/ 3738048 h 6046908"/>
              <a:gd name="connsiteX81" fmla="*/ 3125146 w 4527226"/>
              <a:gd name="connsiteY81" fmla="*/ 4103808 h 6046908"/>
              <a:gd name="connsiteX82" fmla="*/ 3163246 w 4527226"/>
              <a:gd name="connsiteY82" fmla="*/ 4157148 h 6046908"/>
              <a:gd name="connsiteX83" fmla="*/ 3201346 w 4527226"/>
              <a:gd name="connsiteY83" fmla="*/ 4164768 h 6046908"/>
              <a:gd name="connsiteX84" fmla="*/ 3231826 w 4527226"/>
              <a:gd name="connsiteY84" fmla="*/ 4172388 h 6046908"/>
              <a:gd name="connsiteX85" fmla="*/ 3285166 w 4527226"/>
              <a:gd name="connsiteY85" fmla="*/ 4294308 h 6046908"/>
              <a:gd name="connsiteX86" fmla="*/ 3300406 w 4527226"/>
              <a:gd name="connsiteY86" fmla="*/ 4347648 h 6046908"/>
              <a:gd name="connsiteX87" fmla="*/ 3330886 w 4527226"/>
              <a:gd name="connsiteY87" fmla="*/ 4408608 h 6046908"/>
              <a:gd name="connsiteX88" fmla="*/ 3551866 w 4527226"/>
              <a:gd name="connsiteY88" fmla="*/ 4644828 h 6046908"/>
              <a:gd name="connsiteX89" fmla="*/ 3887146 w 4527226"/>
              <a:gd name="connsiteY89" fmla="*/ 5025828 h 6046908"/>
              <a:gd name="connsiteX90" fmla="*/ 4100506 w 4527226"/>
              <a:gd name="connsiteY90" fmla="*/ 5300148 h 6046908"/>
              <a:gd name="connsiteX91" fmla="*/ 4367206 w 4527226"/>
              <a:gd name="connsiteY91" fmla="*/ 5726868 h 6046908"/>
              <a:gd name="connsiteX92" fmla="*/ 4527226 w 4527226"/>
              <a:gd name="connsiteY92" fmla="*/ 6046908 h 6046908"/>
              <a:gd name="connsiteX0" fmla="*/ 701986 w 4527226"/>
              <a:gd name="connsiteY0" fmla="*/ 5002968 h 6046908"/>
              <a:gd name="connsiteX1" fmla="*/ 961066 w 4527226"/>
              <a:gd name="connsiteY1" fmla="*/ 4644828 h 6046908"/>
              <a:gd name="connsiteX2" fmla="*/ 1342066 w 4527226"/>
              <a:gd name="connsiteY2" fmla="*/ 4172388 h 6046908"/>
              <a:gd name="connsiteX3" fmla="*/ 1258246 w 4527226"/>
              <a:gd name="connsiteY3" fmla="*/ 4012368 h 6046908"/>
              <a:gd name="connsiteX4" fmla="*/ 1204906 w 4527226"/>
              <a:gd name="connsiteY4" fmla="*/ 3928548 h 6046908"/>
              <a:gd name="connsiteX5" fmla="*/ 1174426 w 4527226"/>
              <a:gd name="connsiteY5" fmla="*/ 3768528 h 6046908"/>
              <a:gd name="connsiteX6" fmla="*/ 1151566 w 4527226"/>
              <a:gd name="connsiteY6" fmla="*/ 3699948 h 6046908"/>
              <a:gd name="connsiteX7" fmla="*/ 1143946 w 4527226"/>
              <a:gd name="connsiteY7" fmla="*/ 3669468 h 6046908"/>
              <a:gd name="connsiteX8" fmla="*/ 1067746 w 4527226"/>
              <a:gd name="connsiteY8" fmla="*/ 3661848 h 6046908"/>
              <a:gd name="connsiteX9" fmla="*/ 938206 w 4527226"/>
              <a:gd name="connsiteY9" fmla="*/ 3669468 h 6046908"/>
              <a:gd name="connsiteX10" fmla="*/ 831526 w 4527226"/>
              <a:gd name="connsiteY10" fmla="*/ 3692328 h 6046908"/>
              <a:gd name="connsiteX11" fmla="*/ 610546 w 4527226"/>
              <a:gd name="connsiteY11" fmla="*/ 3738048 h 6046908"/>
              <a:gd name="connsiteX12" fmla="*/ 389566 w 4527226"/>
              <a:gd name="connsiteY12" fmla="*/ 3638988 h 6046908"/>
              <a:gd name="connsiteX13" fmla="*/ 381946 w 4527226"/>
              <a:gd name="connsiteY13" fmla="*/ 3326568 h 6046908"/>
              <a:gd name="connsiteX14" fmla="*/ 420046 w 4527226"/>
              <a:gd name="connsiteY14" fmla="*/ 3227508 h 6046908"/>
              <a:gd name="connsiteX15" fmla="*/ 389566 w 4527226"/>
              <a:gd name="connsiteY15" fmla="*/ 3166548 h 6046908"/>
              <a:gd name="connsiteX16" fmla="*/ 351466 w 4527226"/>
              <a:gd name="connsiteY16" fmla="*/ 3105588 h 6046908"/>
              <a:gd name="connsiteX17" fmla="*/ 397186 w 4527226"/>
              <a:gd name="connsiteY17" fmla="*/ 3021768 h 6046908"/>
              <a:gd name="connsiteX18" fmla="*/ 488626 w 4527226"/>
              <a:gd name="connsiteY18" fmla="*/ 2998908 h 6046908"/>
              <a:gd name="connsiteX19" fmla="*/ 471956 w 4527226"/>
              <a:gd name="connsiteY19" fmla="*/ 2942709 h 6046908"/>
              <a:gd name="connsiteX20" fmla="*/ 435286 w 4527226"/>
              <a:gd name="connsiteY20" fmla="*/ 2930328 h 6046908"/>
              <a:gd name="connsiteX21" fmla="*/ 389566 w 4527226"/>
              <a:gd name="connsiteY21" fmla="*/ 2930328 h 6046908"/>
              <a:gd name="connsiteX22" fmla="*/ 314000 w 4527226"/>
              <a:gd name="connsiteY22" fmla="*/ 2893495 h 6046908"/>
              <a:gd name="connsiteX23" fmla="*/ 320986 w 4527226"/>
              <a:gd name="connsiteY23" fmla="*/ 2846508 h 6046908"/>
              <a:gd name="connsiteX24" fmla="*/ 328606 w 4527226"/>
              <a:gd name="connsiteY24" fmla="*/ 2793168 h 6046908"/>
              <a:gd name="connsiteX25" fmla="*/ 313366 w 4527226"/>
              <a:gd name="connsiteY25" fmla="*/ 2732208 h 6046908"/>
              <a:gd name="connsiteX26" fmla="*/ 267646 w 4527226"/>
              <a:gd name="connsiteY26" fmla="*/ 2671248 h 6046908"/>
              <a:gd name="connsiteX27" fmla="*/ 176206 w 4527226"/>
              <a:gd name="connsiteY27" fmla="*/ 2656008 h 6046908"/>
              <a:gd name="connsiteX28" fmla="*/ 54286 w 4527226"/>
              <a:gd name="connsiteY28" fmla="*/ 2610288 h 6046908"/>
              <a:gd name="connsiteX29" fmla="*/ 7931 w 4527226"/>
              <a:gd name="connsiteY29" fmla="*/ 2563298 h 6046908"/>
              <a:gd name="connsiteX30" fmla="*/ 8566 w 4527226"/>
              <a:gd name="connsiteY30" fmla="*/ 2488368 h 6046908"/>
              <a:gd name="connsiteX31" fmla="*/ 92386 w 4527226"/>
              <a:gd name="connsiteY31" fmla="*/ 2335968 h 6046908"/>
              <a:gd name="connsiteX32" fmla="*/ 221926 w 4527226"/>
              <a:gd name="connsiteY32" fmla="*/ 2175948 h 6046908"/>
              <a:gd name="connsiteX33" fmla="*/ 282886 w 4527226"/>
              <a:gd name="connsiteY33" fmla="*/ 2084508 h 6046908"/>
              <a:gd name="connsiteX34" fmla="*/ 328606 w 4527226"/>
              <a:gd name="connsiteY34" fmla="*/ 1977828 h 6046908"/>
              <a:gd name="connsiteX35" fmla="*/ 359086 w 4527226"/>
              <a:gd name="connsiteY35" fmla="*/ 1871148 h 6046908"/>
              <a:gd name="connsiteX36" fmla="*/ 374326 w 4527226"/>
              <a:gd name="connsiteY36" fmla="*/ 1810188 h 6046908"/>
              <a:gd name="connsiteX37" fmla="*/ 343846 w 4527226"/>
              <a:gd name="connsiteY37" fmla="*/ 1756848 h 6046908"/>
              <a:gd name="connsiteX38" fmla="*/ 328606 w 4527226"/>
              <a:gd name="connsiteY38" fmla="*/ 1680648 h 6046908"/>
              <a:gd name="connsiteX39" fmla="*/ 412426 w 4527226"/>
              <a:gd name="connsiteY39" fmla="*/ 1474908 h 6046908"/>
              <a:gd name="connsiteX40" fmla="*/ 442906 w 4527226"/>
              <a:gd name="connsiteY40" fmla="*/ 1307268 h 6046908"/>
              <a:gd name="connsiteX41" fmla="*/ 465766 w 4527226"/>
              <a:gd name="connsiteY41" fmla="*/ 1192968 h 6046908"/>
              <a:gd name="connsiteX42" fmla="*/ 503866 w 4527226"/>
              <a:gd name="connsiteY42" fmla="*/ 1055808 h 6046908"/>
              <a:gd name="connsiteX43" fmla="*/ 557206 w 4527226"/>
              <a:gd name="connsiteY43" fmla="*/ 888168 h 6046908"/>
              <a:gd name="connsiteX44" fmla="*/ 503866 w 4527226"/>
              <a:gd name="connsiteY44" fmla="*/ 888168 h 6046908"/>
              <a:gd name="connsiteX45" fmla="*/ 412426 w 4527226"/>
              <a:gd name="connsiteY45" fmla="*/ 834828 h 6046908"/>
              <a:gd name="connsiteX46" fmla="*/ 328606 w 4527226"/>
              <a:gd name="connsiteY46" fmla="*/ 789108 h 6046908"/>
              <a:gd name="connsiteX47" fmla="*/ 260026 w 4527226"/>
              <a:gd name="connsiteY47" fmla="*/ 773868 h 6046908"/>
              <a:gd name="connsiteX48" fmla="*/ 214306 w 4527226"/>
              <a:gd name="connsiteY48" fmla="*/ 751008 h 6046908"/>
              <a:gd name="connsiteX49" fmla="*/ 260026 w 4527226"/>
              <a:gd name="connsiteY49" fmla="*/ 674808 h 6046908"/>
              <a:gd name="connsiteX50" fmla="*/ 374326 w 4527226"/>
              <a:gd name="connsiteY50" fmla="*/ 606228 h 6046908"/>
              <a:gd name="connsiteX51" fmla="*/ 557206 w 4527226"/>
              <a:gd name="connsiteY51" fmla="*/ 507168 h 6046908"/>
              <a:gd name="connsiteX52" fmla="*/ 656266 w 4527226"/>
              <a:gd name="connsiteY52" fmla="*/ 423348 h 6046908"/>
              <a:gd name="connsiteX53" fmla="*/ 892486 w 4527226"/>
              <a:gd name="connsiteY53" fmla="*/ 232848 h 6046908"/>
              <a:gd name="connsiteX54" fmla="*/ 1174426 w 4527226"/>
              <a:gd name="connsiteY54" fmla="*/ 80448 h 6046908"/>
              <a:gd name="connsiteX55" fmla="*/ 1593526 w 4527226"/>
              <a:gd name="connsiteY55" fmla="*/ 11868 h 6046908"/>
              <a:gd name="connsiteX56" fmla="*/ 1944046 w 4527226"/>
              <a:gd name="connsiteY56" fmla="*/ 4248 h 6046908"/>
              <a:gd name="connsiteX57" fmla="*/ 2172646 w 4527226"/>
              <a:gd name="connsiteY57" fmla="*/ 4248 h 6046908"/>
              <a:gd name="connsiteX58" fmla="*/ 2393626 w 4527226"/>
              <a:gd name="connsiteY58" fmla="*/ 57588 h 6046908"/>
              <a:gd name="connsiteX59" fmla="*/ 2667946 w 4527226"/>
              <a:gd name="connsiteY59" fmla="*/ 133788 h 6046908"/>
              <a:gd name="connsiteX60" fmla="*/ 2820346 w 4527226"/>
              <a:gd name="connsiteY60" fmla="*/ 202368 h 6046908"/>
              <a:gd name="connsiteX61" fmla="*/ 3102286 w 4527226"/>
              <a:gd name="connsiteY61" fmla="*/ 400488 h 6046908"/>
              <a:gd name="connsiteX62" fmla="*/ 3285166 w 4527226"/>
              <a:gd name="connsiteY62" fmla="*/ 651948 h 6046908"/>
              <a:gd name="connsiteX63" fmla="*/ 3407086 w 4527226"/>
              <a:gd name="connsiteY63" fmla="*/ 918648 h 6046908"/>
              <a:gd name="connsiteX64" fmla="*/ 3475666 w 4527226"/>
              <a:gd name="connsiteY64" fmla="*/ 1238688 h 6046908"/>
              <a:gd name="connsiteX65" fmla="*/ 3506146 w 4527226"/>
              <a:gd name="connsiteY65" fmla="*/ 1543488 h 6046908"/>
              <a:gd name="connsiteX66" fmla="*/ 3506146 w 4527226"/>
              <a:gd name="connsiteY66" fmla="*/ 1962588 h 6046908"/>
              <a:gd name="connsiteX67" fmla="*/ 3338506 w 4527226"/>
              <a:gd name="connsiteY67" fmla="*/ 2305488 h 6046908"/>
              <a:gd name="connsiteX68" fmla="*/ 3254686 w 4527226"/>
              <a:gd name="connsiteY68" fmla="*/ 2473128 h 6046908"/>
              <a:gd name="connsiteX69" fmla="*/ 3132766 w 4527226"/>
              <a:gd name="connsiteY69" fmla="*/ 2663628 h 6046908"/>
              <a:gd name="connsiteX70" fmla="*/ 3071806 w 4527226"/>
              <a:gd name="connsiteY70" fmla="*/ 2838888 h 6046908"/>
              <a:gd name="connsiteX71" fmla="*/ 3064186 w 4527226"/>
              <a:gd name="connsiteY71" fmla="*/ 2915088 h 6046908"/>
              <a:gd name="connsiteX72" fmla="*/ 3018466 w 4527226"/>
              <a:gd name="connsiteY72" fmla="*/ 3014148 h 6046908"/>
              <a:gd name="connsiteX73" fmla="*/ 2980366 w 4527226"/>
              <a:gd name="connsiteY73" fmla="*/ 3082728 h 6046908"/>
              <a:gd name="connsiteX74" fmla="*/ 2957506 w 4527226"/>
              <a:gd name="connsiteY74" fmla="*/ 3120828 h 6046908"/>
              <a:gd name="connsiteX75" fmla="*/ 2957506 w 4527226"/>
              <a:gd name="connsiteY75" fmla="*/ 3555168 h 6046908"/>
              <a:gd name="connsiteX76" fmla="*/ 3010846 w 4527226"/>
              <a:gd name="connsiteY76" fmla="*/ 3539928 h 6046908"/>
              <a:gd name="connsiteX77" fmla="*/ 3109906 w 4527226"/>
              <a:gd name="connsiteY77" fmla="*/ 3570408 h 6046908"/>
              <a:gd name="connsiteX78" fmla="*/ 3140386 w 4527226"/>
              <a:gd name="connsiteY78" fmla="*/ 3631368 h 6046908"/>
              <a:gd name="connsiteX79" fmla="*/ 3117526 w 4527226"/>
              <a:gd name="connsiteY79" fmla="*/ 3738048 h 6046908"/>
              <a:gd name="connsiteX80" fmla="*/ 3125146 w 4527226"/>
              <a:gd name="connsiteY80" fmla="*/ 4103808 h 6046908"/>
              <a:gd name="connsiteX81" fmla="*/ 3163246 w 4527226"/>
              <a:gd name="connsiteY81" fmla="*/ 4157148 h 6046908"/>
              <a:gd name="connsiteX82" fmla="*/ 3201346 w 4527226"/>
              <a:gd name="connsiteY82" fmla="*/ 4164768 h 6046908"/>
              <a:gd name="connsiteX83" fmla="*/ 3231826 w 4527226"/>
              <a:gd name="connsiteY83" fmla="*/ 4172388 h 6046908"/>
              <a:gd name="connsiteX84" fmla="*/ 3285166 w 4527226"/>
              <a:gd name="connsiteY84" fmla="*/ 4294308 h 6046908"/>
              <a:gd name="connsiteX85" fmla="*/ 3300406 w 4527226"/>
              <a:gd name="connsiteY85" fmla="*/ 4347648 h 6046908"/>
              <a:gd name="connsiteX86" fmla="*/ 3330886 w 4527226"/>
              <a:gd name="connsiteY86" fmla="*/ 4408608 h 6046908"/>
              <a:gd name="connsiteX87" fmla="*/ 3551866 w 4527226"/>
              <a:gd name="connsiteY87" fmla="*/ 4644828 h 6046908"/>
              <a:gd name="connsiteX88" fmla="*/ 3887146 w 4527226"/>
              <a:gd name="connsiteY88" fmla="*/ 5025828 h 6046908"/>
              <a:gd name="connsiteX89" fmla="*/ 4100506 w 4527226"/>
              <a:gd name="connsiteY89" fmla="*/ 5300148 h 6046908"/>
              <a:gd name="connsiteX90" fmla="*/ 4367206 w 4527226"/>
              <a:gd name="connsiteY90" fmla="*/ 5726868 h 6046908"/>
              <a:gd name="connsiteX91" fmla="*/ 4527226 w 4527226"/>
              <a:gd name="connsiteY91" fmla="*/ 6046908 h 6046908"/>
              <a:gd name="connsiteX0" fmla="*/ 707488 w 4527226"/>
              <a:gd name="connsiteY0" fmla="*/ 5008470 h 6046908"/>
              <a:gd name="connsiteX1" fmla="*/ 961066 w 4527226"/>
              <a:gd name="connsiteY1" fmla="*/ 4644828 h 6046908"/>
              <a:gd name="connsiteX2" fmla="*/ 1342066 w 4527226"/>
              <a:gd name="connsiteY2" fmla="*/ 4172388 h 6046908"/>
              <a:gd name="connsiteX3" fmla="*/ 1258246 w 4527226"/>
              <a:gd name="connsiteY3" fmla="*/ 4012368 h 6046908"/>
              <a:gd name="connsiteX4" fmla="*/ 1204906 w 4527226"/>
              <a:gd name="connsiteY4" fmla="*/ 3928548 h 6046908"/>
              <a:gd name="connsiteX5" fmla="*/ 1174426 w 4527226"/>
              <a:gd name="connsiteY5" fmla="*/ 3768528 h 6046908"/>
              <a:gd name="connsiteX6" fmla="*/ 1151566 w 4527226"/>
              <a:gd name="connsiteY6" fmla="*/ 3699948 h 6046908"/>
              <a:gd name="connsiteX7" fmla="*/ 1143946 w 4527226"/>
              <a:gd name="connsiteY7" fmla="*/ 3669468 h 6046908"/>
              <a:gd name="connsiteX8" fmla="*/ 1067746 w 4527226"/>
              <a:gd name="connsiteY8" fmla="*/ 3661848 h 6046908"/>
              <a:gd name="connsiteX9" fmla="*/ 938206 w 4527226"/>
              <a:gd name="connsiteY9" fmla="*/ 3669468 h 6046908"/>
              <a:gd name="connsiteX10" fmla="*/ 831526 w 4527226"/>
              <a:gd name="connsiteY10" fmla="*/ 3692328 h 6046908"/>
              <a:gd name="connsiteX11" fmla="*/ 610546 w 4527226"/>
              <a:gd name="connsiteY11" fmla="*/ 3738048 h 6046908"/>
              <a:gd name="connsiteX12" fmla="*/ 389566 w 4527226"/>
              <a:gd name="connsiteY12" fmla="*/ 3638988 h 6046908"/>
              <a:gd name="connsiteX13" fmla="*/ 381946 w 4527226"/>
              <a:gd name="connsiteY13" fmla="*/ 3326568 h 6046908"/>
              <a:gd name="connsiteX14" fmla="*/ 420046 w 4527226"/>
              <a:gd name="connsiteY14" fmla="*/ 3227508 h 6046908"/>
              <a:gd name="connsiteX15" fmla="*/ 389566 w 4527226"/>
              <a:gd name="connsiteY15" fmla="*/ 3166548 h 6046908"/>
              <a:gd name="connsiteX16" fmla="*/ 351466 w 4527226"/>
              <a:gd name="connsiteY16" fmla="*/ 3105588 h 6046908"/>
              <a:gd name="connsiteX17" fmla="*/ 397186 w 4527226"/>
              <a:gd name="connsiteY17" fmla="*/ 3021768 h 6046908"/>
              <a:gd name="connsiteX18" fmla="*/ 488626 w 4527226"/>
              <a:gd name="connsiteY18" fmla="*/ 2998908 h 6046908"/>
              <a:gd name="connsiteX19" fmla="*/ 471956 w 4527226"/>
              <a:gd name="connsiteY19" fmla="*/ 2942709 h 6046908"/>
              <a:gd name="connsiteX20" fmla="*/ 435286 w 4527226"/>
              <a:gd name="connsiteY20" fmla="*/ 2930328 h 6046908"/>
              <a:gd name="connsiteX21" fmla="*/ 389566 w 4527226"/>
              <a:gd name="connsiteY21" fmla="*/ 2930328 h 6046908"/>
              <a:gd name="connsiteX22" fmla="*/ 314000 w 4527226"/>
              <a:gd name="connsiteY22" fmla="*/ 2893495 h 6046908"/>
              <a:gd name="connsiteX23" fmla="*/ 320986 w 4527226"/>
              <a:gd name="connsiteY23" fmla="*/ 2846508 h 6046908"/>
              <a:gd name="connsiteX24" fmla="*/ 328606 w 4527226"/>
              <a:gd name="connsiteY24" fmla="*/ 2793168 h 6046908"/>
              <a:gd name="connsiteX25" fmla="*/ 313366 w 4527226"/>
              <a:gd name="connsiteY25" fmla="*/ 2732208 h 6046908"/>
              <a:gd name="connsiteX26" fmla="*/ 267646 w 4527226"/>
              <a:gd name="connsiteY26" fmla="*/ 2671248 h 6046908"/>
              <a:gd name="connsiteX27" fmla="*/ 176206 w 4527226"/>
              <a:gd name="connsiteY27" fmla="*/ 2656008 h 6046908"/>
              <a:gd name="connsiteX28" fmla="*/ 54286 w 4527226"/>
              <a:gd name="connsiteY28" fmla="*/ 2610288 h 6046908"/>
              <a:gd name="connsiteX29" fmla="*/ 7931 w 4527226"/>
              <a:gd name="connsiteY29" fmla="*/ 2563298 h 6046908"/>
              <a:gd name="connsiteX30" fmla="*/ 8566 w 4527226"/>
              <a:gd name="connsiteY30" fmla="*/ 2488368 h 6046908"/>
              <a:gd name="connsiteX31" fmla="*/ 92386 w 4527226"/>
              <a:gd name="connsiteY31" fmla="*/ 2335968 h 6046908"/>
              <a:gd name="connsiteX32" fmla="*/ 221926 w 4527226"/>
              <a:gd name="connsiteY32" fmla="*/ 2175948 h 6046908"/>
              <a:gd name="connsiteX33" fmla="*/ 282886 w 4527226"/>
              <a:gd name="connsiteY33" fmla="*/ 2084508 h 6046908"/>
              <a:gd name="connsiteX34" fmla="*/ 328606 w 4527226"/>
              <a:gd name="connsiteY34" fmla="*/ 1977828 h 6046908"/>
              <a:gd name="connsiteX35" fmla="*/ 359086 w 4527226"/>
              <a:gd name="connsiteY35" fmla="*/ 1871148 h 6046908"/>
              <a:gd name="connsiteX36" fmla="*/ 374326 w 4527226"/>
              <a:gd name="connsiteY36" fmla="*/ 1810188 h 6046908"/>
              <a:gd name="connsiteX37" fmla="*/ 343846 w 4527226"/>
              <a:gd name="connsiteY37" fmla="*/ 1756848 h 6046908"/>
              <a:gd name="connsiteX38" fmla="*/ 328606 w 4527226"/>
              <a:gd name="connsiteY38" fmla="*/ 1680648 h 6046908"/>
              <a:gd name="connsiteX39" fmla="*/ 412426 w 4527226"/>
              <a:gd name="connsiteY39" fmla="*/ 1474908 h 6046908"/>
              <a:gd name="connsiteX40" fmla="*/ 442906 w 4527226"/>
              <a:gd name="connsiteY40" fmla="*/ 1307268 h 6046908"/>
              <a:gd name="connsiteX41" fmla="*/ 465766 w 4527226"/>
              <a:gd name="connsiteY41" fmla="*/ 1192968 h 6046908"/>
              <a:gd name="connsiteX42" fmla="*/ 503866 w 4527226"/>
              <a:gd name="connsiteY42" fmla="*/ 1055808 h 6046908"/>
              <a:gd name="connsiteX43" fmla="*/ 557206 w 4527226"/>
              <a:gd name="connsiteY43" fmla="*/ 888168 h 6046908"/>
              <a:gd name="connsiteX44" fmla="*/ 503866 w 4527226"/>
              <a:gd name="connsiteY44" fmla="*/ 888168 h 6046908"/>
              <a:gd name="connsiteX45" fmla="*/ 412426 w 4527226"/>
              <a:gd name="connsiteY45" fmla="*/ 834828 h 6046908"/>
              <a:gd name="connsiteX46" fmla="*/ 328606 w 4527226"/>
              <a:gd name="connsiteY46" fmla="*/ 789108 h 6046908"/>
              <a:gd name="connsiteX47" fmla="*/ 260026 w 4527226"/>
              <a:gd name="connsiteY47" fmla="*/ 773868 h 6046908"/>
              <a:gd name="connsiteX48" fmla="*/ 214306 w 4527226"/>
              <a:gd name="connsiteY48" fmla="*/ 751008 h 6046908"/>
              <a:gd name="connsiteX49" fmla="*/ 260026 w 4527226"/>
              <a:gd name="connsiteY49" fmla="*/ 674808 h 6046908"/>
              <a:gd name="connsiteX50" fmla="*/ 374326 w 4527226"/>
              <a:gd name="connsiteY50" fmla="*/ 606228 h 6046908"/>
              <a:gd name="connsiteX51" fmla="*/ 557206 w 4527226"/>
              <a:gd name="connsiteY51" fmla="*/ 507168 h 6046908"/>
              <a:gd name="connsiteX52" fmla="*/ 656266 w 4527226"/>
              <a:gd name="connsiteY52" fmla="*/ 423348 h 6046908"/>
              <a:gd name="connsiteX53" fmla="*/ 892486 w 4527226"/>
              <a:gd name="connsiteY53" fmla="*/ 232848 h 6046908"/>
              <a:gd name="connsiteX54" fmla="*/ 1174426 w 4527226"/>
              <a:gd name="connsiteY54" fmla="*/ 80448 h 6046908"/>
              <a:gd name="connsiteX55" fmla="*/ 1593526 w 4527226"/>
              <a:gd name="connsiteY55" fmla="*/ 11868 h 6046908"/>
              <a:gd name="connsiteX56" fmla="*/ 1944046 w 4527226"/>
              <a:gd name="connsiteY56" fmla="*/ 4248 h 6046908"/>
              <a:gd name="connsiteX57" fmla="*/ 2172646 w 4527226"/>
              <a:gd name="connsiteY57" fmla="*/ 4248 h 6046908"/>
              <a:gd name="connsiteX58" fmla="*/ 2393626 w 4527226"/>
              <a:gd name="connsiteY58" fmla="*/ 57588 h 6046908"/>
              <a:gd name="connsiteX59" fmla="*/ 2667946 w 4527226"/>
              <a:gd name="connsiteY59" fmla="*/ 133788 h 6046908"/>
              <a:gd name="connsiteX60" fmla="*/ 2820346 w 4527226"/>
              <a:gd name="connsiteY60" fmla="*/ 202368 h 6046908"/>
              <a:gd name="connsiteX61" fmla="*/ 3102286 w 4527226"/>
              <a:gd name="connsiteY61" fmla="*/ 400488 h 6046908"/>
              <a:gd name="connsiteX62" fmla="*/ 3285166 w 4527226"/>
              <a:gd name="connsiteY62" fmla="*/ 651948 h 6046908"/>
              <a:gd name="connsiteX63" fmla="*/ 3407086 w 4527226"/>
              <a:gd name="connsiteY63" fmla="*/ 918648 h 6046908"/>
              <a:gd name="connsiteX64" fmla="*/ 3475666 w 4527226"/>
              <a:gd name="connsiteY64" fmla="*/ 1238688 h 6046908"/>
              <a:gd name="connsiteX65" fmla="*/ 3506146 w 4527226"/>
              <a:gd name="connsiteY65" fmla="*/ 1543488 h 6046908"/>
              <a:gd name="connsiteX66" fmla="*/ 3506146 w 4527226"/>
              <a:gd name="connsiteY66" fmla="*/ 1962588 h 6046908"/>
              <a:gd name="connsiteX67" fmla="*/ 3338506 w 4527226"/>
              <a:gd name="connsiteY67" fmla="*/ 2305488 h 6046908"/>
              <a:gd name="connsiteX68" fmla="*/ 3254686 w 4527226"/>
              <a:gd name="connsiteY68" fmla="*/ 2473128 h 6046908"/>
              <a:gd name="connsiteX69" fmla="*/ 3132766 w 4527226"/>
              <a:gd name="connsiteY69" fmla="*/ 2663628 h 6046908"/>
              <a:gd name="connsiteX70" fmla="*/ 3071806 w 4527226"/>
              <a:gd name="connsiteY70" fmla="*/ 2838888 h 6046908"/>
              <a:gd name="connsiteX71" fmla="*/ 3064186 w 4527226"/>
              <a:gd name="connsiteY71" fmla="*/ 2915088 h 6046908"/>
              <a:gd name="connsiteX72" fmla="*/ 3018466 w 4527226"/>
              <a:gd name="connsiteY72" fmla="*/ 3014148 h 6046908"/>
              <a:gd name="connsiteX73" fmla="*/ 2980366 w 4527226"/>
              <a:gd name="connsiteY73" fmla="*/ 3082728 h 6046908"/>
              <a:gd name="connsiteX74" fmla="*/ 2957506 w 4527226"/>
              <a:gd name="connsiteY74" fmla="*/ 3120828 h 6046908"/>
              <a:gd name="connsiteX75" fmla="*/ 2957506 w 4527226"/>
              <a:gd name="connsiteY75" fmla="*/ 3555168 h 6046908"/>
              <a:gd name="connsiteX76" fmla="*/ 3010846 w 4527226"/>
              <a:gd name="connsiteY76" fmla="*/ 3539928 h 6046908"/>
              <a:gd name="connsiteX77" fmla="*/ 3109906 w 4527226"/>
              <a:gd name="connsiteY77" fmla="*/ 3570408 h 6046908"/>
              <a:gd name="connsiteX78" fmla="*/ 3140386 w 4527226"/>
              <a:gd name="connsiteY78" fmla="*/ 3631368 h 6046908"/>
              <a:gd name="connsiteX79" fmla="*/ 3117526 w 4527226"/>
              <a:gd name="connsiteY79" fmla="*/ 3738048 h 6046908"/>
              <a:gd name="connsiteX80" fmla="*/ 3125146 w 4527226"/>
              <a:gd name="connsiteY80" fmla="*/ 4103808 h 6046908"/>
              <a:gd name="connsiteX81" fmla="*/ 3163246 w 4527226"/>
              <a:gd name="connsiteY81" fmla="*/ 4157148 h 6046908"/>
              <a:gd name="connsiteX82" fmla="*/ 3201346 w 4527226"/>
              <a:gd name="connsiteY82" fmla="*/ 4164768 h 6046908"/>
              <a:gd name="connsiteX83" fmla="*/ 3231826 w 4527226"/>
              <a:gd name="connsiteY83" fmla="*/ 4172388 h 6046908"/>
              <a:gd name="connsiteX84" fmla="*/ 3285166 w 4527226"/>
              <a:gd name="connsiteY84" fmla="*/ 4294308 h 6046908"/>
              <a:gd name="connsiteX85" fmla="*/ 3300406 w 4527226"/>
              <a:gd name="connsiteY85" fmla="*/ 4347648 h 6046908"/>
              <a:gd name="connsiteX86" fmla="*/ 3330886 w 4527226"/>
              <a:gd name="connsiteY86" fmla="*/ 4408608 h 6046908"/>
              <a:gd name="connsiteX87" fmla="*/ 3551866 w 4527226"/>
              <a:gd name="connsiteY87" fmla="*/ 4644828 h 6046908"/>
              <a:gd name="connsiteX88" fmla="*/ 3887146 w 4527226"/>
              <a:gd name="connsiteY88" fmla="*/ 5025828 h 6046908"/>
              <a:gd name="connsiteX89" fmla="*/ 4100506 w 4527226"/>
              <a:gd name="connsiteY89" fmla="*/ 5300148 h 6046908"/>
              <a:gd name="connsiteX90" fmla="*/ 4367206 w 4527226"/>
              <a:gd name="connsiteY90" fmla="*/ 5726868 h 6046908"/>
              <a:gd name="connsiteX91" fmla="*/ 4527226 w 4527226"/>
              <a:gd name="connsiteY91" fmla="*/ 6046908 h 6046908"/>
              <a:gd name="connsiteX0" fmla="*/ 707488 w 4367206"/>
              <a:gd name="connsiteY0" fmla="*/ 5008470 h 5726868"/>
              <a:gd name="connsiteX1" fmla="*/ 961066 w 4367206"/>
              <a:gd name="connsiteY1" fmla="*/ 4644828 h 5726868"/>
              <a:gd name="connsiteX2" fmla="*/ 1342066 w 4367206"/>
              <a:gd name="connsiteY2" fmla="*/ 4172388 h 5726868"/>
              <a:gd name="connsiteX3" fmla="*/ 1258246 w 4367206"/>
              <a:gd name="connsiteY3" fmla="*/ 4012368 h 5726868"/>
              <a:gd name="connsiteX4" fmla="*/ 1204906 w 4367206"/>
              <a:gd name="connsiteY4" fmla="*/ 3928548 h 5726868"/>
              <a:gd name="connsiteX5" fmla="*/ 1174426 w 4367206"/>
              <a:gd name="connsiteY5" fmla="*/ 3768528 h 5726868"/>
              <a:gd name="connsiteX6" fmla="*/ 1151566 w 4367206"/>
              <a:gd name="connsiteY6" fmla="*/ 3699948 h 5726868"/>
              <a:gd name="connsiteX7" fmla="*/ 1143946 w 4367206"/>
              <a:gd name="connsiteY7" fmla="*/ 3669468 h 5726868"/>
              <a:gd name="connsiteX8" fmla="*/ 1067746 w 4367206"/>
              <a:gd name="connsiteY8" fmla="*/ 3661848 h 5726868"/>
              <a:gd name="connsiteX9" fmla="*/ 938206 w 4367206"/>
              <a:gd name="connsiteY9" fmla="*/ 3669468 h 5726868"/>
              <a:gd name="connsiteX10" fmla="*/ 831526 w 4367206"/>
              <a:gd name="connsiteY10" fmla="*/ 3692328 h 5726868"/>
              <a:gd name="connsiteX11" fmla="*/ 610546 w 4367206"/>
              <a:gd name="connsiteY11" fmla="*/ 3738048 h 5726868"/>
              <a:gd name="connsiteX12" fmla="*/ 389566 w 4367206"/>
              <a:gd name="connsiteY12" fmla="*/ 3638988 h 5726868"/>
              <a:gd name="connsiteX13" fmla="*/ 381946 w 4367206"/>
              <a:gd name="connsiteY13" fmla="*/ 3326568 h 5726868"/>
              <a:gd name="connsiteX14" fmla="*/ 420046 w 4367206"/>
              <a:gd name="connsiteY14" fmla="*/ 3227508 h 5726868"/>
              <a:gd name="connsiteX15" fmla="*/ 389566 w 4367206"/>
              <a:gd name="connsiteY15" fmla="*/ 3166548 h 5726868"/>
              <a:gd name="connsiteX16" fmla="*/ 351466 w 4367206"/>
              <a:gd name="connsiteY16" fmla="*/ 3105588 h 5726868"/>
              <a:gd name="connsiteX17" fmla="*/ 397186 w 4367206"/>
              <a:gd name="connsiteY17" fmla="*/ 3021768 h 5726868"/>
              <a:gd name="connsiteX18" fmla="*/ 488626 w 4367206"/>
              <a:gd name="connsiteY18" fmla="*/ 2998908 h 5726868"/>
              <a:gd name="connsiteX19" fmla="*/ 471956 w 4367206"/>
              <a:gd name="connsiteY19" fmla="*/ 2942709 h 5726868"/>
              <a:gd name="connsiteX20" fmla="*/ 435286 w 4367206"/>
              <a:gd name="connsiteY20" fmla="*/ 2930328 h 5726868"/>
              <a:gd name="connsiteX21" fmla="*/ 389566 w 4367206"/>
              <a:gd name="connsiteY21" fmla="*/ 2930328 h 5726868"/>
              <a:gd name="connsiteX22" fmla="*/ 314000 w 4367206"/>
              <a:gd name="connsiteY22" fmla="*/ 2893495 h 5726868"/>
              <a:gd name="connsiteX23" fmla="*/ 320986 w 4367206"/>
              <a:gd name="connsiteY23" fmla="*/ 2846508 h 5726868"/>
              <a:gd name="connsiteX24" fmla="*/ 328606 w 4367206"/>
              <a:gd name="connsiteY24" fmla="*/ 2793168 h 5726868"/>
              <a:gd name="connsiteX25" fmla="*/ 313366 w 4367206"/>
              <a:gd name="connsiteY25" fmla="*/ 2732208 h 5726868"/>
              <a:gd name="connsiteX26" fmla="*/ 267646 w 4367206"/>
              <a:gd name="connsiteY26" fmla="*/ 2671248 h 5726868"/>
              <a:gd name="connsiteX27" fmla="*/ 176206 w 4367206"/>
              <a:gd name="connsiteY27" fmla="*/ 2656008 h 5726868"/>
              <a:gd name="connsiteX28" fmla="*/ 54286 w 4367206"/>
              <a:gd name="connsiteY28" fmla="*/ 2610288 h 5726868"/>
              <a:gd name="connsiteX29" fmla="*/ 7931 w 4367206"/>
              <a:gd name="connsiteY29" fmla="*/ 2563298 h 5726868"/>
              <a:gd name="connsiteX30" fmla="*/ 8566 w 4367206"/>
              <a:gd name="connsiteY30" fmla="*/ 2488368 h 5726868"/>
              <a:gd name="connsiteX31" fmla="*/ 92386 w 4367206"/>
              <a:gd name="connsiteY31" fmla="*/ 2335968 h 5726868"/>
              <a:gd name="connsiteX32" fmla="*/ 221926 w 4367206"/>
              <a:gd name="connsiteY32" fmla="*/ 2175948 h 5726868"/>
              <a:gd name="connsiteX33" fmla="*/ 282886 w 4367206"/>
              <a:gd name="connsiteY33" fmla="*/ 2084508 h 5726868"/>
              <a:gd name="connsiteX34" fmla="*/ 328606 w 4367206"/>
              <a:gd name="connsiteY34" fmla="*/ 1977828 h 5726868"/>
              <a:gd name="connsiteX35" fmla="*/ 359086 w 4367206"/>
              <a:gd name="connsiteY35" fmla="*/ 1871148 h 5726868"/>
              <a:gd name="connsiteX36" fmla="*/ 374326 w 4367206"/>
              <a:gd name="connsiteY36" fmla="*/ 1810188 h 5726868"/>
              <a:gd name="connsiteX37" fmla="*/ 343846 w 4367206"/>
              <a:gd name="connsiteY37" fmla="*/ 1756848 h 5726868"/>
              <a:gd name="connsiteX38" fmla="*/ 328606 w 4367206"/>
              <a:gd name="connsiteY38" fmla="*/ 1680648 h 5726868"/>
              <a:gd name="connsiteX39" fmla="*/ 412426 w 4367206"/>
              <a:gd name="connsiteY39" fmla="*/ 1474908 h 5726868"/>
              <a:gd name="connsiteX40" fmla="*/ 442906 w 4367206"/>
              <a:gd name="connsiteY40" fmla="*/ 1307268 h 5726868"/>
              <a:gd name="connsiteX41" fmla="*/ 465766 w 4367206"/>
              <a:gd name="connsiteY41" fmla="*/ 1192968 h 5726868"/>
              <a:gd name="connsiteX42" fmla="*/ 503866 w 4367206"/>
              <a:gd name="connsiteY42" fmla="*/ 1055808 h 5726868"/>
              <a:gd name="connsiteX43" fmla="*/ 557206 w 4367206"/>
              <a:gd name="connsiteY43" fmla="*/ 888168 h 5726868"/>
              <a:gd name="connsiteX44" fmla="*/ 503866 w 4367206"/>
              <a:gd name="connsiteY44" fmla="*/ 888168 h 5726868"/>
              <a:gd name="connsiteX45" fmla="*/ 412426 w 4367206"/>
              <a:gd name="connsiteY45" fmla="*/ 834828 h 5726868"/>
              <a:gd name="connsiteX46" fmla="*/ 328606 w 4367206"/>
              <a:gd name="connsiteY46" fmla="*/ 789108 h 5726868"/>
              <a:gd name="connsiteX47" fmla="*/ 260026 w 4367206"/>
              <a:gd name="connsiteY47" fmla="*/ 773868 h 5726868"/>
              <a:gd name="connsiteX48" fmla="*/ 214306 w 4367206"/>
              <a:gd name="connsiteY48" fmla="*/ 751008 h 5726868"/>
              <a:gd name="connsiteX49" fmla="*/ 260026 w 4367206"/>
              <a:gd name="connsiteY49" fmla="*/ 674808 h 5726868"/>
              <a:gd name="connsiteX50" fmla="*/ 374326 w 4367206"/>
              <a:gd name="connsiteY50" fmla="*/ 606228 h 5726868"/>
              <a:gd name="connsiteX51" fmla="*/ 557206 w 4367206"/>
              <a:gd name="connsiteY51" fmla="*/ 507168 h 5726868"/>
              <a:gd name="connsiteX52" fmla="*/ 656266 w 4367206"/>
              <a:gd name="connsiteY52" fmla="*/ 423348 h 5726868"/>
              <a:gd name="connsiteX53" fmla="*/ 892486 w 4367206"/>
              <a:gd name="connsiteY53" fmla="*/ 232848 h 5726868"/>
              <a:gd name="connsiteX54" fmla="*/ 1174426 w 4367206"/>
              <a:gd name="connsiteY54" fmla="*/ 80448 h 5726868"/>
              <a:gd name="connsiteX55" fmla="*/ 1593526 w 4367206"/>
              <a:gd name="connsiteY55" fmla="*/ 11868 h 5726868"/>
              <a:gd name="connsiteX56" fmla="*/ 1944046 w 4367206"/>
              <a:gd name="connsiteY56" fmla="*/ 4248 h 5726868"/>
              <a:gd name="connsiteX57" fmla="*/ 2172646 w 4367206"/>
              <a:gd name="connsiteY57" fmla="*/ 4248 h 5726868"/>
              <a:gd name="connsiteX58" fmla="*/ 2393626 w 4367206"/>
              <a:gd name="connsiteY58" fmla="*/ 57588 h 5726868"/>
              <a:gd name="connsiteX59" fmla="*/ 2667946 w 4367206"/>
              <a:gd name="connsiteY59" fmla="*/ 133788 h 5726868"/>
              <a:gd name="connsiteX60" fmla="*/ 2820346 w 4367206"/>
              <a:gd name="connsiteY60" fmla="*/ 202368 h 5726868"/>
              <a:gd name="connsiteX61" fmla="*/ 3102286 w 4367206"/>
              <a:gd name="connsiteY61" fmla="*/ 400488 h 5726868"/>
              <a:gd name="connsiteX62" fmla="*/ 3285166 w 4367206"/>
              <a:gd name="connsiteY62" fmla="*/ 651948 h 5726868"/>
              <a:gd name="connsiteX63" fmla="*/ 3407086 w 4367206"/>
              <a:gd name="connsiteY63" fmla="*/ 918648 h 5726868"/>
              <a:gd name="connsiteX64" fmla="*/ 3475666 w 4367206"/>
              <a:gd name="connsiteY64" fmla="*/ 1238688 h 5726868"/>
              <a:gd name="connsiteX65" fmla="*/ 3506146 w 4367206"/>
              <a:gd name="connsiteY65" fmla="*/ 1543488 h 5726868"/>
              <a:gd name="connsiteX66" fmla="*/ 3506146 w 4367206"/>
              <a:gd name="connsiteY66" fmla="*/ 1962588 h 5726868"/>
              <a:gd name="connsiteX67" fmla="*/ 3338506 w 4367206"/>
              <a:gd name="connsiteY67" fmla="*/ 2305488 h 5726868"/>
              <a:gd name="connsiteX68" fmla="*/ 3254686 w 4367206"/>
              <a:gd name="connsiteY68" fmla="*/ 2473128 h 5726868"/>
              <a:gd name="connsiteX69" fmla="*/ 3132766 w 4367206"/>
              <a:gd name="connsiteY69" fmla="*/ 2663628 h 5726868"/>
              <a:gd name="connsiteX70" fmla="*/ 3071806 w 4367206"/>
              <a:gd name="connsiteY70" fmla="*/ 2838888 h 5726868"/>
              <a:gd name="connsiteX71" fmla="*/ 3064186 w 4367206"/>
              <a:gd name="connsiteY71" fmla="*/ 2915088 h 5726868"/>
              <a:gd name="connsiteX72" fmla="*/ 3018466 w 4367206"/>
              <a:gd name="connsiteY72" fmla="*/ 3014148 h 5726868"/>
              <a:gd name="connsiteX73" fmla="*/ 2980366 w 4367206"/>
              <a:gd name="connsiteY73" fmla="*/ 3082728 h 5726868"/>
              <a:gd name="connsiteX74" fmla="*/ 2957506 w 4367206"/>
              <a:gd name="connsiteY74" fmla="*/ 3120828 h 5726868"/>
              <a:gd name="connsiteX75" fmla="*/ 2957506 w 4367206"/>
              <a:gd name="connsiteY75" fmla="*/ 3555168 h 5726868"/>
              <a:gd name="connsiteX76" fmla="*/ 3010846 w 4367206"/>
              <a:gd name="connsiteY76" fmla="*/ 3539928 h 5726868"/>
              <a:gd name="connsiteX77" fmla="*/ 3109906 w 4367206"/>
              <a:gd name="connsiteY77" fmla="*/ 3570408 h 5726868"/>
              <a:gd name="connsiteX78" fmla="*/ 3140386 w 4367206"/>
              <a:gd name="connsiteY78" fmla="*/ 3631368 h 5726868"/>
              <a:gd name="connsiteX79" fmla="*/ 3117526 w 4367206"/>
              <a:gd name="connsiteY79" fmla="*/ 3738048 h 5726868"/>
              <a:gd name="connsiteX80" fmla="*/ 3125146 w 4367206"/>
              <a:gd name="connsiteY80" fmla="*/ 4103808 h 5726868"/>
              <a:gd name="connsiteX81" fmla="*/ 3163246 w 4367206"/>
              <a:gd name="connsiteY81" fmla="*/ 4157148 h 5726868"/>
              <a:gd name="connsiteX82" fmla="*/ 3201346 w 4367206"/>
              <a:gd name="connsiteY82" fmla="*/ 4164768 h 5726868"/>
              <a:gd name="connsiteX83" fmla="*/ 3231826 w 4367206"/>
              <a:gd name="connsiteY83" fmla="*/ 4172388 h 5726868"/>
              <a:gd name="connsiteX84" fmla="*/ 3285166 w 4367206"/>
              <a:gd name="connsiteY84" fmla="*/ 4294308 h 5726868"/>
              <a:gd name="connsiteX85" fmla="*/ 3300406 w 4367206"/>
              <a:gd name="connsiteY85" fmla="*/ 4347648 h 5726868"/>
              <a:gd name="connsiteX86" fmla="*/ 3330886 w 4367206"/>
              <a:gd name="connsiteY86" fmla="*/ 4408608 h 5726868"/>
              <a:gd name="connsiteX87" fmla="*/ 3551866 w 4367206"/>
              <a:gd name="connsiteY87" fmla="*/ 4644828 h 5726868"/>
              <a:gd name="connsiteX88" fmla="*/ 3887146 w 4367206"/>
              <a:gd name="connsiteY88" fmla="*/ 5025828 h 5726868"/>
              <a:gd name="connsiteX89" fmla="*/ 4100506 w 4367206"/>
              <a:gd name="connsiteY89" fmla="*/ 5300148 h 5726868"/>
              <a:gd name="connsiteX90" fmla="*/ 4367206 w 4367206"/>
              <a:gd name="connsiteY90" fmla="*/ 5726868 h 5726868"/>
              <a:gd name="connsiteX0" fmla="*/ 707488 w 4100506"/>
              <a:gd name="connsiteY0" fmla="*/ 5008470 h 5300148"/>
              <a:gd name="connsiteX1" fmla="*/ 961066 w 4100506"/>
              <a:gd name="connsiteY1" fmla="*/ 4644828 h 5300148"/>
              <a:gd name="connsiteX2" fmla="*/ 1342066 w 4100506"/>
              <a:gd name="connsiteY2" fmla="*/ 4172388 h 5300148"/>
              <a:gd name="connsiteX3" fmla="*/ 1258246 w 4100506"/>
              <a:gd name="connsiteY3" fmla="*/ 4012368 h 5300148"/>
              <a:gd name="connsiteX4" fmla="*/ 1204906 w 4100506"/>
              <a:gd name="connsiteY4" fmla="*/ 3928548 h 5300148"/>
              <a:gd name="connsiteX5" fmla="*/ 1174426 w 4100506"/>
              <a:gd name="connsiteY5" fmla="*/ 3768528 h 5300148"/>
              <a:gd name="connsiteX6" fmla="*/ 1151566 w 4100506"/>
              <a:gd name="connsiteY6" fmla="*/ 3699948 h 5300148"/>
              <a:gd name="connsiteX7" fmla="*/ 1143946 w 4100506"/>
              <a:gd name="connsiteY7" fmla="*/ 3669468 h 5300148"/>
              <a:gd name="connsiteX8" fmla="*/ 1067746 w 4100506"/>
              <a:gd name="connsiteY8" fmla="*/ 3661848 h 5300148"/>
              <a:gd name="connsiteX9" fmla="*/ 938206 w 4100506"/>
              <a:gd name="connsiteY9" fmla="*/ 3669468 h 5300148"/>
              <a:gd name="connsiteX10" fmla="*/ 831526 w 4100506"/>
              <a:gd name="connsiteY10" fmla="*/ 3692328 h 5300148"/>
              <a:gd name="connsiteX11" fmla="*/ 610546 w 4100506"/>
              <a:gd name="connsiteY11" fmla="*/ 3738048 h 5300148"/>
              <a:gd name="connsiteX12" fmla="*/ 389566 w 4100506"/>
              <a:gd name="connsiteY12" fmla="*/ 3638988 h 5300148"/>
              <a:gd name="connsiteX13" fmla="*/ 381946 w 4100506"/>
              <a:gd name="connsiteY13" fmla="*/ 3326568 h 5300148"/>
              <a:gd name="connsiteX14" fmla="*/ 420046 w 4100506"/>
              <a:gd name="connsiteY14" fmla="*/ 3227508 h 5300148"/>
              <a:gd name="connsiteX15" fmla="*/ 389566 w 4100506"/>
              <a:gd name="connsiteY15" fmla="*/ 3166548 h 5300148"/>
              <a:gd name="connsiteX16" fmla="*/ 351466 w 4100506"/>
              <a:gd name="connsiteY16" fmla="*/ 3105588 h 5300148"/>
              <a:gd name="connsiteX17" fmla="*/ 397186 w 4100506"/>
              <a:gd name="connsiteY17" fmla="*/ 3021768 h 5300148"/>
              <a:gd name="connsiteX18" fmla="*/ 488626 w 4100506"/>
              <a:gd name="connsiteY18" fmla="*/ 2998908 h 5300148"/>
              <a:gd name="connsiteX19" fmla="*/ 471956 w 4100506"/>
              <a:gd name="connsiteY19" fmla="*/ 2942709 h 5300148"/>
              <a:gd name="connsiteX20" fmla="*/ 435286 w 4100506"/>
              <a:gd name="connsiteY20" fmla="*/ 2930328 h 5300148"/>
              <a:gd name="connsiteX21" fmla="*/ 389566 w 4100506"/>
              <a:gd name="connsiteY21" fmla="*/ 2930328 h 5300148"/>
              <a:gd name="connsiteX22" fmla="*/ 314000 w 4100506"/>
              <a:gd name="connsiteY22" fmla="*/ 2893495 h 5300148"/>
              <a:gd name="connsiteX23" fmla="*/ 320986 w 4100506"/>
              <a:gd name="connsiteY23" fmla="*/ 2846508 h 5300148"/>
              <a:gd name="connsiteX24" fmla="*/ 328606 w 4100506"/>
              <a:gd name="connsiteY24" fmla="*/ 2793168 h 5300148"/>
              <a:gd name="connsiteX25" fmla="*/ 313366 w 4100506"/>
              <a:gd name="connsiteY25" fmla="*/ 2732208 h 5300148"/>
              <a:gd name="connsiteX26" fmla="*/ 267646 w 4100506"/>
              <a:gd name="connsiteY26" fmla="*/ 2671248 h 5300148"/>
              <a:gd name="connsiteX27" fmla="*/ 176206 w 4100506"/>
              <a:gd name="connsiteY27" fmla="*/ 2656008 h 5300148"/>
              <a:gd name="connsiteX28" fmla="*/ 54286 w 4100506"/>
              <a:gd name="connsiteY28" fmla="*/ 2610288 h 5300148"/>
              <a:gd name="connsiteX29" fmla="*/ 7931 w 4100506"/>
              <a:gd name="connsiteY29" fmla="*/ 2563298 h 5300148"/>
              <a:gd name="connsiteX30" fmla="*/ 8566 w 4100506"/>
              <a:gd name="connsiteY30" fmla="*/ 2488368 h 5300148"/>
              <a:gd name="connsiteX31" fmla="*/ 92386 w 4100506"/>
              <a:gd name="connsiteY31" fmla="*/ 2335968 h 5300148"/>
              <a:gd name="connsiteX32" fmla="*/ 221926 w 4100506"/>
              <a:gd name="connsiteY32" fmla="*/ 2175948 h 5300148"/>
              <a:gd name="connsiteX33" fmla="*/ 282886 w 4100506"/>
              <a:gd name="connsiteY33" fmla="*/ 2084508 h 5300148"/>
              <a:gd name="connsiteX34" fmla="*/ 328606 w 4100506"/>
              <a:gd name="connsiteY34" fmla="*/ 1977828 h 5300148"/>
              <a:gd name="connsiteX35" fmla="*/ 359086 w 4100506"/>
              <a:gd name="connsiteY35" fmla="*/ 1871148 h 5300148"/>
              <a:gd name="connsiteX36" fmla="*/ 374326 w 4100506"/>
              <a:gd name="connsiteY36" fmla="*/ 1810188 h 5300148"/>
              <a:gd name="connsiteX37" fmla="*/ 343846 w 4100506"/>
              <a:gd name="connsiteY37" fmla="*/ 1756848 h 5300148"/>
              <a:gd name="connsiteX38" fmla="*/ 328606 w 4100506"/>
              <a:gd name="connsiteY38" fmla="*/ 1680648 h 5300148"/>
              <a:gd name="connsiteX39" fmla="*/ 412426 w 4100506"/>
              <a:gd name="connsiteY39" fmla="*/ 1474908 h 5300148"/>
              <a:gd name="connsiteX40" fmla="*/ 442906 w 4100506"/>
              <a:gd name="connsiteY40" fmla="*/ 1307268 h 5300148"/>
              <a:gd name="connsiteX41" fmla="*/ 465766 w 4100506"/>
              <a:gd name="connsiteY41" fmla="*/ 1192968 h 5300148"/>
              <a:gd name="connsiteX42" fmla="*/ 503866 w 4100506"/>
              <a:gd name="connsiteY42" fmla="*/ 1055808 h 5300148"/>
              <a:gd name="connsiteX43" fmla="*/ 557206 w 4100506"/>
              <a:gd name="connsiteY43" fmla="*/ 888168 h 5300148"/>
              <a:gd name="connsiteX44" fmla="*/ 503866 w 4100506"/>
              <a:gd name="connsiteY44" fmla="*/ 888168 h 5300148"/>
              <a:gd name="connsiteX45" fmla="*/ 412426 w 4100506"/>
              <a:gd name="connsiteY45" fmla="*/ 834828 h 5300148"/>
              <a:gd name="connsiteX46" fmla="*/ 328606 w 4100506"/>
              <a:gd name="connsiteY46" fmla="*/ 789108 h 5300148"/>
              <a:gd name="connsiteX47" fmla="*/ 260026 w 4100506"/>
              <a:gd name="connsiteY47" fmla="*/ 773868 h 5300148"/>
              <a:gd name="connsiteX48" fmla="*/ 214306 w 4100506"/>
              <a:gd name="connsiteY48" fmla="*/ 751008 h 5300148"/>
              <a:gd name="connsiteX49" fmla="*/ 260026 w 4100506"/>
              <a:gd name="connsiteY49" fmla="*/ 674808 h 5300148"/>
              <a:gd name="connsiteX50" fmla="*/ 374326 w 4100506"/>
              <a:gd name="connsiteY50" fmla="*/ 606228 h 5300148"/>
              <a:gd name="connsiteX51" fmla="*/ 557206 w 4100506"/>
              <a:gd name="connsiteY51" fmla="*/ 507168 h 5300148"/>
              <a:gd name="connsiteX52" fmla="*/ 656266 w 4100506"/>
              <a:gd name="connsiteY52" fmla="*/ 423348 h 5300148"/>
              <a:gd name="connsiteX53" fmla="*/ 892486 w 4100506"/>
              <a:gd name="connsiteY53" fmla="*/ 232848 h 5300148"/>
              <a:gd name="connsiteX54" fmla="*/ 1174426 w 4100506"/>
              <a:gd name="connsiteY54" fmla="*/ 80448 h 5300148"/>
              <a:gd name="connsiteX55" fmla="*/ 1593526 w 4100506"/>
              <a:gd name="connsiteY55" fmla="*/ 11868 h 5300148"/>
              <a:gd name="connsiteX56" fmla="*/ 1944046 w 4100506"/>
              <a:gd name="connsiteY56" fmla="*/ 4248 h 5300148"/>
              <a:gd name="connsiteX57" fmla="*/ 2172646 w 4100506"/>
              <a:gd name="connsiteY57" fmla="*/ 4248 h 5300148"/>
              <a:gd name="connsiteX58" fmla="*/ 2393626 w 4100506"/>
              <a:gd name="connsiteY58" fmla="*/ 57588 h 5300148"/>
              <a:gd name="connsiteX59" fmla="*/ 2667946 w 4100506"/>
              <a:gd name="connsiteY59" fmla="*/ 133788 h 5300148"/>
              <a:gd name="connsiteX60" fmla="*/ 2820346 w 4100506"/>
              <a:gd name="connsiteY60" fmla="*/ 202368 h 5300148"/>
              <a:gd name="connsiteX61" fmla="*/ 3102286 w 4100506"/>
              <a:gd name="connsiteY61" fmla="*/ 400488 h 5300148"/>
              <a:gd name="connsiteX62" fmla="*/ 3285166 w 4100506"/>
              <a:gd name="connsiteY62" fmla="*/ 651948 h 5300148"/>
              <a:gd name="connsiteX63" fmla="*/ 3407086 w 4100506"/>
              <a:gd name="connsiteY63" fmla="*/ 918648 h 5300148"/>
              <a:gd name="connsiteX64" fmla="*/ 3475666 w 4100506"/>
              <a:gd name="connsiteY64" fmla="*/ 1238688 h 5300148"/>
              <a:gd name="connsiteX65" fmla="*/ 3506146 w 4100506"/>
              <a:gd name="connsiteY65" fmla="*/ 1543488 h 5300148"/>
              <a:gd name="connsiteX66" fmla="*/ 3506146 w 4100506"/>
              <a:gd name="connsiteY66" fmla="*/ 1962588 h 5300148"/>
              <a:gd name="connsiteX67" fmla="*/ 3338506 w 4100506"/>
              <a:gd name="connsiteY67" fmla="*/ 2305488 h 5300148"/>
              <a:gd name="connsiteX68" fmla="*/ 3254686 w 4100506"/>
              <a:gd name="connsiteY68" fmla="*/ 2473128 h 5300148"/>
              <a:gd name="connsiteX69" fmla="*/ 3132766 w 4100506"/>
              <a:gd name="connsiteY69" fmla="*/ 2663628 h 5300148"/>
              <a:gd name="connsiteX70" fmla="*/ 3071806 w 4100506"/>
              <a:gd name="connsiteY70" fmla="*/ 2838888 h 5300148"/>
              <a:gd name="connsiteX71" fmla="*/ 3064186 w 4100506"/>
              <a:gd name="connsiteY71" fmla="*/ 2915088 h 5300148"/>
              <a:gd name="connsiteX72" fmla="*/ 3018466 w 4100506"/>
              <a:gd name="connsiteY72" fmla="*/ 3014148 h 5300148"/>
              <a:gd name="connsiteX73" fmla="*/ 2980366 w 4100506"/>
              <a:gd name="connsiteY73" fmla="*/ 3082728 h 5300148"/>
              <a:gd name="connsiteX74" fmla="*/ 2957506 w 4100506"/>
              <a:gd name="connsiteY74" fmla="*/ 3120828 h 5300148"/>
              <a:gd name="connsiteX75" fmla="*/ 2957506 w 4100506"/>
              <a:gd name="connsiteY75" fmla="*/ 3555168 h 5300148"/>
              <a:gd name="connsiteX76" fmla="*/ 3010846 w 4100506"/>
              <a:gd name="connsiteY76" fmla="*/ 3539928 h 5300148"/>
              <a:gd name="connsiteX77" fmla="*/ 3109906 w 4100506"/>
              <a:gd name="connsiteY77" fmla="*/ 3570408 h 5300148"/>
              <a:gd name="connsiteX78" fmla="*/ 3140386 w 4100506"/>
              <a:gd name="connsiteY78" fmla="*/ 3631368 h 5300148"/>
              <a:gd name="connsiteX79" fmla="*/ 3117526 w 4100506"/>
              <a:gd name="connsiteY79" fmla="*/ 3738048 h 5300148"/>
              <a:gd name="connsiteX80" fmla="*/ 3125146 w 4100506"/>
              <a:gd name="connsiteY80" fmla="*/ 4103808 h 5300148"/>
              <a:gd name="connsiteX81" fmla="*/ 3163246 w 4100506"/>
              <a:gd name="connsiteY81" fmla="*/ 4157148 h 5300148"/>
              <a:gd name="connsiteX82" fmla="*/ 3201346 w 4100506"/>
              <a:gd name="connsiteY82" fmla="*/ 4164768 h 5300148"/>
              <a:gd name="connsiteX83" fmla="*/ 3231826 w 4100506"/>
              <a:gd name="connsiteY83" fmla="*/ 4172388 h 5300148"/>
              <a:gd name="connsiteX84" fmla="*/ 3285166 w 4100506"/>
              <a:gd name="connsiteY84" fmla="*/ 4294308 h 5300148"/>
              <a:gd name="connsiteX85" fmla="*/ 3300406 w 4100506"/>
              <a:gd name="connsiteY85" fmla="*/ 4347648 h 5300148"/>
              <a:gd name="connsiteX86" fmla="*/ 3330886 w 4100506"/>
              <a:gd name="connsiteY86" fmla="*/ 4408608 h 5300148"/>
              <a:gd name="connsiteX87" fmla="*/ 3551866 w 4100506"/>
              <a:gd name="connsiteY87" fmla="*/ 4644828 h 5300148"/>
              <a:gd name="connsiteX88" fmla="*/ 3887146 w 4100506"/>
              <a:gd name="connsiteY88" fmla="*/ 5025828 h 5300148"/>
              <a:gd name="connsiteX89" fmla="*/ 4100506 w 4100506"/>
              <a:gd name="connsiteY89" fmla="*/ 5300148 h 5300148"/>
              <a:gd name="connsiteX0" fmla="*/ 707488 w 3887146"/>
              <a:gd name="connsiteY0" fmla="*/ 5008470 h 5025828"/>
              <a:gd name="connsiteX1" fmla="*/ 961066 w 3887146"/>
              <a:gd name="connsiteY1" fmla="*/ 4644828 h 5025828"/>
              <a:gd name="connsiteX2" fmla="*/ 1342066 w 3887146"/>
              <a:gd name="connsiteY2" fmla="*/ 4172388 h 5025828"/>
              <a:gd name="connsiteX3" fmla="*/ 1258246 w 3887146"/>
              <a:gd name="connsiteY3" fmla="*/ 4012368 h 5025828"/>
              <a:gd name="connsiteX4" fmla="*/ 1204906 w 3887146"/>
              <a:gd name="connsiteY4" fmla="*/ 3928548 h 5025828"/>
              <a:gd name="connsiteX5" fmla="*/ 1174426 w 3887146"/>
              <a:gd name="connsiteY5" fmla="*/ 3768528 h 5025828"/>
              <a:gd name="connsiteX6" fmla="*/ 1151566 w 3887146"/>
              <a:gd name="connsiteY6" fmla="*/ 3699948 h 5025828"/>
              <a:gd name="connsiteX7" fmla="*/ 1143946 w 3887146"/>
              <a:gd name="connsiteY7" fmla="*/ 3669468 h 5025828"/>
              <a:gd name="connsiteX8" fmla="*/ 1067746 w 3887146"/>
              <a:gd name="connsiteY8" fmla="*/ 3661848 h 5025828"/>
              <a:gd name="connsiteX9" fmla="*/ 938206 w 3887146"/>
              <a:gd name="connsiteY9" fmla="*/ 3669468 h 5025828"/>
              <a:gd name="connsiteX10" fmla="*/ 831526 w 3887146"/>
              <a:gd name="connsiteY10" fmla="*/ 3692328 h 5025828"/>
              <a:gd name="connsiteX11" fmla="*/ 610546 w 3887146"/>
              <a:gd name="connsiteY11" fmla="*/ 3738048 h 5025828"/>
              <a:gd name="connsiteX12" fmla="*/ 389566 w 3887146"/>
              <a:gd name="connsiteY12" fmla="*/ 3638988 h 5025828"/>
              <a:gd name="connsiteX13" fmla="*/ 381946 w 3887146"/>
              <a:gd name="connsiteY13" fmla="*/ 3326568 h 5025828"/>
              <a:gd name="connsiteX14" fmla="*/ 420046 w 3887146"/>
              <a:gd name="connsiteY14" fmla="*/ 3227508 h 5025828"/>
              <a:gd name="connsiteX15" fmla="*/ 389566 w 3887146"/>
              <a:gd name="connsiteY15" fmla="*/ 3166548 h 5025828"/>
              <a:gd name="connsiteX16" fmla="*/ 351466 w 3887146"/>
              <a:gd name="connsiteY16" fmla="*/ 3105588 h 5025828"/>
              <a:gd name="connsiteX17" fmla="*/ 397186 w 3887146"/>
              <a:gd name="connsiteY17" fmla="*/ 3021768 h 5025828"/>
              <a:gd name="connsiteX18" fmla="*/ 488626 w 3887146"/>
              <a:gd name="connsiteY18" fmla="*/ 2998908 h 5025828"/>
              <a:gd name="connsiteX19" fmla="*/ 471956 w 3887146"/>
              <a:gd name="connsiteY19" fmla="*/ 2942709 h 5025828"/>
              <a:gd name="connsiteX20" fmla="*/ 435286 w 3887146"/>
              <a:gd name="connsiteY20" fmla="*/ 2930328 h 5025828"/>
              <a:gd name="connsiteX21" fmla="*/ 389566 w 3887146"/>
              <a:gd name="connsiteY21" fmla="*/ 2930328 h 5025828"/>
              <a:gd name="connsiteX22" fmla="*/ 314000 w 3887146"/>
              <a:gd name="connsiteY22" fmla="*/ 2893495 h 5025828"/>
              <a:gd name="connsiteX23" fmla="*/ 320986 w 3887146"/>
              <a:gd name="connsiteY23" fmla="*/ 2846508 h 5025828"/>
              <a:gd name="connsiteX24" fmla="*/ 328606 w 3887146"/>
              <a:gd name="connsiteY24" fmla="*/ 2793168 h 5025828"/>
              <a:gd name="connsiteX25" fmla="*/ 313366 w 3887146"/>
              <a:gd name="connsiteY25" fmla="*/ 2732208 h 5025828"/>
              <a:gd name="connsiteX26" fmla="*/ 267646 w 3887146"/>
              <a:gd name="connsiteY26" fmla="*/ 2671248 h 5025828"/>
              <a:gd name="connsiteX27" fmla="*/ 176206 w 3887146"/>
              <a:gd name="connsiteY27" fmla="*/ 2656008 h 5025828"/>
              <a:gd name="connsiteX28" fmla="*/ 54286 w 3887146"/>
              <a:gd name="connsiteY28" fmla="*/ 2610288 h 5025828"/>
              <a:gd name="connsiteX29" fmla="*/ 7931 w 3887146"/>
              <a:gd name="connsiteY29" fmla="*/ 2563298 h 5025828"/>
              <a:gd name="connsiteX30" fmla="*/ 8566 w 3887146"/>
              <a:gd name="connsiteY30" fmla="*/ 2488368 h 5025828"/>
              <a:gd name="connsiteX31" fmla="*/ 92386 w 3887146"/>
              <a:gd name="connsiteY31" fmla="*/ 2335968 h 5025828"/>
              <a:gd name="connsiteX32" fmla="*/ 221926 w 3887146"/>
              <a:gd name="connsiteY32" fmla="*/ 2175948 h 5025828"/>
              <a:gd name="connsiteX33" fmla="*/ 282886 w 3887146"/>
              <a:gd name="connsiteY33" fmla="*/ 2084508 h 5025828"/>
              <a:gd name="connsiteX34" fmla="*/ 328606 w 3887146"/>
              <a:gd name="connsiteY34" fmla="*/ 1977828 h 5025828"/>
              <a:gd name="connsiteX35" fmla="*/ 359086 w 3887146"/>
              <a:gd name="connsiteY35" fmla="*/ 1871148 h 5025828"/>
              <a:gd name="connsiteX36" fmla="*/ 374326 w 3887146"/>
              <a:gd name="connsiteY36" fmla="*/ 1810188 h 5025828"/>
              <a:gd name="connsiteX37" fmla="*/ 343846 w 3887146"/>
              <a:gd name="connsiteY37" fmla="*/ 1756848 h 5025828"/>
              <a:gd name="connsiteX38" fmla="*/ 328606 w 3887146"/>
              <a:gd name="connsiteY38" fmla="*/ 1680648 h 5025828"/>
              <a:gd name="connsiteX39" fmla="*/ 412426 w 3887146"/>
              <a:gd name="connsiteY39" fmla="*/ 1474908 h 5025828"/>
              <a:gd name="connsiteX40" fmla="*/ 442906 w 3887146"/>
              <a:gd name="connsiteY40" fmla="*/ 1307268 h 5025828"/>
              <a:gd name="connsiteX41" fmla="*/ 465766 w 3887146"/>
              <a:gd name="connsiteY41" fmla="*/ 1192968 h 5025828"/>
              <a:gd name="connsiteX42" fmla="*/ 503866 w 3887146"/>
              <a:gd name="connsiteY42" fmla="*/ 1055808 h 5025828"/>
              <a:gd name="connsiteX43" fmla="*/ 557206 w 3887146"/>
              <a:gd name="connsiteY43" fmla="*/ 888168 h 5025828"/>
              <a:gd name="connsiteX44" fmla="*/ 503866 w 3887146"/>
              <a:gd name="connsiteY44" fmla="*/ 888168 h 5025828"/>
              <a:gd name="connsiteX45" fmla="*/ 412426 w 3887146"/>
              <a:gd name="connsiteY45" fmla="*/ 834828 h 5025828"/>
              <a:gd name="connsiteX46" fmla="*/ 328606 w 3887146"/>
              <a:gd name="connsiteY46" fmla="*/ 789108 h 5025828"/>
              <a:gd name="connsiteX47" fmla="*/ 260026 w 3887146"/>
              <a:gd name="connsiteY47" fmla="*/ 773868 h 5025828"/>
              <a:gd name="connsiteX48" fmla="*/ 214306 w 3887146"/>
              <a:gd name="connsiteY48" fmla="*/ 751008 h 5025828"/>
              <a:gd name="connsiteX49" fmla="*/ 260026 w 3887146"/>
              <a:gd name="connsiteY49" fmla="*/ 674808 h 5025828"/>
              <a:gd name="connsiteX50" fmla="*/ 374326 w 3887146"/>
              <a:gd name="connsiteY50" fmla="*/ 606228 h 5025828"/>
              <a:gd name="connsiteX51" fmla="*/ 557206 w 3887146"/>
              <a:gd name="connsiteY51" fmla="*/ 507168 h 5025828"/>
              <a:gd name="connsiteX52" fmla="*/ 656266 w 3887146"/>
              <a:gd name="connsiteY52" fmla="*/ 423348 h 5025828"/>
              <a:gd name="connsiteX53" fmla="*/ 892486 w 3887146"/>
              <a:gd name="connsiteY53" fmla="*/ 232848 h 5025828"/>
              <a:gd name="connsiteX54" fmla="*/ 1174426 w 3887146"/>
              <a:gd name="connsiteY54" fmla="*/ 80448 h 5025828"/>
              <a:gd name="connsiteX55" fmla="*/ 1593526 w 3887146"/>
              <a:gd name="connsiteY55" fmla="*/ 11868 h 5025828"/>
              <a:gd name="connsiteX56" fmla="*/ 1944046 w 3887146"/>
              <a:gd name="connsiteY56" fmla="*/ 4248 h 5025828"/>
              <a:gd name="connsiteX57" fmla="*/ 2172646 w 3887146"/>
              <a:gd name="connsiteY57" fmla="*/ 4248 h 5025828"/>
              <a:gd name="connsiteX58" fmla="*/ 2393626 w 3887146"/>
              <a:gd name="connsiteY58" fmla="*/ 57588 h 5025828"/>
              <a:gd name="connsiteX59" fmla="*/ 2667946 w 3887146"/>
              <a:gd name="connsiteY59" fmla="*/ 133788 h 5025828"/>
              <a:gd name="connsiteX60" fmla="*/ 2820346 w 3887146"/>
              <a:gd name="connsiteY60" fmla="*/ 202368 h 5025828"/>
              <a:gd name="connsiteX61" fmla="*/ 3102286 w 3887146"/>
              <a:gd name="connsiteY61" fmla="*/ 400488 h 5025828"/>
              <a:gd name="connsiteX62" fmla="*/ 3285166 w 3887146"/>
              <a:gd name="connsiteY62" fmla="*/ 651948 h 5025828"/>
              <a:gd name="connsiteX63" fmla="*/ 3407086 w 3887146"/>
              <a:gd name="connsiteY63" fmla="*/ 918648 h 5025828"/>
              <a:gd name="connsiteX64" fmla="*/ 3475666 w 3887146"/>
              <a:gd name="connsiteY64" fmla="*/ 1238688 h 5025828"/>
              <a:gd name="connsiteX65" fmla="*/ 3506146 w 3887146"/>
              <a:gd name="connsiteY65" fmla="*/ 1543488 h 5025828"/>
              <a:gd name="connsiteX66" fmla="*/ 3506146 w 3887146"/>
              <a:gd name="connsiteY66" fmla="*/ 1962588 h 5025828"/>
              <a:gd name="connsiteX67" fmla="*/ 3338506 w 3887146"/>
              <a:gd name="connsiteY67" fmla="*/ 2305488 h 5025828"/>
              <a:gd name="connsiteX68" fmla="*/ 3254686 w 3887146"/>
              <a:gd name="connsiteY68" fmla="*/ 2473128 h 5025828"/>
              <a:gd name="connsiteX69" fmla="*/ 3132766 w 3887146"/>
              <a:gd name="connsiteY69" fmla="*/ 2663628 h 5025828"/>
              <a:gd name="connsiteX70" fmla="*/ 3071806 w 3887146"/>
              <a:gd name="connsiteY70" fmla="*/ 2838888 h 5025828"/>
              <a:gd name="connsiteX71" fmla="*/ 3064186 w 3887146"/>
              <a:gd name="connsiteY71" fmla="*/ 2915088 h 5025828"/>
              <a:gd name="connsiteX72" fmla="*/ 3018466 w 3887146"/>
              <a:gd name="connsiteY72" fmla="*/ 3014148 h 5025828"/>
              <a:gd name="connsiteX73" fmla="*/ 2980366 w 3887146"/>
              <a:gd name="connsiteY73" fmla="*/ 3082728 h 5025828"/>
              <a:gd name="connsiteX74" fmla="*/ 2957506 w 3887146"/>
              <a:gd name="connsiteY74" fmla="*/ 3120828 h 5025828"/>
              <a:gd name="connsiteX75" fmla="*/ 2957506 w 3887146"/>
              <a:gd name="connsiteY75" fmla="*/ 3555168 h 5025828"/>
              <a:gd name="connsiteX76" fmla="*/ 3010846 w 3887146"/>
              <a:gd name="connsiteY76" fmla="*/ 3539928 h 5025828"/>
              <a:gd name="connsiteX77" fmla="*/ 3109906 w 3887146"/>
              <a:gd name="connsiteY77" fmla="*/ 3570408 h 5025828"/>
              <a:gd name="connsiteX78" fmla="*/ 3140386 w 3887146"/>
              <a:gd name="connsiteY78" fmla="*/ 3631368 h 5025828"/>
              <a:gd name="connsiteX79" fmla="*/ 3117526 w 3887146"/>
              <a:gd name="connsiteY79" fmla="*/ 3738048 h 5025828"/>
              <a:gd name="connsiteX80" fmla="*/ 3125146 w 3887146"/>
              <a:gd name="connsiteY80" fmla="*/ 4103808 h 5025828"/>
              <a:gd name="connsiteX81" fmla="*/ 3163246 w 3887146"/>
              <a:gd name="connsiteY81" fmla="*/ 4157148 h 5025828"/>
              <a:gd name="connsiteX82" fmla="*/ 3201346 w 3887146"/>
              <a:gd name="connsiteY82" fmla="*/ 4164768 h 5025828"/>
              <a:gd name="connsiteX83" fmla="*/ 3231826 w 3887146"/>
              <a:gd name="connsiteY83" fmla="*/ 4172388 h 5025828"/>
              <a:gd name="connsiteX84" fmla="*/ 3285166 w 3887146"/>
              <a:gd name="connsiteY84" fmla="*/ 4294308 h 5025828"/>
              <a:gd name="connsiteX85" fmla="*/ 3300406 w 3887146"/>
              <a:gd name="connsiteY85" fmla="*/ 4347648 h 5025828"/>
              <a:gd name="connsiteX86" fmla="*/ 3330886 w 3887146"/>
              <a:gd name="connsiteY86" fmla="*/ 4408608 h 5025828"/>
              <a:gd name="connsiteX87" fmla="*/ 3551866 w 3887146"/>
              <a:gd name="connsiteY87" fmla="*/ 4644828 h 5025828"/>
              <a:gd name="connsiteX88" fmla="*/ 3887146 w 3887146"/>
              <a:gd name="connsiteY88" fmla="*/ 5025828 h 5025828"/>
              <a:gd name="connsiteX0" fmla="*/ 707488 w 3884395"/>
              <a:gd name="connsiteY0" fmla="*/ 5008470 h 5017575"/>
              <a:gd name="connsiteX1" fmla="*/ 961066 w 3884395"/>
              <a:gd name="connsiteY1" fmla="*/ 4644828 h 5017575"/>
              <a:gd name="connsiteX2" fmla="*/ 1342066 w 3884395"/>
              <a:gd name="connsiteY2" fmla="*/ 4172388 h 5017575"/>
              <a:gd name="connsiteX3" fmla="*/ 1258246 w 3884395"/>
              <a:gd name="connsiteY3" fmla="*/ 4012368 h 5017575"/>
              <a:gd name="connsiteX4" fmla="*/ 1204906 w 3884395"/>
              <a:gd name="connsiteY4" fmla="*/ 3928548 h 5017575"/>
              <a:gd name="connsiteX5" fmla="*/ 1174426 w 3884395"/>
              <a:gd name="connsiteY5" fmla="*/ 3768528 h 5017575"/>
              <a:gd name="connsiteX6" fmla="*/ 1151566 w 3884395"/>
              <a:gd name="connsiteY6" fmla="*/ 3699948 h 5017575"/>
              <a:gd name="connsiteX7" fmla="*/ 1143946 w 3884395"/>
              <a:gd name="connsiteY7" fmla="*/ 3669468 h 5017575"/>
              <a:gd name="connsiteX8" fmla="*/ 1067746 w 3884395"/>
              <a:gd name="connsiteY8" fmla="*/ 3661848 h 5017575"/>
              <a:gd name="connsiteX9" fmla="*/ 938206 w 3884395"/>
              <a:gd name="connsiteY9" fmla="*/ 3669468 h 5017575"/>
              <a:gd name="connsiteX10" fmla="*/ 831526 w 3884395"/>
              <a:gd name="connsiteY10" fmla="*/ 3692328 h 5017575"/>
              <a:gd name="connsiteX11" fmla="*/ 610546 w 3884395"/>
              <a:gd name="connsiteY11" fmla="*/ 3738048 h 5017575"/>
              <a:gd name="connsiteX12" fmla="*/ 389566 w 3884395"/>
              <a:gd name="connsiteY12" fmla="*/ 3638988 h 5017575"/>
              <a:gd name="connsiteX13" fmla="*/ 381946 w 3884395"/>
              <a:gd name="connsiteY13" fmla="*/ 3326568 h 5017575"/>
              <a:gd name="connsiteX14" fmla="*/ 420046 w 3884395"/>
              <a:gd name="connsiteY14" fmla="*/ 3227508 h 5017575"/>
              <a:gd name="connsiteX15" fmla="*/ 389566 w 3884395"/>
              <a:gd name="connsiteY15" fmla="*/ 3166548 h 5017575"/>
              <a:gd name="connsiteX16" fmla="*/ 351466 w 3884395"/>
              <a:gd name="connsiteY16" fmla="*/ 3105588 h 5017575"/>
              <a:gd name="connsiteX17" fmla="*/ 397186 w 3884395"/>
              <a:gd name="connsiteY17" fmla="*/ 3021768 h 5017575"/>
              <a:gd name="connsiteX18" fmla="*/ 488626 w 3884395"/>
              <a:gd name="connsiteY18" fmla="*/ 2998908 h 5017575"/>
              <a:gd name="connsiteX19" fmla="*/ 471956 w 3884395"/>
              <a:gd name="connsiteY19" fmla="*/ 2942709 h 5017575"/>
              <a:gd name="connsiteX20" fmla="*/ 435286 w 3884395"/>
              <a:gd name="connsiteY20" fmla="*/ 2930328 h 5017575"/>
              <a:gd name="connsiteX21" fmla="*/ 389566 w 3884395"/>
              <a:gd name="connsiteY21" fmla="*/ 2930328 h 5017575"/>
              <a:gd name="connsiteX22" fmla="*/ 314000 w 3884395"/>
              <a:gd name="connsiteY22" fmla="*/ 2893495 h 5017575"/>
              <a:gd name="connsiteX23" fmla="*/ 320986 w 3884395"/>
              <a:gd name="connsiteY23" fmla="*/ 2846508 h 5017575"/>
              <a:gd name="connsiteX24" fmla="*/ 328606 w 3884395"/>
              <a:gd name="connsiteY24" fmla="*/ 2793168 h 5017575"/>
              <a:gd name="connsiteX25" fmla="*/ 313366 w 3884395"/>
              <a:gd name="connsiteY25" fmla="*/ 2732208 h 5017575"/>
              <a:gd name="connsiteX26" fmla="*/ 267646 w 3884395"/>
              <a:gd name="connsiteY26" fmla="*/ 2671248 h 5017575"/>
              <a:gd name="connsiteX27" fmla="*/ 176206 w 3884395"/>
              <a:gd name="connsiteY27" fmla="*/ 2656008 h 5017575"/>
              <a:gd name="connsiteX28" fmla="*/ 54286 w 3884395"/>
              <a:gd name="connsiteY28" fmla="*/ 2610288 h 5017575"/>
              <a:gd name="connsiteX29" fmla="*/ 7931 w 3884395"/>
              <a:gd name="connsiteY29" fmla="*/ 2563298 h 5017575"/>
              <a:gd name="connsiteX30" fmla="*/ 8566 w 3884395"/>
              <a:gd name="connsiteY30" fmla="*/ 2488368 h 5017575"/>
              <a:gd name="connsiteX31" fmla="*/ 92386 w 3884395"/>
              <a:gd name="connsiteY31" fmla="*/ 2335968 h 5017575"/>
              <a:gd name="connsiteX32" fmla="*/ 221926 w 3884395"/>
              <a:gd name="connsiteY32" fmla="*/ 2175948 h 5017575"/>
              <a:gd name="connsiteX33" fmla="*/ 282886 w 3884395"/>
              <a:gd name="connsiteY33" fmla="*/ 2084508 h 5017575"/>
              <a:gd name="connsiteX34" fmla="*/ 328606 w 3884395"/>
              <a:gd name="connsiteY34" fmla="*/ 1977828 h 5017575"/>
              <a:gd name="connsiteX35" fmla="*/ 359086 w 3884395"/>
              <a:gd name="connsiteY35" fmla="*/ 1871148 h 5017575"/>
              <a:gd name="connsiteX36" fmla="*/ 374326 w 3884395"/>
              <a:gd name="connsiteY36" fmla="*/ 1810188 h 5017575"/>
              <a:gd name="connsiteX37" fmla="*/ 343846 w 3884395"/>
              <a:gd name="connsiteY37" fmla="*/ 1756848 h 5017575"/>
              <a:gd name="connsiteX38" fmla="*/ 328606 w 3884395"/>
              <a:gd name="connsiteY38" fmla="*/ 1680648 h 5017575"/>
              <a:gd name="connsiteX39" fmla="*/ 412426 w 3884395"/>
              <a:gd name="connsiteY39" fmla="*/ 1474908 h 5017575"/>
              <a:gd name="connsiteX40" fmla="*/ 442906 w 3884395"/>
              <a:gd name="connsiteY40" fmla="*/ 1307268 h 5017575"/>
              <a:gd name="connsiteX41" fmla="*/ 465766 w 3884395"/>
              <a:gd name="connsiteY41" fmla="*/ 1192968 h 5017575"/>
              <a:gd name="connsiteX42" fmla="*/ 503866 w 3884395"/>
              <a:gd name="connsiteY42" fmla="*/ 1055808 h 5017575"/>
              <a:gd name="connsiteX43" fmla="*/ 557206 w 3884395"/>
              <a:gd name="connsiteY43" fmla="*/ 888168 h 5017575"/>
              <a:gd name="connsiteX44" fmla="*/ 503866 w 3884395"/>
              <a:gd name="connsiteY44" fmla="*/ 888168 h 5017575"/>
              <a:gd name="connsiteX45" fmla="*/ 412426 w 3884395"/>
              <a:gd name="connsiteY45" fmla="*/ 834828 h 5017575"/>
              <a:gd name="connsiteX46" fmla="*/ 328606 w 3884395"/>
              <a:gd name="connsiteY46" fmla="*/ 789108 h 5017575"/>
              <a:gd name="connsiteX47" fmla="*/ 260026 w 3884395"/>
              <a:gd name="connsiteY47" fmla="*/ 773868 h 5017575"/>
              <a:gd name="connsiteX48" fmla="*/ 214306 w 3884395"/>
              <a:gd name="connsiteY48" fmla="*/ 751008 h 5017575"/>
              <a:gd name="connsiteX49" fmla="*/ 260026 w 3884395"/>
              <a:gd name="connsiteY49" fmla="*/ 674808 h 5017575"/>
              <a:gd name="connsiteX50" fmla="*/ 374326 w 3884395"/>
              <a:gd name="connsiteY50" fmla="*/ 606228 h 5017575"/>
              <a:gd name="connsiteX51" fmla="*/ 557206 w 3884395"/>
              <a:gd name="connsiteY51" fmla="*/ 507168 h 5017575"/>
              <a:gd name="connsiteX52" fmla="*/ 656266 w 3884395"/>
              <a:gd name="connsiteY52" fmla="*/ 423348 h 5017575"/>
              <a:gd name="connsiteX53" fmla="*/ 892486 w 3884395"/>
              <a:gd name="connsiteY53" fmla="*/ 232848 h 5017575"/>
              <a:gd name="connsiteX54" fmla="*/ 1174426 w 3884395"/>
              <a:gd name="connsiteY54" fmla="*/ 80448 h 5017575"/>
              <a:gd name="connsiteX55" fmla="*/ 1593526 w 3884395"/>
              <a:gd name="connsiteY55" fmla="*/ 11868 h 5017575"/>
              <a:gd name="connsiteX56" fmla="*/ 1944046 w 3884395"/>
              <a:gd name="connsiteY56" fmla="*/ 4248 h 5017575"/>
              <a:gd name="connsiteX57" fmla="*/ 2172646 w 3884395"/>
              <a:gd name="connsiteY57" fmla="*/ 4248 h 5017575"/>
              <a:gd name="connsiteX58" fmla="*/ 2393626 w 3884395"/>
              <a:gd name="connsiteY58" fmla="*/ 57588 h 5017575"/>
              <a:gd name="connsiteX59" fmla="*/ 2667946 w 3884395"/>
              <a:gd name="connsiteY59" fmla="*/ 133788 h 5017575"/>
              <a:gd name="connsiteX60" fmla="*/ 2820346 w 3884395"/>
              <a:gd name="connsiteY60" fmla="*/ 202368 h 5017575"/>
              <a:gd name="connsiteX61" fmla="*/ 3102286 w 3884395"/>
              <a:gd name="connsiteY61" fmla="*/ 400488 h 5017575"/>
              <a:gd name="connsiteX62" fmla="*/ 3285166 w 3884395"/>
              <a:gd name="connsiteY62" fmla="*/ 651948 h 5017575"/>
              <a:gd name="connsiteX63" fmla="*/ 3407086 w 3884395"/>
              <a:gd name="connsiteY63" fmla="*/ 918648 h 5017575"/>
              <a:gd name="connsiteX64" fmla="*/ 3475666 w 3884395"/>
              <a:gd name="connsiteY64" fmla="*/ 1238688 h 5017575"/>
              <a:gd name="connsiteX65" fmla="*/ 3506146 w 3884395"/>
              <a:gd name="connsiteY65" fmla="*/ 1543488 h 5017575"/>
              <a:gd name="connsiteX66" fmla="*/ 3506146 w 3884395"/>
              <a:gd name="connsiteY66" fmla="*/ 1962588 h 5017575"/>
              <a:gd name="connsiteX67" fmla="*/ 3338506 w 3884395"/>
              <a:gd name="connsiteY67" fmla="*/ 2305488 h 5017575"/>
              <a:gd name="connsiteX68" fmla="*/ 3254686 w 3884395"/>
              <a:gd name="connsiteY68" fmla="*/ 2473128 h 5017575"/>
              <a:gd name="connsiteX69" fmla="*/ 3132766 w 3884395"/>
              <a:gd name="connsiteY69" fmla="*/ 2663628 h 5017575"/>
              <a:gd name="connsiteX70" fmla="*/ 3071806 w 3884395"/>
              <a:gd name="connsiteY70" fmla="*/ 2838888 h 5017575"/>
              <a:gd name="connsiteX71" fmla="*/ 3064186 w 3884395"/>
              <a:gd name="connsiteY71" fmla="*/ 2915088 h 5017575"/>
              <a:gd name="connsiteX72" fmla="*/ 3018466 w 3884395"/>
              <a:gd name="connsiteY72" fmla="*/ 3014148 h 5017575"/>
              <a:gd name="connsiteX73" fmla="*/ 2980366 w 3884395"/>
              <a:gd name="connsiteY73" fmla="*/ 3082728 h 5017575"/>
              <a:gd name="connsiteX74" fmla="*/ 2957506 w 3884395"/>
              <a:gd name="connsiteY74" fmla="*/ 3120828 h 5017575"/>
              <a:gd name="connsiteX75" fmla="*/ 2957506 w 3884395"/>
              <a:gd name="connsiteY75" fmla="*/ 3555168 h 5017575"/>
              <a:gd name="connsiteX76" fmla="*/ 3010846 w 3884395"/>
              <a:gd name="connsiteY76" fmla="*/ 3539928 h 5017575"/>
              <a:gd name="connsiteX77" fmla="*/ 3109906 w 3884395"/>
              <a:gd name="connsiteY77" fmla="*/ 3570408 h 5017575"/>
              <a:gd name="connsiteX78" fmla="*/ 3140386 w 3884395"/>
              <a:gd name="connsiteY78" fmla="*/ 3631368 h 5017575"/>
              <a:gd name="connsiteX79" fmla="*/ 3117526 w 3884395"/>
              <a:gd name="connsiteY79" fmla="*/ 3738048 h 5017575"/>
              <a:gd name="connsiteX80" fmla="*/ 3125146 w 3884395"/>
              <a:gd name="connsiteY80" fmla="*/ 4103808 h 5017575"/>
              <a:gd name="connsiteX81" fmla="*/ 3163246 w 3884395"/>
              <a:gd name="connsiteY81" fmla="*/ 4157148 h 5017575"/>
              <a:gd name="connsiteX82" fmla="*/ 3201346 w 3884395"/>
              <a:gd name="connsiteY82" fmla="*/ 4164768 h 5017575"/>
              <a:gd name="connsiteX83" fmla="*/ 3231826 w 3884395"/>
              <a:gd name="connsiteY83" fmla="*/ 4172388 h 5017575"/>
              <a:gd name="connsiteX84" fmla="*/ 3285166 w 3884395"/>
              <a:gd name="connsiteY84" fmla="*/ 4294308 h 5017575"/>
              <a:gd name="connsiteX85" fmla="*/ 3300406 w 3884395"/>
              <a:gd name="connsiteY85" fmla="*/ 4347648 h 5017575"/>
              <a:gd name="connsiteX86" fmla="*/ 3330886 w 3884395"/>
              <a:gd name="connsiteY86" fmla="*/ 4408608 h 5017575"/>
              <a:gd name="connsiteX87" fmla="*/ 3551866 w 3884395"/>
              <a:gd name="connsiteY87" fmla="*/ 4644828 h 5017575"/>
              <a:gd name="connsiteX88" fmla="*/ 3884395 w 3884395"/>
              <a:gd name="connsiteY88" fmla="*/ 5017575 h 5017575"/>
              <a:gd name="connsiteX0" fmla="*/ 707488 w 3889897"/>
              <a:gd name="connsiteY0" fmla="*/ 5008470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163246 w 3889897"/>
              <a:gd name="connsiteY81" fmla="*/ 4157148 h 5020326"/>
              <a:gd name="connsiteX82" fmla="*/ 3201346 w 3889897"/>
              <a:gd name="connsiteY82" fmla="*/ 4164768 h 5020326"/>
              <a:gd name="connsiteX83" fmla="*/ 3231826 w 3889897"/>
              <a:gd name="connsiteY83" fmla="*/ 4172388 h 5020326"/>
              <a:gd name="connsiteX84" fmla="*/ 3285166 w 3889897"/>
              <a:gd name="connsiteY84" fmla="*/ 4294308 h 5020326"/>
              <a:gd name="connsiteX85" fmla="*/ 3300406 w 3889897"/>
              <a:gd name="connsiteY85" fmla="*/ 4347648 h 5020326"/>
              <a:gd name="connsiteX86" fmla="*/ 3330886 w 3889897"/>
              <a:gd name="connsiteY86" fmla="*/ 4408608 h 5020326"/>
              <a:gd name="connsiteX87" fmla="*/ 3551866 w 3889897"/>
              <a:gd name="connsiteY87" fmla="*/ 4644828 h 5020326"/>
              <a:gd name="connsiteX88" fmla="*/ 3889897 w 3889897"/>
              <a:gd name="connsiteY88" fmla="*/ 5020326 h 5020326"/>
              <a:gd name="connsiteX0" fmla="*/ 704737 w 3889897"/>
              <a:gd name="connsiteY0" fmla="*/ 5016723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163246 w 3889897"/>
              <a:gd name="connsiteY81" fmla="*/ 4157148 h 5020326"/>
              <a:gd name="connsiteX82" fmla="*/ 3201346 w 3889897"/>
              <a:gd name="connsiteY82" fmla="*/ 4164768 h 5020326"/>
              <a:gd name="connsiteX83" fmla="*/ 3231826 w 3889897"/>
              <a:gd name="connsiteY83" fmla="*/ 4172388 h 5020326"/>
              <a:gd name="connsiteX84" fmla="*/ 3285166 w 3889897"/>
              <a:gd name="connsiteY84" fmla="*/ 4294308 h 5020326"/>
              <a:gd name="connsiteX85" fmla="*/ 3300406 w 3889897"/>
              <a:gd name="connsiteY85" fmla="*/ 4347648 h 5020326"/>
              <a:gd name="connsiteX86" fmla="*/ 3330886 w 3889897"/>
              <a:gd name="connsiteY86" fmla="*/ 4408608 h 5020326"/>
              <a:gd name="connsiteX87" fmla="*/ 3551866 w 3889897"/>
              <a:gd name="connsiteY87" fmla="*/ 4644828 h 5020326"/>
              <a:gd name="connsiteX88" fmla="*/ 3889897 w 3889897"/>
              <a:gd name="connsiteY88" fmla="*/ 5020326 h 5020326"/>
              <a:gd name="connsiteX0" fmla="*/ 710239 w 3889897"/>
              <a:gd name="connsiteY0" fmla="*/ 5024991 h 5024991"/>
              <a:gd name="connsiteX1" fmla="*/ 961066 w 3889897"/>
              <a:gd name="connsiteY1" fmla="*/ 4644828 h 5024991"/>
              <a:gd name="connsiteX2" fmla="*/ 1342066 w 3889897"/>
              <a:gd name="connsiteY2" fmla="*/ 4172388 h 5024991"/>
              <a:gd name="connsiteX3" fmla="*/ 1258246 w 3889897"/>
              <a:gd name="connsiteY3" fmla="*/ 4012368 h 5024991"/>
              <a:gd name="connsiteX4" fmla="*/ 1204906 w 3889897"/>
              <a:gd name="connsiteY4" fmla="*/ 3928548 h 5024991"/>
              <a:gd name="connsiteX5" fmla="*/ 1174426 w 3889897"/>
              <a:gd name="connsiteY5" fmla="*/ 3768528 h 5024991"/>
              <a:gd name="connsiteX6" fmla="*/ 1151566 w 3889897"/>
              <a:gd name="connsiteY6" fmla="*/ 3699948 h 5024991"/>
              <a:gd name="connsiteX7" fmla="*/ 1143946 w 3889897"/>
              <a:gd name="connsiteY7" fmla="*/ 3669468 h 5024991"/>
              <a:gd name="connsiteX8" fmla="*/ 1067746 w 3889897"/>
              <a:gd name="connsiteY8" fmla="*/ 3661848 h 5024991"/>
              <a:gd name="connsiteX9" fmla="*/ 938206 w 3889897"/>
              <a:gd name="connsiteY9" fmla="*/ 3669468 h 5024991"/>
              <a:gd name="connsiteX10" fmla="*/ 831526 w 3889897"/>
              <a:gd name="connsiteY10" fmla="*/ 3692328 h 5024991"/>
              <a:gd name="connsiteX11" fmla="*/ 610546 w 3889897"/>
              <a:gd name="connsiteY11" fmla="*/ 3738048 h 5024991"/>
              <a:gd name="connsiteX12" fmla="*/ 389566 w 3889897"/>
              <a:gd name="connsiteY12" fmla="*/ 3638988 h 5024991"/>
              <a:gd name="connsiteX13" fmla="*/ 381946 w 3889897"/>
              <a:gd name="connsiteY13" fmla="*/ 3326568 h 5024991"/>
              <a:gd name="connsiteX14" fmla="*/ 420046 w 3889897"/>
              <a:gd name="connsiteY14" fmla="*/ 3227508 h 5024991"/>
              <a:gd name="connsiteX15" fmla="*/ 389566 w 3889897"/>
              <a:gd name="connsiteY15" fmla="*/ 3166548 h 5024991"/>
              <a:gd name="connsiteX16" fmla="*/ 351466 w 3889897"/>
              <a:gd name="connsiteY16" fmla="*/ 3105588 h 5024991"/>
              <a:gd name="connsiteX17" fmla="*/ 397186 w 3889897"/>
              <a:gd name="connsiteY17" fmla="*/ 3021768 h 5024991"/>
              <a:gd name="connsiteX18" fmla="*/ 488626 w 3889897"/>
              <a:gd name="connsiteY18" fmla="*/ 2998908 h 5024991"/>
              <a:gd name="connsiteX19" fmla="*/ 471956 w 3889897"/>
              <a:gd name="connsiteY19" fmla="*/ 2942709 h 5024991"/>
              <a:gd name="connsiteX20" fmla="*/ 435286 w 3889897"/>
              <a:gd name="connsiteY20" fmla="*/ 2930328 h 5024991"/>
              <a:gd name="connsiteX21" fmla="*/ 389566 w 3889897"/>
              <a:gd name="connsiteY21" fmla="*/ 2930328 h 5024991"/>
              <a:gd name="connsiteX22" fmla="*/ 314000 w 3889897"/>
              <a:gd name="connsiteY22" fmla="*/ 2893495 h 5024991"/>
              <a:gd name="connsiteX23" fmla="*/ 320986 w 3889897"/>
              <a:gd name="connsiteY23" fmla="*/ 2846508 h 5024991"/>
              <a:gd name="connsiteX24" fmla="*/ 328606 w 3889897"/>
              <a:gd name="connsiteY24" fmla="*/ 2793168 h 5024991"/>
              <a:gd name="connsiteX25" fmla="*/ 313366 w 3889897"/>
              <a:gd name="connsiteY25" fmla="*/ 2732208 h 5024991"/>
              <a:gd name="connsiteX26" fmla="*/ 267646 w 3889897"/>
              <a:gd name="connsiteY26" fmla="*/ 2671248 h 5024991"/>
              <a:gd name="connsiteX27" fmla="*/ 176206 w 3889897"/>
              <a:gd name="connsiteY27" fmla="*/ 2656008 h 5024991"/>
              <a:gd name="connsiteX28" fmla="*/ 54286 w 3889897"/>
              <a:gd name="connsiteY28" fmla="*/ 2610288 h 5024991"/>
              <a:gd name="connsiteX29" fmla="*/ 7931 w 3889897"/>
              <a:gd name="connsiteY29" fmla="*/ 2563298 h 5024991"/>
              <a:gd name="connsiteX30" fmla="*/ 8566 w 3889897"/>
              <a:gd name="connsiteY30" fmla="*/ 2488368 h 5024991"/>
              <a:gd name="connsiteX31" fmla="*/ 92386 w 3889897"/>
              <a:gd name="connsiteY31" fmla="*/ 2335968 h 5024991"/>
              <a:gd name="connsiteX32" fmla="*/ 221926 w 3889897"/>
              <a:gd name="connsiteY32" fmla="*/ 2175948 h 5024991"/>
              <a:gd name="connsiteX33" fmla="*/ 282886 w 3889897"/>
              <a:gd name="connsiteY33" fmla="*/ 2084508 h 5024991"/>
              <a:gd name="connsiteX34" fmla="*/ 328606 w 3889897"/>
              <a:gd name="connsiteY34" fmla="*/ 1977828 h 5024991"/>
              <a:gd name="connsiteX35" fmla="*/ 359086 w 3889897"/>
              <a:gd name="connsiteY35" fmla="*/ 1871148 h 5024991"/>
              <a:gd name="connsiteX36" fmla="*/ 374326 w 3889897"/>
              <a:gd name="connsiteY36" fmla="*/ 1810188 h 5024991"/>
              <a:gd name="connsiteX37" fmla="*/ 343846 w 3889897"/>
              <a:gd name="connsiteY37" fmla="*/ 1756848 h 5024991"/>
              <a:gd name="connsiteX38" fmla="*/ 328606 w 3889897"/>
              <a:gd name="connsiteY38" fmla="*/ 1680648 h 5024991"/>
              <a:gd name="connsiteX39" fmla="*/ 412426 w 3889897"/>
              <a:gd name="connsiteY39" fmla="*/ 1474908 h 5024991"/>
              <a:gd name="connsiteX40" fmla="*/ 442906 w 3889897"/>
              <a:gd name="connsiteY40" fmla="*/ 1307268 h 5024991"/>
              <a:gd name="connsiteX41" fmla="*/ 465766 w 3889897"/>
              <a:gd name="connsiteY41" fmla="*/ 1192968 h 5024991"/>
              <a:gd name="connsiteX42" fmla="*/ 503866 w 3889897"/>
              <a:gd name="connsiteY42" fmla="*/ 1055808 h 5024991"/>
              <a:gd name="connsiteX43" fmla="*/ 557206 w 3889897"/>
              <a:gd name="connsiteY43" fmla="*/ 888168 h 5024991"/>
              <a:gd name="connsiteX44" fmla="*/ 503866 w 3889897"/>
              <a:gd name="connsiteY44" fmla="*/ 888168 h 5024991"/>
              <a:gd name="connsiteX45" fmla="*/ 412426 w 3889897"/>
              <a:gd name="connsiteY45" fmla="*/ 834828 h 5024991"/>
              <a:gd name="connsiteX46" fmla="*/ 328606 w 3889897"/>
              <a:gd name="connsiteY46" fmla="*/ 789108 h 5024991"/>
              <a:gd name="connsiteX47" fmla="*/ 260026 w 3889897"/>
              <a:gd name="connsiteY47" fmla="*/ 773868 h 5024991"/>
              <a:gd name="connsiteX48" fmla="*/ 214306 w 3889897"/>
              <a:gd name="connsiteY48" fmla="*/ 751008 h 5024991"/>
              <a:gd name="connsiteX49" fmla="*/ 260026 w 3889897"/>
              <a:gd name="connsiteY49" fmla="*/ 674808 h 5024991"/>
              <a:gd name="connsiteX50" fmla="*/ 374326 w 3889897"/>
              <a:gd name="connsiteY50" fmla="*/ 606228 h 5024991"/>
              <a:gd name="connsiteX51" fmla="*/ 557206 w 3889897"/>
              <a:gd name="connsiteY51" fmla="*/ 507168 h 5024991"/>
              <a:gd name="connsiteX52" fmla="*/ 656266 w 3889897"/>
              <a:gd name="connsiteY52" fmla="*/ 423348 h 5024991"/>
              <a:gd name="connsiteX53" fmla="*/ 892486 w 3889897"/>
              <a:gd name="connsiteY53" fmla="*/ 232848 h 5024991"/>
              <a:gd name="connsiteX54" fmla="*/ 1174426 w 3889897"/>
              <a:gd name="connsiteY54" fmla="*/ 80448 h 5024991"/>
              <a:gd name="connsiteX55" fmla="*/ 1593526 w 3889897"/>
              <a:gd name="connsiteY55" fmla="*/ 11868 h 5024991"/>
              <a:gd name="connsiteX56" fmla="*/ 1944046 w 3889897"/>
              <a:gd name="connsiteY56" fmla="*/ 4248 h 5024991"/>
              <a:gd name="connsiteX57" fmla="*/ 2172646 w 3889897"/>
              <a:gd name="connsiteY57" fmla="*/ 4248 h 5024991"/>
              <a:gd name="connsiteX58" fmla="*/ 2393626 w 3889897"/>
              <a:gd name="connsiteY58" fmla="*/ 57588 h 5024991"/>
              <a:gd name="connsiteX59" fmla="*/ 2667946 w 3889897"/>
              <a:gd name="connsiteY59" fmla="*/ 133788 h 5024991"/>
              <a:gd name="connsiteX60" fmla="*/ 2820346 w 3889897"/>
              <a:gd name="connsiteY60" fmla="*/ 202368 h 5024991"/>
              <a:gd name="connsiteX61" fmla="*/ 3102286 w 3889897"/>
              <a:gd name="connsiteY61" fmla="*/ 400488 h 5024991"/>
              <a:gd name="connsiteX62" fmla="*/ 3285166 w 3889897"/>
              <a:gd name="connsiteY62" fmla="*/ 651948 h 5024991"/>
              <a:gd name="connsiteX63" fmla="*/ 3407086 w 3889897"/>
              <a:gd name="connsiteY63" fmla="*/ 918648 h 5024991"/>
              <a:gd name="connsiteX64" fmla="*/ 3475666 w 3889897"/>
              <a:gd name="connsiteY64" fmla="*/ 1238688 h 5024991"/>
              <a:gd name="connsiteX65" fmla="*/ 3506146 w 3889897"/>
              <a:gd name="connsiteY65" fmla="*/ 1543488 h 5024991"/>
              <a:gd name="connsiteX66" fmla="*/ 3506146 w 3889897"/>
              <a:gd name="connsiteY66" fmla="*/ 1962588 h 5024991"/>
              <a:gd name="connsiteX67" fmla="*/ 3338506 w 3889897"/>
              <a:gd name="connsiteY67" fmla="*/ 2305488 h 5024991"/>
              <a:gd name="connsiteX68" fmla="*/ 3254686 w 3889897"/>
              <a:gd name="connsiteY68" fmla="*/ 2473128 h 5024991"/>
              <a:gd name="connsiteX69" fmla="*/ 3132766 w 3889897"/>
              <a:gd name="connsiteY69" fmla="*/ 2663628 h 5024991"/>
              <a:gd name="connsiteX70" fmla="*/ 3071806 w 3889897"/>
              <a:gd name="connsiteY70" fmla="*/ 2838888 h 5024991"/>
              <a:gd name="connsiteX71" fmla="*/ 3064186 w 3889897"/>
              <a:gd name="connsiteY71" fmla="*/ 2915088 h 5024991"/>
              <a:gd name="connsiteX72" fmla="*/ 3018466 w 3889897"/>
              <a:gd name="connsiteY72" fmla="*/ 3014148 h 5024991"/>
              <a:gd name="connsiteX73" fmla="*/ 2980366 w 3889897"/>
              <a:gd name="connsiteY73" fmla="*/ 3082728 h 5024991"/>
              <a:gd name="connsiteX74" fmla="*/ 2957506 w 3889897"/>
              <a:gd name="connsiteY74" fmla="*/ 3120828 h 5024991"/>
              <a:gd name="connsiteX75" fmla="*/ 2957506 w 3889897"/>
              <a:gd name="connsiteY75" fmla="*/ 3555168 h 5024991"/>
              <a:gd name="connsiteX76" fmla="*/ 3010846 w 3889897"/>
              <a:gd name="connsiteY76" fmla="*/ 3539928 h 5024991"/>
              <a:gd name="connsiteX77" fmla="*/ 3109906 w 3889897"/>
              <a:gd name="connsiteY77" fmla="*/ 3570408 h 5024991"/>
              <a:gd name="connsiteX78" fmla="*/ 3140386 w 3889897"/>
              <a:gd name="connsiteY78" fmla="*/ 3631368 h 5024991"/>
              <a:gd name="connsiteX79" fmla="*/ 3117526 w 3889897"/>
              <a:gd name="connsiteY79" fmla="*/ 3738048 h 5024991"/>
              <a:gd name="connsiteX80" fmla="*/ 3125146 w 3889897"/>
              <a:gd name="connsiteY80" fmla="*/ 4103808 h 5024991"/>
              <a:gd name="connsiteX81" fmla="*/ 3163246 w 3889897"/>
              <a:gd name="connsiteY81" fmla="*/ 4157148 h 5024991"/>
              <a:gd name="connsiteX82" fmla="*/ 3201346 w 3889897"/>
              <a:gd name="connsiteY82" fmla="*/ 4164768 h 5024991"/>
              <a:gd name="connsiteX83" fmla="*/ 3231826 w 3889897"/>
              <a:gd name="connsiteY83" fmla="*/ 4172388 h 5024991"/>
              <a:gd name="connsiteX84" fmla="*/ 3285166 w 3889897"/>
              <a:gd name="connsiteY84" fmla="*/ 4294308 h 5024991"/>
              <a:gd name="connsiteX85" fmla="*/ 3300406 w 3889897"/>
              <a:gd name="connsiteY85" fmla="*/ 4347648 h 5024991"/>
              <a:gd name="connsiteX86" fmla="*/ 3330886 w 3889897"/>
              <a:gd name="connsiteY86" fmla="*/ 4408608 h 5024991"/>
              <a:gd name="connsiteX87" fmla="*/ 3551866 w 3889897"/>
              <a:gd name="connsiteY87" fmla="*/ 4644828 h 5024991"/>
              <a:gd name="connsiteX88" fmla="*/ 3889897 w 3889897"/>
              <a:gd name="connsiteY88" fmla="*/ 5020326 h 5024991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163246 w 3889897"/>
              <a:gd name="connsiteY81" fmla="*/ 4157148 h 5020326"/>
              <a:gd name="connsiteX82" fmla="*/ 3201346 w 3889897"/>
              <a:gd name="connsiteY82" fmla="*/ 4164768 h 5020326"/>
              <a:gd name="connsiteX83" fmla="*/ 3231826 w 3889897"/>
              <a:gd name="connsiteY83" fmla="*/ 4172388 h 5020326"/>
              <a:gd name="connsiteX84" fmla="*/ 3285166 w 3889897"/>
              <a:gd name="connsiteY84" fmla="*/ 4294308 h 5020326"/>
              <a:gd name="connsiteX85" fmla="*/ 3300406 w 3889897"/>
              <a:gd name="connsiteY85" fmla="*/ 4347648 h 5020326"/>
              <a:gd name="connsiteX86" fmla="*/ 3330886 w 3889897"/>
              <a:gd name="connsiteY86" fmla="*/ 4408608 h 5020326"/>
              <a:gd name="connsiteX87" fmla="*/ 3551866 w 3889897"/>
              <a:gd name="connsiteY87" fmla="*/ 4644828 h 5020326"/>
              <a:gd name="connsiteX88" fmla="*/ 3889897 w 3889897"/>
              <a:gd name="connsiteY88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201346 w 3889897"/>
              <a:gd name="connsiteY81" fmla="*/ 4164768 h 5020326"/>
              <a:gd name="connsiteX82" fmla="*/ 3231826 w 3889897"/>
              <a:gd name="connsiteY82" fmla="*/ 4172388 h 5020326"/>
              <a:gd name="connsiteX83" fmla="*/ 3285166 w 3889897"/>
              <a:gd name="connsiteY83" fmla="*/ 4294308 h 5020326"/>
              <a:gd name="connsiteX84" fmla="*/ 3300406 w 3889897"/>
              <a:gd name="connsiteY84" fmla="*/ 4347648 h 5020326"/>
              <a:gd name="connsiteX85" fmla="*/ 3330886 w 3889897"/>
              <a:gd name="connsiteY85" fmla="*/ 4408608 h 5020326"/>
              <a:gd name="connsiteX86" fmla="*/ 3551866 w 3889897"/>
              <a:gd name="connsiteY86" fmla="*/ 4644828 h 5020326"/>
              <a:gd name="connsiteX87" fmla="*/ 3889897 w 3889897"/>
              <a:gd name="connsiteY87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231826 w 3889897"/>
              <a:gd name="connsiteY81" fmla="*/ 4172388 h 5020326"/>
              <a:gd name="connsiteX82" fmla="*/ 3285166 w 3889897"/>
              <a:gd name="connsiteY82" fmla="*/ 4294308 h 5020326"/>
              <a:gd name="connsiteX83" fmla="*/ 3300406 w 3889897"/>
              <a:gd name="connsiteY83" fmla="*/ 4347648 h 5020326"/>
              <a:gd name="connsiteX84" fmla="*/ 3330886 w 3889897"/>
              <a:gd name="connsiteY84" fmla="*/ 4408608 h 5020326"/>
              <a:gd name="connsiteX85" fmla="*/ 3551866 w 3889897"/>
              <a:gd name="connsiteY85" fmla="*/ 4644828 h 5020326"/>
              <a:gd name="connsiteX86" fmla="*/ 3889897 w 3889897"/>
              <a:gd name="connsiteY86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43946 w 3889897"/>
              <a:gd name="connsiteY6" fmla="*/ 3669468 h 5020326"/>
              <a:gd name="connsiteX7" fmla="*/ 1067746 w 3889897"/>
              <a:gd name="connsiteY7" fmla="*/ 3661848 h 5020326"/>
              <a:gd name="connsiteX8" fmla="*/ 938206 w 3889897"/>
              <a:gd name="connsiteY8" fmla="*/ 3669468 h 5020326"/>
              <a:gd name="connsiteX9" fmla="*/ 831526 w 3889897"/>
              <a:gd name="connsiteY9" fmla="*/ 3692328 h 5020326"/>
              <a:gd name="connsiteX10" fmla="*/ 610546 w 3889897"/>
              <a:gd name="connsiteY10" fmla="*/ 3738048 h 5020326"/>
              <a:gd name="connsiteX11" fmla="*/ 389566 w 3889897"/>
              <a:gd name="connsiteY11" fmla="*/ 3638988 h 5020326"/>
              <a:gd name="connsiteX12" fmla="*/ 381946 w 3889897"/>
              <a:gd name="connsiteY12" fmla="*/ 3326568 h 5020326"/>
              <a:gd name="connsiteX13" fmla="*/ 420046 w 3889897"/>
              <a:gd name="connsiteY13" fmla="*/ 3227508 h 5020326"/>
              <a:gd name="connsiteX14" fmla="*/ 389566 w 3889897"/>
              <a:gd name="connsiteY14" fmla="*/ 3166548 h 5020326"/>
              <a:gd name="connsiteX15" fmla="*/ 351466 w 3889897"/>
              <a:gd name="connsiteY15" fmla="*/ 3105588 h 5020326"/>
              <a:gd name="connsiteX16" fmla="*/ 397186 w 3889897"/>
              <a:gd name="connsiteY16" fmla="*/ 3021768 h 5020326"/>
              <a:gd name="connsiteX17" fmla="*/ 488626 w 3889897"/>
              <a:gd name="connsiteY17" fmla="*/ 2998908 h 5020326"/>
              <a:gd name="connsiteX18" fmla="*/ 471956 w 3889897"/>
              <a:gd name="connsiteY18" fmla="*/ 2942709 h 5020326"/>
              <a:gd name="connsiteX19" fmla="*/ 435286 w 3889897"/>
              <a:gd name="connsiteY19" fmla="*/ 2930328 h 5020326"/>
              <a:gd name="connsiteX20" fmla="*/ 389566 w 3889897"/>
              <a:gd name="connsiteY20" fmla="*/ 2930328 h 5020326"/>
              <a:gd name="connsiteX21" fmla="*/ 314000 w 3889897"/>
              <a:gd name="connsiteY21" fmla="*/ 2893495 h 5020326"/>
              <a:gd name="connsiteX22" fmla="*/ 320986 w 3889897"/>
              <a:gd name="connsiteY22" fmla="*/ 2846508 h 5020326"/>
              <a:gd name="connsiteX23" fmla="*/ 328606 w 3889897"/>
              <a:gd name="connsiteY23" fmla="*/ 2793168 h 5020326"/>
              <a:gd name="connsiteX24" fmla="*/ 313366 w 3889897"/>
              <a:gd name="connsiteY24" fmla="*/ 2732208 h 5020326"/>
              <a:gd name="connsiteX25" fmla="*/ 267646 w 3889897"/>
              <a:gd name="connsiteY25" fmla="*/ 2671248 h 5020326"/>
              <a:gd name="connsiteX26" fmla="*/ 176206 w 3889897"/>
              <a:gd name="connsiteY26" fmla="*/ 2656008 h 5020326"/>
              <a:gd name="connsiteX27" fmla="*/ 54286 w 3889897"/>
              <a:gd name="connsiteY27" fmla="*/ 2610288 h 5020326"/>
              <a:gd name="connsiteX28" fmla="*/ 7931 w 3889897"/>
              <a:gd name="connsiteY28" fmla="*/ 2563298 h 5020326"/>
              <a:gd name="connsiteX29" fmla="*/ 8566 w 3889897"/>
              <a:gd name="connsiteY29" fmla="*/ 2488368 h 5020326"/>
              <a:gd name="connsiteX30" fmla="*/ 92386 w 3889897"/>
              <a:gd name="connsiteY30" fmla="*/ 2335968 h 5020326"/>
              <a:gd name="connsiteX31" fmla="*/ 221926 w 3889897"/>
              <a:gd name="connsiteY31" fmla="*/ 2175948 h 5020326"/>
              <a:gd name="connsiteX32" fmla="*/ 282886 w 3889897"/>
              <a:gd name="connsiteY32" fmla="*/ 2084508 h 5020326"/>
              <a:gd name="connsiteX33" fmla="*/ 328606 w 3889897"/>
              <a:gd name="connsiteY33" fmla="*/ 1977828 h 5020326"/>
              <a:gd name="connsiteX34" fmla="*/ 359086 w 3889897"/>
              <a:gd name="connsiteY34" fmla="*/ 1871148 h 5020326"/>
              <a:gd name="connsiteX35" fmla="*/ 374326 w 3889897"/>
              <a:gd name="connsiteY35" fmla="*/ 1810188 h 5020326"/>
              <a:gd name="connsiteX36" fmla="*/ 343846 w 3889897"/>
              <a:gd name="connsiteY36" fmla="*/ 1756848 h 5020326"/>
              <a:gd name="connsiteX37" fmla="*/ 328606 w 3889897"/>
              <a:gd name="connsiteY37" fmla="*/ 1680648 h 5020326"/>
              <a:gd name="connsiteX38" fmla="*/ 412426 w 3889897"/>
              <a:gd name="connsiteY38" fmla="*/ 1474908 h 5020326"/>
              <a:gd name="connsiteX39" fmla="*/ 442906 w 3889897"/>
              <a:gd name="connsiteY39" fmla="*/ 1307268 h 5020326"/>
              <a:gd name="connsiteX40" fmla="*/ 465766 w 3889897"/>
              <a:gd name="connsiteY40" fmla="*/ 1192968 h 5020326"/>
              <a:gd name="connsiteX41" fmla="*/ 503866 w 3889897"/>
              <a:gd name="connsiteY41" fmla="*/ 1055808 h 5020326"/>
              <a:gd name="connsiteX42" fmla="*/ 557206 w 3889897"/>
              <a:gd name="connsiteY42" fmla="*/ 888168 h 5020326"/>
              <a:gd name="connsiteX43" fmla="*/ 503866 w 3889897"/>
              <a:gd name="connsiteY43" fmla="*/ 888168 h 5020326"/>
              <a:gd name="connsiteX44" fmla="*/ 412426 w 3889897"/>
              <a:gd name="connsiteY44" fmla="*/ 834828 h 5020326"/>
              <a:gd name="connsiteX45" fmla="*/ 328606 w 3889897"/>
              <a:gd name="connsiteY45" fmla="*/ 789108 h 5020326"/>
              <a:gd name="connsiteX46" fmla="*/ 260026 w 3889897"/>
              <a:gd name="connsiteY46" fmla="*/ 773868 h 5020326"/>
              <a:gd name="connsiteX47" fmla="*/ 214306 w 3889897"/>
              <a:gd name="connsiteY47" fmla="*/ 751008 h 5020326"/>
              <a:gd name="connsiteX48" fmla="*/ 260026 w 3889897"/>
              <a:gd name="connsiteY48" fmla="*/ 674808 h 5020326"/>
              <a:gd name="connsiteX49" fmla="*/ 374326 w 3889897"/>
              <a:gd name="connsiteY49" fmla="*/ 606228 h 5020326"/>
              <a:gd name="connsiteX50" fmla="*/ 557206 w 3889897"/>
              <a:gd name="connsiteY50" fmla="*/ 507168 h 5020326"/>
              <a:gd name="connsiteX51" fmla="*/ 656266 w 3889897"/>
              <a:gd name="connsiteY51" fmla="*/ 423348 h 5020326"/>
              <a:gd name="connsiteX52" fmla="*/ 892486 w 3889897"/>
              <a:gd name="connsiteY52" fmla="*/ 232848 h 5020326"/>
              <a:gd name="connsiteX53" fmla="*/ 1174426 w 3889897"/>
              <a:gd name="connsiteY53" fmla="*/ 80448 h 5020326"/>
              <a:gd name="connsiteX54" fmla="*/ 1593526 w 3889897"/>
              <a:gd name="connsiteY54" fmla="*/ 11868 h 5020326"/>
              <a:gd name="connsiteX55" fmla="*/ 1944046 w 3889897"/>
              <a:gd name="connsiteY55" fmla="*/ 4248 h 5020326"/>
              <a:gd name="connsiteX56" fmla="*/ 2172646 w 3889897"/>
              <a:gd name="connsiteY56" fmla="*/ 4248 h 5020326"/>
              <a:gd name="connsiteX57" fmla="*/ 2393626 w 3889897"/>
              <a:gd name="connsiteY57" fmla="*/ 57588 h 5020326"/>
              <a:gd name="connsiteX58" fmla="*/ 2667946 w 3889897"/>
              <a:gd name="connsiteY58" fmla="*/ 133788 h 5020326"/>
              <a:gd name="connsiteX59" fmla="*/ 2820346 w 3889897"/>
              <a:gd name="connsiteY59" fmla="*/ 202368 h 5020326"/>
              <a:gd name="connsiteX60" fmla="*/ 3102286 w 3889897"/>
              <a:gd name="connsiteY60" fmla="*/ 400488 h 5020326"/>
              <a:gd name="connsiteX61" fmla="*/ 3285166 w 3889897"/>
              <a:gd name="connsiteY61" fmla="*/ 651948 h 5020326"/>
              <a:gd name="connsiteX62" fmla="*/ 3407086 w 3889897"/>
              <a:gd name="connsiteY62" fmla="*/ 918648 h 5020326"/>
              <a:gd name="connsiteX63" fmla="*/ 3475666 w 3889897"/>
              <a:gd name="connsiteY63" fmla="*/ 1238688 h 5020326"/>
              <a:gd name="connsiteX64" fmla="*/ 3506146 w 3889897"/>
              <a:gd name="connsiteY64" fmla="*/ 1543488 h 5020326"/>
              <a:gd name="connsiteX65" fmla="*/ 3506146 w 3889897"/>
              <a:gd name="connsiteY65" fmla="*/ 1962588 h 5020326"/>
              <a:gd name="connsiteX66" fmla="*/ 3338506 w 3889897"/>
              <a:gd name="connsiteY66" fmla="*/ 2305488 h 5020326"/>
              <a:gd name="connsiteX67" fmla="*/ 3254686 w 3889897"/>
              <a:gd name="connsiteY67" fmla="*/ 2473128 h 5020326"/>
              <a:gd name="connsiteX68" fmla="*/ 3132766 w 3889897"/>
              <a:gd name="connsiteY68" fmla="*/ 2663628 h 5020326"/>
              <a:gd name="connsiteX69" fmla="*/ 3071806 w 3889897"/>
              <a:gd name="connsiteY69" fmla="*/ 2838888 h 5020326"/>
              <a:gd name="connsiteX70" fmla="*/ 3064186 w 3889897"/>
              <a:gd name="connsiteY70" fmla="*/ 2915088 h 5020326"/>
              <a:gd name="connsiteX71" fmla="*/ 3018466 w 3889897"/>
              <a:gd name="connsiteY71" fmla="*/ 3014148 h 5020326"/>
              <a:gd name="connsiteX72" fmla="*/ 2980366 w 3889897"/>
              <a:gd name="connsiteY72" fmla="*/ 3082728 h 5020326"/>
              <a:gd name="connsiteX73" fmla="*/ 2957506 w 3889897"/>
              <a:gd name="connsiteY73" fmla="*/ 3120828 h 5020326"/>
              <a:gd name="connsiteX74" fmla="*/ 2957506 w 3889897"/>
              <a:gd name="connsiteY74" fmla="*/ 3555168 h 5020326"/>
              <a:gd name="connsiteX75" fmla="*/ 3010846 w 3889897"/>
              <a:gd name="connsiteY75" fmla="*/ 3539928 h 5020326"/>
              <a:gd name="connsiteX76" fmla="*/ 3109906 w 3889897"/>
              <a:gd name="connsiteY76" fmla="*/ 3570408 h 5020326"/>
              <a:gd name="connsiteX77" fmla="*/ 3140386 w 3889897"/>
              <a:gd name="connsiteY77" fmla="*/ 3631368 h 5020326"/>
              <a:gd name="connsiteX78" fmla="*/ 3117526 w 3889897"/>
              <a:gd name="connsiteY78" fmla="*/ 3738048 h 5020326"/>
              <a:gd name="connsiteX79" fmla="*/ 3125146 w 3889897"/>
              <a:gd name="connsiteY79" fmla="*/ 4103808 h 5020326"/>
              <a:gd name="connsiteX80" fmla="*/ 3231826 w 3889897"/>
              <a:gd name="connsiteY80" fmla="*/ 4172388 h 5020326"/>
              <a:gd name="connsiteX81" fmla="*/ 3285166 w 3889897"/>
              <a:gd name="connsiteY81" fmla="*/ 4294308 h 5020326"/>
              <a:gd name="connsiteX82" fmla="*/ 3300406 w 3889897"/>
              <a:gd name="connsiteY82" fmla="*/ 4347648 h 5020326"/>
              <a:gd name="connsiteX83" fmla="*/ 3330886 w 3889897"/>
              <a:gd name="connsiteY83" fmla="*/ 4408608 h 5020326"/>
              <a:gd name="connsiteX84" fmla="*/ 3551866 w 3889897"/>
              <a:gd name="connsiteY84" fmla="*/ 4644828 h 5020326"/>
              <a:gd name="connsiteX85" fmla="*/ 3889897 w 3889897"/>
              <a:gd name="connsiteY85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43946 w 3889897"/>
              <a:gd name="connsiteY6" fmla="*/ 3669468 h 5020326"/>
              <a:gd name="connsiteX7" fmla="*/ 1067746 w 3889897"/>
              <a:gd name="connsiteY7" fmla="*/ 3661848 h 5020326"/>
              <a:gd name="connsiteX8" fmla="*/ 938206 w 3889897"/>
              <a:gd name="connsiteY8" fmla="*/ 3669468 h 5020326"/>
              <a:gd name="connsiteX9" fmla="*/ 831526 w 3889897"/>
              <a:gd name="connsiteY9" fmla="*/ 3692328 h 5020326"/>
              <a:gd name="connsiteX10" fmla="*/ 610546 w 3889897"/>
              <a:gd name="connsiteY10" fmla="*/ 3738048 h 5020326"/>
              <a:gd name="connsiteX11" fmla="*/ 389566 w 3889897"/>
              <a:gd name="connsiteY11" fmla="*/ 3638988 h 5020326"/>
              <a:gd name="connsiteX12" fmla="*/ 381946 w 3889897"/>
              <a:gd name="connsiteY12" fmla="*/ 3326568 h 5020326"/>
              <a:gd name="connsiteX13" fmla="*/ 420046 w 3889897"/>
              <a:gd name="connsiteY13" fmla="*/ 3227508 h 5020326"/>
              <a:gd name="connsiteX14" fmla="*/ 389566 w 3889897"/>
              <a:gd name="connsiteY14" fmla="*/ 3166548 h 5020326"/>
              <a:gd name="connsiteX15" fmla="*/ 351466 w 3889897"/>
              <a:gd name="connsiteY15" fmla="*/ 3105588 h 5020326"/>
              <a:gd name="connsiteX16" fmla="*/ 397186 w 3889897"/>
              <a:gd name="connsiteY16" fmla="*/ 3021768 h 5020326"/>
              <a:gd name="connsiteX17" fmla="*/ 488626 w 3889897"/>
              <a:gd name="connsiteY17" fmla="*/ 2998908 h 5020326"/>
              <a:gd name="connsiteX18" fmla="*/ 471956 w 3889897"/>
              <a:gd name="connsiteY18" fmla="*/ 2942709 h 5020326"/>
              <a:gd name="connsiteX19" fmla="*/ 435286 w 3889897"/>
              <a:gd name="connsiteY19" fmla="*/ 2930328 h 5020326"/>
              <a:gd name="connsiteX20" fmla="*/ 389566 w 3889897"/>
              <a:gd name="connsiteY20" fmla="*/ 2930328 h 5020326"/>
              <a:gd name="connsiteX21" fmla="*/ 314000 w 3889897"/>
              <a:gd name="connsiteY21" fmla="*/ 2893495 h 5020326"/>
              <a:gd name="connsiteX22" fmla="*/ 320986 w 3889897"/>
              <a:gd name="connsiteY22" fmla="*/ 2846508 h 5020326"/>
              <a:gd name="connsiteX23" fmla="*/ 328606 w 3889897"/>
              <a:gd name="connsiteY23" fmla="*/ 2793168 h 5020326"/>
              <a:gd name="connsiteX24" fmla="*/ 313366 w 3889897"/>
              <a:gd name="connsiteY24" fmla="*/ 2732208 h 5020326"/>
              <a:gd name="connsiteX25" fmla="*/ 267646 w 3889897"/>
              <a:gd name="connsiteY25" fmla="*/ 2671248 h 5020326"/>
              <a:gd name="connsiteX26" fmla="*/ 176206 w 3889897"/>
              <a:gd name="connsiteY26" fmla="*/ 2656008 h 5020326"/>
              <a:gd name="connsiteX27" fmla="*/ 54286 w 3889897"/>
              <a:gd name="connsiteY27" fmla="*/ 2610288 h 5020326"/>
              <a:gd name="connsiteX28" fmla="*/ 7931 w 3889897"/>
              <a:gd name="connsiteY28" fmla="*/ 2563298 h 5020326"/>
              <a:gd name="connsiteX29" fmla="*/ 8566 w 3889897"/>
              <a:gd name="connsiteY29" fmla="*/ 2488368 h 5020326"/>
              <a:gd name="connsiteX30" fmla="*/ 92386 w 3889897"/>
              <a:gd name="connsiteY30" fmla="*/ 2335968 h 5020326"/>
              <a:gd name="connsiteX31" fmla="*/ 221926 w 3889897"/>
              <a:gd name="connsiteY31" fmla="*/ 2175948 h 5020326"/>
              <a:gd name="connsiteX32" fmla="*/ 282886 w 3889897"/>
              <a:gd name="connsiteY32" fmla="*/ 2084508 h 5020326"/>
              <a:gd name="connsiteX33" fmla="*/ 328606 w 3889897"/>
              <a:gd name="connsiteY33" fmla="*/ 1977828 h 5020326"/>
              <a:gd name="connsiteX34" fmla="*/ 359086 w 3889897"/>
              <a:gd name="connsiteY34" fmla="*/ 1871148 h 5020326"/>
              <a:gd name="connsiteX35" fmla="*/ 374326 w 3889897"/>
              <a:gd name="connsiteY35" fmla="*/ 1810188 h 5020326"/>
              <a:gd name="connsiteX36" fmla="*/ 343846 w 3889897"/>
              <a:gd name="connsiteY36" fmla="*/ 1756848 h 5020326"/>
              <a:gd name="connsiteX37" fmla="*/ 328606 w 3889897"/>
              <a:gd name="connsiteY37" fmla="*/ 1680648 h 5020326"/>
              <a:gd name="connsiteX38" fmla="*/ 412426 w 3889897"/>
              <a:gd name="connsiteY38" fmla="*/ 1474908 h 5020326"/>
              <a:gd name="connsiteX39" fmla="*/ 442906 w 3889897"/>
              <a:gd name="connsiteY39" fmla="*/ 1307268 h 5020326"/>
              <a:gd name="connsiteX40" fmla="*/ 465766 w 3889897"/>
              <a:gd name="connsiteY40" fmla="*/ 1192968 h 5020326"/>
              <a:gd name="connsiteX41" fmla="*/ 503866 w 3889897"/>
              <a:gd name="connsiteY41" fmla="*/ 1055808 h 5020326"/>
              <a:gd name="connsiteX42" fmla="*/ 557206 w 3889897"/>
              <a:gd name="connsiteY42" fmla="*/ 888168 h 5020326"/>
              <a:gd name="connsiteX43" fmla="*/ 503866 w 3889897"/>
              <a:gd name="connsiteY43" fmla="*/ 888168 h 5020326"/>
              <a:gd name="connsiteX44" fmla="*/ 412426 w 3889897"/>
              <a:gd name="connsiteY44" fmla="*/ 834828 h 5020326"/>
              <a:gd name="connsiteX45" fmla="*/ 328606 w 3889897"/>
              <a:gd name="connsiteY45" fmla="*/ 789108 h 5020326"/>
              <a:gd name="connsiteX46" fmla="*/ 260026 w 3889897"/>
              <a:gd name="connsiteY46" fmla="*/ 773868 h 5020326"/>
              <a:gd name="connsiteX47" fmla="*/ 214306 w 3889897"/>
              <a:gd name="connsiteY47" fmla="*/ 751008 h 5020326"/>
              <a:gd name="connsiteX48" fmla="*/ 260026 w 3889897"/>
              <a:gd name="connsiteY48" fmla="*/ 674808 h 5020326"/>
              <a:gd name="connsiteX49" fmla="*/ 374326 w 3889897"/>
              <a:gd name="connsiteY49" fmla="*/ 606228 h 5020326"/>
              <a:gd name="connsiteX50" fmla="*/ 557206 w 3889897"/>
              <a:gd name="connsiteY50" fmla="*/ 507168 h 5020326"/>
              <a:gd name="connsiteX51" fmla="*/ 656266 w 3889897"/>
              <a:gd name="connsiteY51" fmla="*/ 423348 h 5020326"/>
              <a:gd name="connsiteX52" fmla="*/ 892486 w 3889897"/>
              <a:gd name="connsiteY52" fmla="*/ 232848 h 5020326"/>
              <a:gd name="connsiteX53" fmla="*/ 1174426 w 3889897"/>
              <a:gd name="connsiteY53" fmla="*/ 80448 h 5020326"/>
              <a:gd name="connsiteX54" fmla="*/ 1593526 w 3889897"/>
              <a:gd name="connsiteY54" fmla="*/ 11868 h 5020326"/>
              <a:gd name="connsiteX55" fmla="*/ 1944046 w 3889897"/>
              <a:gd name="connsiteY55" fmla="*/ 4248 h 5020326"/>
              <a:gd name="connsiteX56" fmla="*/ 2172646 w 3889897"/>
              <a:gd name="connsiteY56" fmla="*/ 4248 h 5020326"/>
              <a:gd name="connsiteX57" fmla="*/ 2393626 w 3889897"/>
              <a:gd name="connsiteY57" fmla="*/ 57588 h 5020326"/>
              <a:gd name="connsiteX58" fmla="*/ 2667946 w 3889897"/>
              <a:gd name="connsiteY58" fmla="*/ 133788 h 5020326"/>
              <a:gd name="connsiteX59" fmla="*/ 2820346 w 3889897"/>
              <a:gd name="connsiteY59" fmla="*/ 202368 h 5020326"/>
              <a:gd name="connsiteX60" fmla="*/ 3102286 w 3889897"/>
              <a:gd name="connsiteY60" fmla="*/ 400488 h 5020326"/>
              <a:gd name="connsiteX61" fmla="*/ 3285166 w 3889897"/>
              <a:gd name="connsiteY61" fmla="*/ 651948 h 5020326"/>
              <a:gd name="connsiteX62" fmla="*/ 3407086 w 3889897"/>
              <a:gd name="connsiteY62" fmla="*/ 918648 h 5020326"/>
              <a:gd name="connsiteX63" fmla="*/ 3475666 w 3889897"/>
              <a:gd name="connsiteY63" fmla="*/ 1238688 h 5020326"/>
              <a:gd name="connsiteX64" fmla="*/ 3506146 w 3889897"/>
              <a:gd name="connsiteY64" fmla="*/ 1543488 h 5020326"/>
              <a:gd name="connsiteX65" fmla="*/ 3506146 w 3889897"/>
              <a:gd name="connsiteY65" fmla="*/ 1962588 h 5020326"/>
              <a:gd name="connsiteX66" fmla="*/ 3338506 w 3889897"/>
              <a:gd name="connsiteY66" fmla="*/ 2305488 h 5020326"/>
              <a:gd name="connsiteX67" fmla="*/ 3254686 w 3889897"/>
              <a:gd name="connsiteY67" fmla="*/ 2473128 h 5020326"/>
              <a:gd name="connsiteX68" fmla="*/ 3132766 w 3889897"/>
              <a:gd name="connsiteY68" fmla="*/ 2663628 h 5020326"/>
              <a:gd name="connsiteX69" fmla="*/ 3071806 w 3889897"/>
              <a:gd name="connsiteY69" fmla="*/ 2838888 h 5020326"/>
              <a:gd name="connsiteX70" fmla="*/ 3064186 w 3889897"/>
              <a:gd name="connsiteY70" fmla="*/ 2915088 h 5020326"/>
              <a:gd name="connsiteX71" fmla="*/ 3018466 w 3889897"/>
              <a:gd name="connsiteY71" fmla="*/ 3014148 h 5020326"/>
              <a:gd name="connsiteX72" fmla="*/ 2980366 w 3889897"/>
              <a:gd name="connsiteY72" fmla="*/ 3082728 h 5020326"/>
              <a:gd name="connsiteX73" fmla="*/ 2957506 w 3889897"/>
              <a:gd name="connsiteY73" fmla="*/ 3120828 h 5020326"/>
              <a:gd name="connsiteX74" fmla="*/ 2957506 w 3889897"/>
              <a:gd name="connsiteY74" fmla="*/ 3555168 h 5020326"/>
              <a:gd name="connsiteX75" fmla="*/ 3010846 w 3889897"/>
              <a:gd name="connsiteY75" fmla="*/ 3539928 h 5020326"/>
              <a:gd name="connsiteX76" fmla="*/ 3109906 w 3889897"/>
              <a:gd name="connsiteY76" fmla="*/ 3570408 h 5020326"/>
              <a:gd name="connsiteX77" fmla="*/ 3140386 w 3889897"/>
              <a:gd name="connsiteY77" fmla="*/ 3631368 h 5020326"/>
              <a:gd name="connsiteX78" fmla="*/ 3117526 w 3889897"/>
              <a:gd name="connsiteY78" fmla="*/ 3738048 h 5020326"/>
              <a:gd name="connsiteX79" fmla="*/ 3125146 w 3889897"/>
              <a:gd name="connsiteY79" fmla="*/ 4103808 h 5020326"/>
              <a:gd name="connsiteX80" fmla="*/ 3231826 w 3889897"/>
              <a:gd name="connsiteY80" fmla="*/ 4172388 h 5020326"/>
              <a:gd name="connsiteX81" fmla="*/ 3285166 w 3889897"/>
              <a:gd name="connsiteY81" fmla="*/ 4294308 h 5020326"/>
              <a:gd name="connsiteX82" fmla="*/ 3330886 w 3889897"/>
              <a:gd name="connsiteY82" fmla="*/ 4408608 h 5020326"/>
              <a:gd name="connsiteX83" fmla="*/ 3551866 w 3889897"/>
              <a:gd name="connsiteY83" fmla="*/ 4644828 h 5020326"/>
              <a:gd name="connsiteX84" fmla="*/ 3889897 w 3889897"/>
              <a:gd name="connsiteY84" fmla="*/ 5020326 h 5020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3889897" h="5020326">
                <a:moveTo>
                  <a:pt x="712990" y="5019479"/>
                </a:moveTo>
                <a:cubicBezTo>
                  <a:pt x="766965" y="4944867"/>
                  <a:pt x="856220" y="4786010"/>
                  <a:pt x="961066" y="4644828"/>
                </a:cubicBezTo>
                <a:cubicBezTo>
                  <a:pt x="1065912" y="4503646"/>
                  <a:pt x="1292536" y="4277798"/>
                  <a:pt x="1342066" y="4172388"/>
                </a:cubicBezTo>
                <a:cubicBezTo>
                  <a:pt x="1391596" y="4066978"/>
                  <a:pt x="1281106" y="4053008"/>
                  <a:pt x="1258246" y="4012368"/>
                </a:cubicBezTo>
                <a:cubicBezTo>
                  <a:pt x="1235386" y="3971728"/>
                  <a:pt x="1218876" y="3969188"/>
                  <a:pt x="1204906" y="3928548"/>
                </a:cubicBezTo>
                <a:cubicBezTo>
                  <a:pt x="1190936" y="3887908"/>
                  <a:pt x="1184586" y="3811708"/>
                  <a:pt x="1174426" y="3768528"/>
                </a:cubicBezTo>
                <a:cubicBezTo>
                  <a:pt x="1164266" y="3725348"/>
                  <a:pt x="1161726" y="3687248"/>
                  <a:pt x="1143946" y="3669468"/>
                </a:cubicBezTo>
                <a:cubicBezTo>
                  <a:pt x="1126166" y="3651688"/>
                  <a:pt x="1102036" y="3661848"/>
                  <a:pt x="1067746" y="3661848"/>
                </a:cubicBezTo>
                <a:cubicBezTo>
                  <a:pt x="1033456" y="3661848"/>
                  <a:pt x="977576" y="3664388"/>
                  <a:pt x="938206" y="3669468"/>
                </a:cubicBezTo>
                <a:cubicBezTo>
                  <a:pt x="898836" y="3674548"/>
                  <a:pt x="831526" y="3692328"/>
                  <a:pt x="831526" y="3692328"/>
                </a:cubicBezTo>
                <a:cubicBezTo>
                  <a:pt x="776916" y="3703758"/>
                  <a:pt x="684206" y="3746938"/>
                  <a:pt x="610546" y="3738048"/>
                </a:cubicBezTo>
                <a:cubicBezTo>
                  <a:pt x="536886" y="3729158"/>
                  <a:pt x="427666" y="3707568"/>
                  <a:pt x="389566" y="3638988"/>
                </a:cubicBezTo>
                <a:cubicBezTo>
                  <a:pt x="351466" y="3570408"/>
                  <a:pt x="376866" y="3395148"/>
                  <a:pt x="381946" y="3326568"/>
                </a:cubicBezTo>
                <a:cubicBezTo>
                  <a:pt x="387026" y="3257988"/>
                  <a:pt x="418776" y="3254178"/>
                  <a:pt x="420046" y="3227508"/>
                </a:cubicBezTo>
                <a:cubicBezTo>
                  <a:pt x="421316" y="3200838"/>
                  <a:pt x="400996" y="3186868"/>
                  <a:pt x="389566" y="3166548"/>
                </a:cubicBezTo>
                <a:cubicBezTo>
                  <a:pt x="378136" y="3146228"/>
                  <a:pt x="350196" y="3129718"/>
                  <a:pt x="351466" y="3105588"/>
                </a:cubicBezTo>
                <a:cubicBezTo>
                  <a:pt x="352736" y="3081458"/>
                  <a:pt x="374326" y="3039548"/>
                  <a:pt x="397186" y="3021768"/>
                </a:cubicBezTo>
                <a:cubicBezTo>
                  <a:pt x="420046" y="3003988"/>
                  <a:pt x="476164" y="3012084"/>
                  <a:pt x="488626" y="2998908"/>
                </a:cubicBezTo>
                <a:cubicBezTo>
                  <a:pt x="501088" y="2985732"/>
                  <a:pt x="480846" y="2954139"/>
                  <a:pt x="471956" y="2942709"/>
                </a:cubicBezTo>
                <a:cubicBezTo>
                  <a:pt x="463066" y="2931279"/>
                  <a:pt x="449018" y="2932392"/>
                  <a:pt x="435286" y="2930328"/>
                </a:cubicBezTo>
                <a:cubicBezTo>
                  <a:pt x="421554" y="2928265"/>
                  <a:pt x="409780" y="2936467"/>
                  <a:pt x="389566" y="2930328"/>
                </a:cubicBezTo>
                <a:cubicBezTo>
                  <a:pt x="369352" y="2924189"/>
                  <a:pt x="325430" y="2907465"/>
                  <a:pt x="314000" y="2893495"/>
                </a:cubicBezTo>
                <a:cubicBezTo>
                  <a:pt x="302570" y="2879525"/>
                  <a:pt x="318552" y="2863229"/>
                  <a:pt x="320986" y="2846508"/>
                </a:cubicBezTo>
                <a:cubicBezTo>
                  <a:pt x="323420" y="2829787"/>
                  <a:pt x="329876" y="2812218"/>
                  <a:pt x="328606" y="2793168"/>
                </a:cubicBezTo>
                <a:cubicBezTo>
                  <a:pt x="327336" y="2774118"/>
                  <a:pt x="323526" y="2752528"/>
                  <a:pt x="313366" y="2732208"/>
                </a:cubicBezTo>
                <a:cubicBezTo>
                  <a:pt x="303206" y="2711888"/>
                  <a:pt x="290506" y="2683948"/>
                  <a:pt x="267646" y="2671248"/>
                </a:cubicBezTo>
                <a:cubicBezTo>
                  <a:pt x="244786" y="2658548"/>
                  <a:pt x="211766" y="2666168"/>
                  <a:pt x="176206" y="2656008"/>
                </a:cubicBezTo>
                <a:cubicBezTo>
                  <a:pt x="140646" y="2645848"/>
                  <a:pt x="82332" y="2625740"/>
                  <a:pt x="54286" y="2610288"/>
                </a:cubicBezTo>
                <a:cubicBezTo>
                  <a:pt x="26240" y="2594836"/>
                  <a:pt x="15551" y="2583618"/>
                  <a:pt x="7931" y="2563298"/>
                </a:cubicBezTo>
                <a:cubicBezTo>
                  <a:pt x="311" y="2542978"/>
                  <a:pt x="-5510" y="2526256"/>
                  <a:pt x="8566" y="2488368"/>
                </a:cubicBezTo>
                <a:cubicBezTo>
                  <a:pt x="22642" y="2450480"/>
                  <a:pt x="56826" y="2388038"/>
                  <a:pt x="92386" y="2335968"/>
                </a:cubicBezTo>
                <a:cubicBezTo>
                  <a:pt x="127946" y="2283898"/>
                  <a:pt x="190176" y="2217858"/>
                  <a:pt x="221926" y="2175948"/>
                </a:cubicBezTo>
                <a:cubicBezTo>
                  <a:pt x="253676" y="2134038"/>
                  <a:pt x="265106" y="2117528"/>
                  <a:pt x="282886" y="2084508"/>
                </a:cubicBezTo>
                <a:cubicBezTo>
                  <a:pt x="300666" y="2051488"/>
                  <a:pt x="315906" y="2013388"/>
                  <a:pt x="328606" y="1977828"/>
                </a:cubicBezTo>
                <a:cubicBezTo>
                  <a:pt x="341306" y="1942268"/>
                  <a:pt x="351466" y="1899088"/>
                  <a:pt x="359086" y="1871148"/>
                </a:cubicBezTo>
                <a:cubicBezTo>
                  <a:pt x="366706" y="1843208"/>
                  <a:pt x="376866" y="1829238"/>
                  <a:pt x="374326" y="1810188"/>
                </a:cubicBezTo>
                <a:cubicBezTo>
                  <a:pt x="371786" y="1791138"/>
                  <a:pt x="351466" y="1778438"/>
                  <a:pt x="343846" y="1756848"/>
                </a:cubicBezTo>
                <a:cubicBezTo>
                  <a:pt x="336226" y="1735258"/>
                  <a:pt x="317176" y="1727638"/>
                  <a:pt x="328606" y="1680648"/>
                </a:cubicBezTo>
                <a:cubicBezTo>
                  <a:pt x="340036" y="1633658"/>
                  <a:pt x="393376" y="1537138"/>
                  <a:pt x="412426" y="1474908"/>
                </a:cubicBezTo>
                <a:cubicBezTo>
                  <a:pt x="431476" y="1412678"/>
                  <a:pt x="434016" y="1354258"/>
                  <a:pt x="442906" y="1307268"/>
                </a:cubicBezTo>
                <a:cubicBezTo>
                  <a:pt x="451796" y="1260278"/>
                  <a:pt x="455606" y="1234878"/>
                  <a:pt x="465766" y="1192968"/>
                </a:cubicBezTo>
                <a:cubicBezTo>
                  <a:pt x="475926" y="1151058"/>
                  <a:pt x="488626" y="1106608"/>
                  <a:pt x="503866" y="1055808"/>
                </a:cubicBezTo>
                <a:cubicBezTo>
                  <a:pt x="519106" y="1005008"/>
                  <a:pt x="557206" y="916108"/>
                  <a:pt x="557206" y="888168"/>
                </a:cubicBezTo>
                <a:cubicBezTo>
                  <a:pt x="557206" y="860228"/>
                  <a:pt x="527996" y="897058"/>
                  <a:pt x="503866" y="888168"/>
                </a:cubicBezTo>
                <a:cubicBezTo>
                  <a:pt x="479736" y="879278"/>
                  <a:pt x="441636" y="851338"/>
                  <a:pt x="412426" y="834828"/>
                </a:cubicBezTo>
                <a:cubicBezTo>
                  <a:pt x="383216" y="818318"/>
                  <a:pt x="354006" y="799268"/>
                  <a:pt x="328606" y="789108"/>
                </a:cubicBezTo>
                <a:cubicBezTo>
                  <a:pt x="303206" y="778948"/>
                  <a:pt x="279076" y="780218"/>
                  <a:pt x="260026" y="773868"/>
                </a:cubicBezTo>
                <a:cubicBezTo>
                  <a:pt x="240976" y="767518"/>
                  <a:pt x="214306" y="767518"/>
                  <a:pt x="214306" y="751008"/>
                </a:cubicBezTo>
                <a:cubicBezTo>
                  <a:pt x="214306" y="734498"/>
                  <a:pt x="233356" y="698938"/>
                  <a:pt x="260026" y="674808"/>
                </a:cubicBezTo>
                <a:cubicBezTo>
                  <a:pt x="286696" y="650678"/>
                  <a:pt x="324796" y="634168"/>
                  <a:pt x="374326" y="606228"/>
                </a:cubicBezTo>
                <a:cubicBezTo>
                  <a:pt x="423856" y="578288"/>
                  <a:pt x="510216" y="537648"/>
                  <a:pt x="557206" y="507168"/>
                </a:cubicBezTo>
                <a:cubicBezTo>
                  <a:pt x="604196" y="476688"/>
                  <a:pt x="600386" y="469068"/>
                  <a:pt x="656266" y="423348"/>
                </a:cubicBezTo>
                <a:cubicBezTo>
                  <a:pt x="712146" y="377628"/>
                  <a:pt x="806126" y="289998"/>
                  <a:pt x="892486" y="232848"/>
                </a:cubicBezTo>
                <a:cubicBezTo>
                  <a:pt x="978846" y="175698"/>
                  <a:pt x="1057586" y="117278"/>
                  <a:pt x="1174426" y="80448"/>
                </a:cubicBezTo>
                <a:cubicBezTo>
                  <a:pt x="1291266" y="43618"/>
                  <a:pt x="1465256" y="24568"/>
                  <a:pt x="1593526" y="11868"/>
                </a:cubicBezTo>
                <a:cubicBezTo>
                  <a:pt x="1721796" y="-832"/>
                  <a:pt x="1847526" y="5518"/>
                  <a:pt x="1944046" y="4248"/>
                </a:cubicBezTo>
                <a:cubicBezTo>
                  <a:pt x="2040566" y="2978"/>
                  <a:pt x="2097716" y="-4642"/>
                  <a:pt x="2172646" y="4248"/>
                </a:cubicBezTo>
                <a:cubicBezTo>
                  <a:pt x="2247576" y="13138"/>
                  <a:pt x="2311076" y="35998"/>
                  <a:pt x="2393626" y="57588"/>
                </a:cubicBezTo>
                <a:cubicBezTo>
                  <a:pt x="2476176" y="79178"/>
                  <a:pt x="2596826" y="109658"/>
                  <a:pt x="2667946" y="133788"/>
                </a:cubicBezTo>
                <a:cubicBezTo>
                  <a:pt x="2739066" y="157918"/>
                  <a:pt x="2747956" y="157918"/>
                  <a:pt x="2820346" y="202368"/>
                </a:cubicBezTo>
                <a:cubicBezTo>
                  <a:pt x="2892736" y="246818"/>
                  <a:pt x="3024816" y="325558"/>
                  <a:pt x="3102286" y="400488"/>
                </a:cubicBezTo>
                <a:cubicBezTo>
                  <a:pt x="3179756" y="475418"/>
                  <a:pt x="3234366" y="565588"/>
                  <a:pt x="3285166" y="651948"/>
                </a:cubicBezTo>
                <a:cubicBezTo>
                  <a:pt x="3335966" y="738308"/>
                  <a:pt x="3375336" y="820858"/>
                  <a:pt x="3407086" y="918648"/>
                </a:cubicBezTo>
                <a:cubicBezTo>
                  <a:pt x="3438836" y="1016438"/>
                  <a:pt x="3459156" y="1134548"/>
                  <a:pt x="3475666" y="1238688"/>
                </a:cubicBezTo>
                <a:cubicBezTo>
                  <a:pt x="3492176" y="1342828"/>
                  <a:pt x="3501066" y="1422838"/>
                  <a:pt x="3506146" y="1543488"/>
                </a:cubicBezTo>
                <a:cubicBezTo>
                  <a:pt x="3511226" y="1664138"/>
                  <a:pt x="3534086" y="1835588"/>
                  <a:pt x="3506146" y="1962588"/>
                </a:cubicBezTo>
                <a:cubicBezTo>
                  <a:pt x="3478206" y="2089588"/>
                  <a:pt x="3380416" y="2220398"/>
                  <a:pt x="3338506" y="2305488"/>
                </a:cubicBezTo>
                <a:cubicBezTo>
                  <a:pt x="3296596" y="2390578"/>
                  <a:pt x="3288976" y="2413438"/>
                  <a:pt x="3254686" y="2473128"/>
                </a:cubicBezTo>
                <a:cubicBezTo>
                  <a:pt x="3220396" y="2532818"/>
                  <a:pt x="3163246" y="2602668"/>
                  <a:pt x="3132766" y="2663628"/>
                </a:cubicBezTo>
                <a:cubicBezTo>
                  <a:pt x="3102286" y="2724588"/>
                  <a:pt x="3083236" y="2796978"/>
                  <a:pt x="3071806" y="2838888"/>
                </a:cubicBezTo>
                <a:cubicBezTo>
                  <a:pt x="3060376" y="2880798"/>
                  <a:pt x="3073076" y="2885878"/>
                  <a:pt x="3064186" y="2915088"/>
                </a:cubicBezTo>
                <a:cubicBezTo>
                  <a:pt x="3055296" y="2944298"/>
                  <a:pt x="3032436" y="2986208"/>
                  <a:pt x="3018466" y="3014148"/>
                </a:cubicBezTo>
                <a:cubicBezTo>
                  <a:pt x="3004496" y="3042088"/>
                  <a:pt x="2990526" y="3064948"/>
                  <a:pt x="2980366" y="3082728"/>
                </a:cubicBezTo>
                <a:cubicBezTo>
                  <a:pt x="2970206" y="3100508"/>
                  <a:pt x="2961316" y="3042088"/>
                  <a:pt x="2957506" y="3120828"/>
                </a:cubicBezTo>
                <a:cubicBezTo>
                  <a:pt x="2953696" y="3199568"/>
                  <a:pt x="2948616" y="3485318"/>
                  <a:pt x="2957506" y="3555168"/>
                </a:cubicBezTo>
                <a:cubicBezTo>
                  <a:pt x="2966396" y="3625018"/>
                  <a:pt x="2985446" y="3537388"/>
                  <a:pt x="3010846" y="3539928"/>
                </a:cubicBezTo>
                <a:cubicBezTo>
                  <a:pt x="3036246" y="3542468"/>
                  <a:pt x="3088316" y="3555168"/>
                  <a:pt x="3109906" y="3570408"/>
                </a:cubicBezTo>
                <a:cubicBezTo>
                  <a:pt x="3131496" y="3585648"/>
                  <a:pt x="3139116" y="3603428"/>
                  <a:pt x="3140386" y="3631368"/>
                </a:cubicBezTo>
                <a:cubicBezTo>
                  <a:pt x="3141656" y="3659308"/>
                  <a:pt x="3120066" y="3659308"/>
                  <a:pt x="3117526" y="3738048"/>
                </a:cubicBezTo>
                <a:cubicBezTo>
                  <a:pt x="3114986" y="3816788"/>
                  <a:pt x="3106096" y="4031418"/>
                  <a:pt x="3125146" y="4103808"/>
                </a:cubicBezTo>
                <a:cubicBezTo>
                  <a:pt x="3144196" y="4176198"/>
                  <a:pt x="3205156" y="4140638"/>
                  <a:pt x="3231826" y="4172388"/>
                </a:cubicBezTo>
                <a:cubicBezTo>
                  <a:pt x="3258496" y="4204138"/>
                  <a:pt x="3268656" y="4254938"/>
                  <a:pt x="3285166" y="4294308"/>
                </a:cubicBezTo>
                <a:cubicBezTo>
                  <a:pt x="3301676" y="4333678"/>
                  <a:pt x="3286436" y="4350188"/>
                  <a:pt x="3330886" y="4408608"/>
                </a:cubicBezTo>
                <a:cubicBezTo>
                  <a:pt x="3372796" y="4458138"/>
                  <a:pt x="3458698" y="4542875"/>
                  <a:pt x="3551866" y="4644828"/>
                </a:cubicBezTo>
                <a:cubicBezTo>
                  <a:pt x="3645035" y="4746781"/>
                  <a:pt x="3798457" y="4911106"/>
                  <a:pt x="3889897" y="5020326"/>
                </a:cubicBezTo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>
            <a:outerShdw blurRad="101600" dist="635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reeform 5"/>
          <p:cNvSpPr/>
          <p:nvPr/>
        </p:nvSpPr>
        <p:spPr>
          <a:xfrm>
            <a:off x="1266479" y="2659931"/>
            <a:ext cx="897300" cy="922942"/>
          </a:xfrm>
          <a:custGeom>
            <a:avLst/>
            <a:gdLst>
              <a:gd name="connsiteX0" fmla="*/ 1106997 w 2213994"/>
              <a:gd name="connsiteY0" fmla="*/ 432449 h 2180359"/>
              <a:gd name="connsiteX1" fmla="*/ 431357 w 2213994"/>
              <a:gd name="connsiteY1" fmla="*/ 1108089 h 2180359"/>
              <a:gd name="connsiteX2" fmla="*/ 1106997 w 2213994"/>
              <a:gd name="connsiteY2" fmla="*/ 1783729 h 2180359"/>
              <a:gd name="connsiteX3" fmla="*/ 1782637 w 2213994"/>
              <a:gd name="connsiteY3" fmla="*/ 1108089 h 2180359"/>
              <a:gd name="connsiteX4" fmla="*/ 1106997 w 2213994"/>
              <a:gd name="connsiteY4" fmla="*/ 432449 h 2180359"/>
              <a:gd name="connsiteX5" fmla="*/ 1016339 w 2213994"/>
              <a:gd name="connsiteY5" fmla="*/ 0 h 2180359"/>
              <a:gd name="connsiteX6" fmla="*/ 1197655 w 2213994"/>
              <a:gd name="connsiteY6" fmla="*/ 0 h 2180359"/>
              <a:gd name="connsiteX7" fmla="*/ 1237062 w 2213994"/>
              <a:gd name="connsiteY7" fmla="*/ 223520 h 2180359"/>
              <a:gd name="connsiteX8" fmla="*/ 1575952 w 2213994"/>
              <a:gd name="connsiteY8" fmla="*/ 346866 h 2180359"/>
              <a:gd name="connsiteX9" fmla="*/ 1749815 w 2213994"/>
              <a:gd name="connsiteY9" fmla="*/ 200970 h 2180359"/>
              <a:gd name="connsiteX10" fmla="*/ 1888711 w 2213994"/>
              <a:gd name="connsiteY10" fmla="*/ 317518 h 2180359"/>
              <a:gd name="connsiteX11" fmla="*/ 1775222 w 2213994"/>
              <a:gd name="connsiteY11" fmla="*/ 514074 h 2180359"/>
              <a:gd name="connsiteX12" fmla="*/ 1955541 w 2213994"/>
              <a:gd name="connsiteY12" fmla="*/ 826396 h 2180359"/>
              <a:gd name="connsiteX13" fmla="*/ 2182509 w 2213994"/>
              <a:gd name="connsiteY13" fmla="*/ 826390 h 2180359"/>
              <a:gd name="connsiteX14" fmla="*/ 2213994 w 2213994"/>
              <a:gd name="connsiteY14" fmla="*/ 1004952 h 2180359"/>
              <a:gd name="connsiteX15" fmla="*/ 2000713 w 2213994"/>
              <a:gd name="connsiteY15" fmla="*/ 1082574 h 2180359"/>
              <a:gd name="connsiteX16" fmla="*/ 1938089 w 2213994"/>
              <a:gd name="connsiteY16" fmla="*/ 1437734 h 2180359"/>
              <a:gd name="connsiteX17" fmla="*/ 2111959 w 2213994"/>
              <a:gd name="connsiteY17" fmla="*/ 1583621 h 2180359"/>
              <a:gd name="connsiteX18" fmla="*/ 2021301 w 2213994"/>
              <a:gd name="connsiteY18" fmla="*/ 1740646 h 2180359"/>
              <a:gd name="connsiteX19" fmla="*/ 1808024 w 2213994"/>
              <a:gd name="connsiteY19" fmla="*/ 1663013 h 2180359"/>
              <a:gd name="connsiteX20" fmla="*/ 1531759 w 2213994"/>
              <a:gd name="connsiteY20" fmla="*/ 1894827 h 2180359"/>
              <a:gd name="connsiteX21" fmla="*/ 1571177 w 2213994"/>
              <a:gd name="connsiteY21" fmla="*/ 2118345 h 2180359"/>
              <a:gd name="connsiteX22" fmla="*/ 1400795 w 2213994"/>
              <a:gd name="connsiteY22" fmla="*/ 2180359 h 2180359"/>
              <a:gd name="connsiteX23" fmla="*/ 1287316 w 2213994"/>
              <a:gd name="connsiteY23" fmla="*/ 1983797 h 2180359"/>
              <a:gd name="connsiteX24" fmla="*/ 926677 w 2213994"/>
              <a:gd name="connsiteY24" fmla="*/ 1983797 h 2180359"/>
              <a:gd name="connsiteX25" fmla="*/ 813199 w 2213994"/>
              <a:gd name="connsiteY25" fmla="*/ 2180359 h 2180359"/>
              <a:gd name="connsiteX26" fmla="*/ 642817 w 2213994"/>
              <a:gd name="connsiteY26" fmla="*/ 2118345 h 2180359"/>
              <a:gd name="connsiteX27" fmla="*/ 682236 w 2213994"/>
              <a:gd name="connsiteY27" fmla="*/ 1894827 h 2180359"/>
              <a:gd name="connsiteX28" fmla="*/ 405971 w 2213994"/>
              <a:gd name="connsiteY28" fmla="*/ 1663013 h 2180359"/>
              <a:gd name="connsiteX29" fmla="*/ 192693 w 2213994"/>
              <a:gd name="connsiteY29" fmla="*/ 1740646 h 2180359"/>
              <a:gd name="connsiteX30" fmla="*/ 102035 w 2213994"/>
              <a:gd name="connsiteY30" fmla="*/ 1583621 h 2180359"/>
              <a:gd name="connsiteX31" fmla="*/ 275905 w 2213994"/>
              <a:gd name="connsiteY31" fmla="*/ 1437734 h 2180359"/>
              <a:gd name="connsiteX32" fmla="*/ 213281 w 2213994"/>
              <a:gd name="connsiteY32" fmla="*/ 1082574 h 2180359"/>
              <a:gd name="connsiteX33" fmla="*/ 0 w 2213994"/>
              <a:gd name="connsiteY33" fmla="*/ 1004952 h 2180359"/>
              <a:gd name="connsiteX34" fmla="*/ 31485 w 2213994"/>
              <a:gd name="connsiteY34" fmla="*/ 826390 h 2180359"/>
              <a:gd name="connsiteX35" fmla="*/ 258452 w 2213994"/>
              <a:gd name="connsiteY35" fmla="*/ 826396 h 2180359"/>
              <a:gd name="connsiteX36" fmla="*/ 438771 w 2213994"/>
              <a:gd name="connsiteY36" fmla="*/ 514074 h 2180359"/>
              <a:gd name="connsiteX37" fmla="*/ 325283 w 2213994"/>
              <a:gd name="connsiteY37" fmla="*/ 317518 h 2180359"/>
              <a:gd name="connsiteX38" fmla="*/ 464179 w 2213994"/>
              <a:gd name="connsiteY38" fmla="*/ 200970 h 2180359"/>
              <a:gd name="connsiteX39" fmla="*/ 638042 w 2213994"/>
              <a:gd name="connsiteY39" fmla="*/ 346866 h 2180359"/>
              <a:gd name="connsiteX40" fmla="*/ 976932 w 2213994"/>
              <a:gd name="connsiteY40" fmla="*/ 223520 h 2180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213994" h="2180359">
                <a:moveTo>
                  <a:pt x="1106997" y="432449"/>
                </a:moveTo>
                <a:cubicBezTo>
                  <a:pt x="733851" y="432449"/>
                  <a:pt x="431357" y="734943"/>
                  <a:pt x="431357" y="1108089"/>
                </a:cubicBezTo>
                <a:cubicBezTo>
                  <a:pt x="431357" y="1481235"/>
                  <a:pt x="733851" y="1783729"/>
                  <a:pt x="1106997" y="1783729"/>
                </a:cubicBezTo>
                <a:cubicBezTo>
                  <a:pt x="1480143" y="1783729"/>
                  <a:pt x="1782637" y="1481235"/>
                  <a:pt x="1782637" y="1108089"/>
                </a:cubicBezTo>
                <a:cubicBezTo>
                  <a:pt x="1782637" y="734943"/>
                  <a:pt x="1480143" y="432449"/>
                  <a:pt x="1106997" y="432449"/>
                </a:cubicBezTo>
                <a:close/>
                <a:moveTo>
                  <a:pt x="1016339" y="0"/>
                </a:moveTo>
                <a:lnTo>
                  <a:pt x="1197655" y="0"/>
                </a:lnTo>
                <a:lnTo>
                  <a:pt x="1237062" y="223520"/>
                </a:lnTo>
                <a:cubicBezTo>
                  <a:pt x="1357231" y="241189"/>
                  <a:pt x="1472539" y="283158"/>
                  <a:pt x="1575952" y="346866"/>
                </a:cubicBezTo>
                <a:lnTo>
                  <a:pt x="1749815" y="200970"/>
                </a:lnTo>
                <a:lnTo>
                  <a:pt x="1888711" y="317518"/>
                </a:lnTo>
                <a:lnTo>
                  <a:pt x="1775222" y="514074"/>
                </a:lnTo>
                <a:cubicBezTo>
                  <a:pt x="1855919" y="604853"/>
                  <a:pt x="1917273" y="711121"/>
                  <a:pt x="1955541" y="826396"/>
                </a:cubicBezTo>
                <a:lnTo>
                  <a:pt x="2182509" y="826390"/>
                </a:lnTo>
                <a:lnTo>
                  <a:pt x="2213994" y="1004952"/>
                </a:lnTo>
                <a:lnTo>
                  <a:pt x="2000713" y="1082574"/>
                </a:lnTo>
                <a:cubicBezTo>
                  <a:pt x="2004179" y="1203985"/>
                  <a:pt x="1982871" y="1324830"/>
                  <a:pt x="1938089" y="1437734"/>
                </a:cubicBezTo>
                <a:lnTo>
                  <a:pt x="2111959" y="1583621"/>
                </a:lnTo>
                <a:lnTo>
                  <a:pt x="2021301" y="1740646"/>
                </a:lnTo>
                <a:lnTo>
                  <a:pt x="1808024" y="1663013"/>
                </a:lnTo>
                <a:cubicBezTo>
                  <a:pt x="1732638" y="1758248"/>
                  <a:pt x="1638637" y="1837123"/>
                  <a:pt x="1531759" y="1894827"/>
                </a:cubicBezTo>
                <a:lnTo>
                  <a:pt x="1571177" y="2118345"/>
                </a:lnTo>
                <a:lnTo>
                  <a:pt x="1400795" y="2180359"/>
                </a:lnTo>
                <a:lnTo>
                  <a:pt x="1287316" y="1983797"/>
                </a:lnTo>
                <a:cubicBezTo>
                  <a:pt x="1168351" y="2008293"/>
                  <a:pt x="1045642" y="2008293"/>
                  <a:pt x="926677" y="1983797"/>
                </a:cubicBezTo>
                <a:lnTo>
                  <a:pt x="813199" y="2180359"/>
                </a:lnTo>
                <a:lnTo>
                  <a:pt x="642817" y="2118345"/>
                </a:lnTo>
                <a:lnTo>
                  <a:pt x="682236" y="1894827"/>
                </a:lnTo>
                <a:cubicBezTo>
                  <a:pt x="575358" y="1837123"/>
                  <a:pt x="481357" y="1758247"/>
                  <a:pt x="405971" y="1663013"/>
                </a:cubicBezTo>
                <a:lnTo>
                  <a:pt x="192693" y="1740646"/>
                </a:lnTo>
                <a:lnTo>
                  <a:pt x="102035" y="1583621"/>
                </a:lnTo>
                <a:lnTo>
                  <a:pt x="275905" y="1437734"/>
                </a:lnTo>
                <a:cubicBezTo>
                  <a:pt x="231123" y="1324830"/>
                  <a:pt x="209814" y="1203985"/>
                  <a:pt x="213281" y="1082574"/>
                </a:cubicBezTo>
                <a:lnTo>
                  <a:pt x="0" y="1004952"/>
                </a:lnTo>
                <a:lnTo>
                  <a:pt x="31485" y="826390"/>
                </a:lnTo>
                <a:lnTo>
                  <a:pt x="258452" y="826396"/>
                </a:lnTo>
                <a:cubicBezTo>
                  <a:pt x="296720" y="711121"/>
                  <a:pt x="358074" y="604852"/>
                  <a:pt x="438771" y="514074"/>
                </a:cubicBezTo>
                <a:lnTo>
                  <a:pt x="325283" y="317518"/>
                </a:lnTo>
                <a:lnTo>
                  <a:pt x="464179" y="200970"/>
                </a:lnTo>
                <a:lnTo>
                  <a:pt x="638042" y="346866"/>
                </a:lnTo>
                <a:cubicBezTo>
                  <a:pt x="741454" y="283158"/>
                  <a:pt x="856763" y="241190"/>
                  <a:pt x="976932" y="223520"/>
                </a:cubicBezTo>
                <a:close/>
              </a:path>
            </a:pathLst>
          </a:custGeom>
          <a:solidFill>
            <a:srgbClr val="84DFFE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6" name="Freeform 6"/>
          <p:cNvSpPr/>
          <p:nvPr/>
        </p:nvSpPr>
        <p:spPr>
          <a:xfrm>
            <a:off x="1775197" y="3335345"/>
            <a:ext cx="1006916" cy="1035691"/>
          </a:xfrm>
          <a:custGeom>
            <a:avLst/>
            <a:gdLst>
              <a:gd name="connsiteX0" fmla="*/ 1106997 w 2213994"/>
              <a:gd name="connsiteY0" fmla="*/ 561989 h 2180359"/>
              <a:gd name="connsiteX1" fmla="*/ 560897 w 2213994"/>
              <a:gd name="connsiteY1" fmla="*/ 1108089 h 2180359"/>
              <a:gd name="connsiteX2" fmla="*/ 1106997 w 2213994"/>
              <a:gd name="connsiteY2" fmla="*/ 1654189 h 2180359"/>
              <a:gd name="connsiteX3" fmla="*/ 1653097 w 2213994"/>
              <a:gd name="connsiteY3" fmla="*/ 1108089 h 2180359"/>
              <a:gd name="connsiteX4" fmla="*/ 1106997 w 2213994"/>
              <a:gd name="connsiteY4" fmla="*/ 561989 h 2180359"/>
              <a:gd name="connsiteX5" fmla="*/ 1016339 w 2213994"/>
              <a:gd name="connsiteY5" fmla="*/ 0 h 2180359"/>
              <a:gd name="connsiteX6" fmla="*/ 1197655 w 2213994"/>
              <a:gd name="connsiteY6" fmla="*/ 0 h 2180359"/>
              <a:gd name="connsiteX7" fmla="*/ 1237062 w 2213994"/>
              <a:gd name="connsiteY7" fmla="*/ 223520 h 2180359"/>
              <a:gd name="connsiteX8" fmla="*/ 1575952 w 2213994"/>
              <a:gd name="connsiteY8" fmla="*/ 346866 h 2180359"/>
              <a:gd name="connsiteX9" fmla="*/ 1749815 w 2213994"/>
              <a:gd name="connsiteY9" fmla="*/ 200970 h 2180359"/>
              <a:gd name="connsiteX10" fmla="*/ 1888711 w 2213994"/>
              <a:gd name="connsiteY10" fmla="*/ 317518 h 2180359"/>
              <a:gd name="connsiteX11" fmla="*/ 1775222 w 2213994"/>
              <a:gd name="connsiteY11" fmla="*/ 514074 h 2180359"/>
              <a:gd name="connsiteX12" fmla="*/ 1955541 w 2213994"/>
              <a:gd name="connsiteY12" fmla="*/ 826396 h 2180359"/>
              <a:gd name="connsiteX13" fmla="*/ 2182509 w 2213994"/>
              <a:gd name="connsiteY13" fmla="*/ 826390 h 2180359"/>
              <a:gd name="connsiteX14" fmla="*/ 2213994 w 2213994"/>
              <a:gd name="connsiteY14" fmla="*/ 1004952 h 2180359"/>
              <a:gd name="connsiteX15" fmla="*/ 2000713 w 2213994"/>
              <a:gd name="connsiteY15" fmla="*/ 1082574 h 2180359"/>
              <a:gd name="connsiteX16" fmla="*/ 1938089 w 2213994"/>
              <a:gd name="connsiteY16" fmla="*/ 1437734 h 2180359"/>
              <a:gd name="connsiteX17" fmla="*/ 2111959 w 2213994"/>
              <a:gd name="connsiteY17" fmla="*/ 1583621 h 2180359"/>
              <a:gd name="connsiteX18" fmla="*/ 2021301 w 2213994"/>
              <a:gd name="connsiteY18" fmla="*/ 1740646 h 2180359"/>
              <a:gd name="connsiteX19" fmla="*/ 1808024 w 2213994"/>
              <a:gd name="connsiteY19" fmla="*/ 1663013 h 2180359"/>
              <a:gd name="connsiteX20" fmla="*/ 1531759 w 2213994"/>
              <a:gd name="connsiteY20" fmla="*/ 1894827 h 2180359"/>
              <a:gd name="connsiteX21" fmla="*/ 1571177 w 2213994"/>
              <a:gd name="connsiteY21" fmla="*/ 2118345 h 2180359"/>
              <a:gd name="connsiteX22" fmla="*/ 1400795 w 2213994"/>
              <a:gd name="connsiteY22" fmla="*/ 2180359 h 2180359"/>
              <a:gd name="connsiteX23" fmla="*/ 1287316 w 2213994"/>
              <a:gd name="connsiteY23" fmla="*/ 1983797 h 2180359"/>
              <a:gd name="connsiteX24" fmla="*/ 926677 w 2213994"/>
              <a:gd name="connsiteY24" fmla="*/ 1983797 h 2180359"/>
              <a:gd name="connsiteX25" fmla="*/ 813199 w 2213994"/>
              <a:gd name="connsiteY25" fmla="*/ 2180359 h 2180359"/>
              <a:gd name="connsiteX26" fmla="*/ 642817 w 2213994"/>
              <a:gd name="connsiteY26" fmla="*/ 2118345 h 2180359"/>
              <a:gd name="connsiteX27" fmla="*/ 682236 w 2213994"/>
              <a:gd name="connsiteY27" fmla="*/ 1894827 h 2180359"/>
              <a:gd name="connsiteX28" fmla="*/ 405971 w 2213994"/>
              <a:gd name="connsiteY28" fmla="*/ 1663013 h 2180359"/>
              <a:gd name="connsiteX29" fmla="*/ 192693 w 2213994"/>
              <a:gd name="connsiteY29" fmla="*/ 1740646 h 2180359"/>
              <a:gd name="connsiteX30" fmla="*/ 102035 w 2213994"/>
              <a:gd name="connsiteY30" fmla="*/ 1583621 h 2180359"/>
              <a:gd name="connsiteX31" fmla="*/ 275905 w 2213994"/>
              <a:gd name="connsiteY31" fmla="*/ 1437734 h 2180359"/>
              <a:gd name="connsiteX32" fmla="*/ 213281 w 2213994"/>
              <a:gd name="connsiteY32" fmla="*/ 1082574 h 2180359"/>
              <a:gd name="connsiteX33" fmla="*/ 0 w 2213994"/>
              <a:gd name="connsiteY33" fmla="*/ 1004952 h 2180359"/>
              <a:gd name="connsiteX34" fmla="*/ 31485 w 2213994"/>
              <a:gd name="connsiteY34" fmla="*/ 826390 h 2180359"/>
              <a:gd name="connsiteX35" fmla="*/ 258452 w 2213994"/>
              <a:gd name="connsiteY35" fmla="*/ 826396 h 2180359"/>
              <a:gd name="connsiteX36" fmla="*/ 438771 w 2213994"/>
              <a:gd name="connsiteY36" fmla="*/ 514074 h 2180359"/>
              <a:gd name="connsiteX37" fmla="*/ 325283 w 2213994"/>
              <a:gd name="connsiteY37" fmla="*/ 317518 h 2180359"/>
              <a:gd name="connsiteX38" fmla="*/ 464179 w 2213994"/>
              <a:gd name="connsiteY38" fmla="*/ 200970 h 2180359"/>
              <a:gd name="connsiteX39" fmla="*/ 638042 w 2213994"/>
              <a:gd name="connsiteY39" fmla="*/ 346866 h 2180359"/>
              <a:gd name="connsiteX40" fmla="*/ 976932 w 2213994"/>
              <a:gd name="connsiteY40" fmla="*/ 223520 h 2180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213994" h="2180359">
                <a:moveTo>
                  <a:pt x="1106997" y="561989"/>
                </a:moveTo>
                <a:cubicBezTo>
                  <a:pt x="805394" y="561989"/>
                  <a:pt x="560897" y="806486"/>
                  <a:pt x="560897" y="1108089"/>
                </a:cubicBezTo>
                <a:cubicBezTo>
                  <a:pt x="560897" y="1409692"/>
                  <a:pt x="805394" y="1654189"/>
                  <a:pt x="1106997" y="1654189"/>
                </a:cubicBezTo>
                <a:cubicBezTo>
                  <a:pt x="1408600" y="1654189"/>
                  <a:pt x="1653097" y="1409692"/>
                  <a:pt x="1653097" y="1108089"/>
                </a:cubicBezTo>
                <a:cubicBezTo>
                  <a:pt x="1653097" y="806486"/>
                  <a:pt x="1408600" y="561989"/>
                  <a:pt x="1106997" y="561989"/>
                </a:cubicBezTo>
                <a:close/>
                <a:moveTo>
                  <a:pt x="1016339" y="0"/>
                </a:moveTo>
                <a:lnTo>
                  <a:pt x="1197655" y="0"/>
                </a:lnTo>
                <a:lnTo>
                  <a:pt x="1237062" y="223520"/>
                </a:lnTo>
                <a:cubicBezTo>
                  <a:pt x="1357231" y="241189"/>
                  <a:pt x="1472539" y="283158"/>
                  <a:pt x="1575952" y="346866"/>
                </a:cubicBezTo>
                <a:lnTo>
                  <a:pt x="1749815" y="200970"/>
                </a:lnTo>
                <a:lnTo>
                  <a:pt x="1888711" y="317518"/>
                </a:lnTo>
                <a:lnTo>
                  <a:pt x="1775222" y="514074"/>
                </a:lnTo>
                <a:cubicBezTo>
                  <a:pt x="1855919" y="604853"/>
                  <a:pt x="1917273" y="711121"/>
                  <a:pt x="1955541" y="826396"/>
                </a:cubicBezTo>
                <a:lnTo>
                  <a:pt x="2182509" y="826390"/>
                </a:lnTo>
                <a:lnTo>
                  <a:pt x="2213994" y="1004952"/>
                </a:lnTo>
                <a:lnTo>
                  <a:pt x="2000713" y="1082574"/>
                </a:lnTo>
                <a:cubicBezTo>
                  <a:pt x="2004179" y="1203985"/>
                  <a:pt x="1982871" y="1324830"/>
                  <a:pt x="1938089" y="1437734"/>
                </a:cubicBezTo>
                <a:lnTo>
                  <a:pt x="2111959" y="1583621"/>
                </a:lnTo>
                <a:lnTo>
                  <a:pt x="2021301" y="1740646"/>
                </a:lnTo>
                <a:lnTo>
                  <a:pt x="1808024" y="1663013"/>
                </a:lnTo>
                <a:cubicBezTo>
                  <a:pt x="1732638" y="1758248"/>
                  <a:pt x="1638637" y="1837123"/>
                  <a:pt x="1531759" y="1894827"/>
                </a:cubicBezTo>
                <a:lnTo>
                  <a:pt x="1571177" y="2118345"/>
                </a:lnTo>
                <a:lnTo>
                  <a:pt x="1400795" y="2180359"/>
                </a:lnTo>
                <a:lnTo>
                  <a:pt x="1287316" y="1983797"/>
                </a:lnTo>
                <a:cubicBezTo>
                  <a:pt x="1168351" y="2008293"/>
                  <a:pt x="1045642" y="2008293"/>
                  <a:pt x="926677" y="1983797"/>
                </a:cubicBezTo>
                <a:lnTo>
                  <a:pt x="813199" y="2180359"/>
                </a:lnTo>
                <a:lnTo>
                  <a:pt x="642817" y="2118345"/>
                </a:lnTo>
                <a:lnTo>
                  <a:pt x="682236" y="1894827"/>
                </a:lnTo>
                <a:cubicBezTo>
                  <a:pt x="575358" y="1837123"/>
                  <a:pt x="481357" y="1758247"/>
                  <a:pt x="405971" y="1663013"/>
                </a:cubicBezTo>
                <a:lnTo>
                  <a:pt x="192693" y="1740646"/>
                </a:lnTo>
                <a:lnTo>
                  <a:pt x="102035" y="1583621"/>
                </a:lnTo>
                <a:lnTo>
                  <a:pt x="275905" y="1437734"/>
                </a:lnTo>
                <a:cubicBezTo>
                  <a:pt x="231123" y="1324830"/>
                  <a:pt x="209814" y="1203985"/>
                  <a:pt x="213281" y="1082574"/>
                </a:cubicBezTo>
                <a:lnTo>
                  <a:pt x="0" y="1004952"/>
                </a:lnTo>
                <a:lnTo>
                  <a:pt x="31485" y="826390"/>
                </a:lnTo>
                <a:lnTo>
                  <a:pt x="258452" y="826396"/>
                </a:lnTo>
                <a:cubicBezTo>
                  <a:pt x="296720" y="711121"/>
                  <a:pt x="358074" y="604852"/>
                  <a:pt x="438771" y="514074"/>
                </a:cubicBezTo>
                <a:lnTo>
                  <a:pt x="325283" y="317518"/>
                </a:lnTo>
                <a:lnTo>
                  <a:pt x="464179" y="200970"/>
                </a:lnTo>
                <a:lnTo>
                  <a:pt x="638042" y="346866"/>
                </a:lnTo>
                <a:cubicBezTo>
                  <a:pt x="741454" y="283158"/>
                  <a:pt x="856763" y="241190"/>
                  <a:pt x="976932" y="223520"/>
                </a:cubicBezTo>
                <a:close/>
              </a:path>
            </a:pathLst>
          </a:custGeom>
          <a:solidFill>
            <a:srgbClr val="F5C35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" name="Freeform 7"/>
          <p:cNvSpPr/>
          <p:nvPr/>
        </p:nvSpPr>
        <p:spPr>
          <a:xfrm>
            <a:off x="2145585" y="2763716"/>
            <a:ext cx="570875" cy="646964"/>
          </a:xfrm>
          <a:custGeom>
            <a:avLst/>
            <a:gdLst>
              <a:gd name="connsiteX0" fmla="*/ 731630 w 1463260"/>
              <a:gd name="connsiteY0" fmla="*/ 406741 h 1587726"/>
              <a:gd name="connsiteX1" fmla="*/ 344508 w 1463260"/>
              <a:gd name="connsiteY1" fmla="*/ 793863 h 1587726"/>
              <a:gd name="connsiteX2" fmla="*/ 731630 w 1463260"/>
              <a:gd name="connsiteY2" fmla="*/ 1180985 h 1587726"/>
              <a:gd name="connsiteX3" fmla="*/ 1118752 w 1463260"/>
              <a:gd name="connsiteY3" fmla="*/ 793863 h 1587726"/>
              <a:gd name="connsiteX4" fmla="*/ 731630 w 1463260"/>
              <a:gd name="connsiteY4" fmla="*/ 406741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406741"/>
                </a:moveTo>
                <a:cubicBezTo>
                  <a:pt x="517828" y="406741"/>
                  <a:pt x="344508" y="580061"/>
                  <a:pt x="344508" y="793863"/>
                </a:cubicBezTo>
                <a:cubicBezTo>
                  <a:pt x="344508" y="1007665"/>
                  <a:pt x="517828" y="1180985"/>
                  <a:pt x="731630" y="1180985"/>
                </a:cubicBezTo>
                <a:cubicBezTo>
                  <a:pt x="945432" y="1180985"/>
                  <a:pt x="1118752" y="1007665"/>
                  <a:pt x="1118752" y="793863"/>
                </a:cubicBezTo>
                <a:cubicBezTo>
                  <a:pt x="1118752" y="580061"/>
                  <a:pt x="945432" y="406741"/>
                  <a:pt x="731630" y="406741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53D7C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" name="Freeform 8"/>
          <p:cNvSpPr/>
          <p:nvPr/>
        </p:nvSpPr>
        <p:spPr>
          <a:xfrm rot="20700000">
            <a:off x="1195447" y="3499095"/>
            <a:ext cx="632593" cy="716909"/>
          </a:xfrm>
          <a:custGeom>
            <a:avLst/>
            <a:gdLst>
              <a:gd name="connsiteX0" fmla="*/ 823018 w 1433696"/>
              <a:gd name="connsiteY0" fmla="*/ 381592 h 1555648"/>
              <a:gd name="connsiteX1" fmla="*/ 320616 w 1433696"/>
              <a:gd name="connsiteY1" fmla="*/ 671654 h 1555648"/>
              <a:gd name="connsiteX2" fmla="*/ 610678 w 1433696"/>
              <a:gd name="connsiteY2" fmla="*/ 1174056 h 1555648"/>
              <a:gd name="connsiteX3" fmla="*/ 1113080 w 1433696"/>
              <a:gd name="connsiteY3" fmla="*/ 883994 h 1555648"/>
              <a:gd name="connsiteX4" fmla="*/ 823018 w 1433696"/>
              <a:gd name="connsiteY4" fmla="*/ 381592 h 1555648"/>
              <a:gd name="connsiteX5" fmla="*/ 803314 w 1433696"/>
              <a:gd name="connsiteY5" fmla="*/ 0 h 1555648"/>
              <a:gd name="connsiteX6" fmla="*/ 859474 w 1433696"/>
              <a:gd name="connsiteY6" fmla="*/ 238914 h 1555648"/>
              <a:gd name="connsiteX7" fmla="*/ 1112245 w 1433696"/>
              <a:gd name="connsiteY7" fmla="*/ 384851 h 1555648"/>
              <a:gd name="connsiteX8" fmla="*/ 1347230 w 1433696"/>
              <a:gd name="connsiteY8" fmla="*/ 314030 h 1555648"/>
              <a:gd name="connsiteX9" fmla="*/ 1433696 w 1433696"/>
              <a:gd name="connsiteY9" fmla="*/ 463794 h 1555648"/>
              <a:gd name="connsiteX10" fmla="*/ 1254871 w 1433696"/>
              <a:gd name="connsiteY10" fmla="*/ 631887 h 1555648"/>
              <a:gd name="connsiteX11" fmla="*/ 1254871 w 1433696"/>
              <a:gd name="connsiteY11" fmla="*/ 923761 h 1555648"/>
              <a:gd name="connsiteX12" fmla="*/ 1433696 w 1433696"/>
              <a:gd name="connsiteY12" fmla="*/ 1091854 h 1555648"/>
              <a:gd name="connsiteX13" fmla="*/ 1347230 w 1433696"/>
              <a:gd name="connsiteY13" fmla="*/ 1241618 h 1555648"/>
              <a:gd name="connsiteX14" fmla="*/ 1112245 w 1433696"/>
              <a:gd name="connsiteY14" fmla="*/ 1170797 h 1555648"/>
              <a:gd name="connsiteX15" fmla="*/ 859474 w 1433696"/>
              <a:gd name="connsiteY15" fmla="*/ 1316734 h 1555648"/>
              <a:gd name="connsiteX16" fmla="*/ 803314 w 1433696"/>
              <a:gd name="connsiteY16" fmla="*/ 1555648 h 1555648"/>
              <a:gd name="connsiteX17" fmla="*/ 630382 w 1433696"/>
              <a:gd name="connsiteY17" fmla="*/ 1555648 h 1555648"/>
              <a:gd name="connsiteX18" fmla="*/ 574222 w 1433696"/>
              <a:gd name="connsiteY18" fmla="*/ 1316734 h 1555648"/>
              <a:gd name="connsiteX19" fmla="*/ 321451 w 1433696"/>
              <a:gd name="connsiteY19" fmla="*/ 1170797 h 1555648"/>
              <a:gd name="connsiteX20" fmla="*/ 86466 w 1433696"/>
              <a:gd name="connsiteY20" fmla="*/ 1241618 h 1555648"/>
              <a:gd name="connsiteX21" fmla="*/ 0 w 1433696"/>
              <a:gd name="connsiteY21" fmla="*/ 1091854 h 1555648"/>
              <a:gd name="connsiteX22" fmla="*/ 178825 w 1433696"/>
              <a:gd name="connsiteY22" fmla="*/ 923761 h 1555648"/>
              <a:gd name="connsiteX23" fmla="*/ 178825 w 1433696"/>
              <a:gd name="connsiteY23" fmla="*/ 631887 h 1555648"/>
              <a:gd name="connsiteX24" fmla="*/ 0 w 1433696"/>
              <a:gd name="connsiteY24" fmla="*/ 463794 h 1555648"/>
              <a:gd name="connsiteX25" fmla="*/ 86466 w 1433696"/>
              <a:gd name="connsiteY25" fmla="*/ 314030 h 1555648"/>
              <a:gd name="connsiteX26" fmla="*/ 321451 w 1433696"/>
              <a:gd name="connsiteY26" fmla="*/ 384851 h 1555648"/>
              <a:gd name="connsiteX27" fmla="*/ 574222 w 1433696"/>
              <a:gd name="connsiteY27" fmla="*/ 238914 h 1555648"/>
              <a:gd name="connsiteX28" fmla="*/ 630382 w 1433696"/>
              <a:gd name="connsiteY28" fmla="*/ 0 h 1555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433696" h="1555648">
                <a:moveTo>
                  <a:pt x="823018" y="381592"/>
                </a:moveTo>
                <a:cubicBezTo>
                  <a:pt x="604185" y="322955"/>
                  <a:pt x="379252" y="452820"/>
                  <a:pt x="320616" y="671654"/>
                </a:cubicBezTo>
                <a:cubicBezTo>
                  <a:pt x="261979" y="890487"/>
                  <a:pt x="391844" y="1115420"/>
                  <a:pt x="610678" y="1174056"/>
                </a:cubicBezTo>
                <a:cubicBezTo>
                  <a:pt x="829511" y="1232693"/>
                  <a:pt x="1054444" y="1102828"/>
                  <a:pt x="1113080" y="883994"/>
                </a:cubicBezTo>
                <a:cubicBezTo>
                  <a:pt x="1171717" y="665161"/>
                  <a:pt x="1041852" y="440228"/>
                  <a:pt x="823018" y="381592"/>
                </a:cubicBezTo>
                <a:close/>
                <a:moveTo>
                  <a:pt x="803314" y="0"/>
                </a:moveTo>
                <a:lnTo>
                  <a:pt x="859474" y="238914"/>
                </a:lnTo>
                <a:cubicBezTo>
                  <a:pt x="955196" y="264248"/>
                  <a:pt x="1042444" y="314620"/>
                  <a:pt x="1112245" y="384851"/>
                </a:cubicBezTo>
                <a:lnTo>
                  <a:pt x="1347230" y="314030"/>
                </a:lnTo>
                <a:lnTo>
                  <a:pt x="1433696" y="463794"/>
                </a:lnTo>
                <a:lnTo>
                  <a:pt x="1254871" y="631887"/>
                </a:lnTo>
                <a:cubicBezTo>
                  <a:pt x="1280793" y="727452"/>
                  <a:pt x="1280793" y="828197"/>
                  <a:pt x="1254871" y="923761"/>
                </a:cubicBezTo>
                <a:lnTo>
                  <a:pt x="1433696" y="1091854"/>
                </a:lnTo>
                <a:lnTo>
                  <a:pt x="1347230" y="1241618"/>
                </a:lnTo>
                <a:lnTo>
                  <a:pt x="1112245" y="1170797"/>
                </a:lnTo>
                <a:cubicBezTo>
                  <a:pt x="1042444" y="1241028"/>
                  <a:pt x="955197" y="1291401"/>
                  <a:pt x="859474" y="1316734"/>
                </a:cubicBezTo>
                <a:lnTo>
                  <a:pt x="803314" y="1555648"/>
                </a:lnTo>
                <a:lnTo>
                  <a:pt x="630382" y="1555648"/>
                </a:lnTo>
                <a:lnTo>
                  <a:pt x="574222" y="1316734"/>
                </a:lnTo>
                <a:cubicBezTo>
                  <a:pt x="478500" y="1291400"/>
                  <a:pt x="391252" y="1241028"/>
                  <a:pt x="321451" y="1170797"/>
                </a:cubicBezTo>
                <a:lnTo>
                  <a:pt x="86466" y="1241618"/>
                </a:lnTo>
                <a:lnTo>
                  <a:pt x="0" y="1091854"/>
                </a:lnTo>
                <a:lnTo>
                  <a:pt x="178825" y="923761"/>
                </a:lnTo>
                <a:cubicBezTo>
                  <a:pt x="152903" y="828196"/>
                  <a:pt x="152903" y="727451"/>
                  <a:pt x="178825" y="631887"/>
                </a:cubicBezTo>
                <a:lnTo>
                  <a:pt x="0" y="463794"/>
                </a:lnTo>
                <a:lnTo>
                  <a:pt x="86466" y="314030"/>
                </a:lnTo>
                <a:lnTo>
                  <a:pt x="321451" y="384851"/>
                </a:lnTo>
                <a:cubicBezTo>
                  <a:pt x="391252" y="314620"/>
                  <a:pt x="478499" y="264247"/>
                  <a:pt x="574222" y="238914"/>
                </a:cubicBezTo>
                <a:lnTo>
                  <a:pt x="630382" y="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Freeform 9"/>
          <p:cNvSpPr/>
          <p:nvPr/>
        </p:nvSpPr>
        <p:spPr>
          <a:xfrm>
            <a:off x="956844" y="3183291"/>
            <a:ext cx="352600" cy="399597"/>
          </a:xfrm>
          <a:custGeom>
            <a:avLst/>
            <a:gdLst>
              <a:gd name="connsiteX0" fmla="*/ 731630 w 1463260"/>
              <a:gd name="connsiteY0" fmla="*/ 406741 h 1587726"/>
              <a:gd name="connsiteX1" fmla="*/ 344508 w 1463260"/>
              <a:gd name="connsiteY1" fmla="*/ 793863 h 1587726"/>
              <a:gd name="connsiteX2" fmla="*/ 731630 w 1463260"/>
              <a:gd name="connsiteY2" fmla="*/ 1180985 h 1587726"/>
              <a:gd name="connsiteX3" fmla="*/ 1118752 w 1463260"/>
              <a:gd name="connsiteY3" fmla="*/ 793863 h 1587726"/>
              <a:gd name="connsiteX4" fmla="*/ 731630 w 1463260"/>
              <a:gd name="connsiteY4" fmla="*/ 406741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406741"/>
                </a:moveTo>
                <a:cubicBezTo>
                  <a:pt x="517828" y="406741"/>
                  <a:pt x="344508" y="580061"/>
                  <a:pt x="344508" y="793863"/>
                </a:cubicBezTo>
                <a:cubicBezTo>
                  <a:pt x="344508" y="1007665"/>
                  <a:pt x="517828" y="1180985"/>
                  <a:pt x="731630" y="1180985"/>
                </a:cubicBezTo>
                <a:cubicBezTo>
                  <a:pt x="945432" y="1180985"/>
                  <a:pt x="1118752" y="1007665"/>
                  <a:pt x="1118752" y="793863"/>
                </a:cubicBezTo>
                <a:cubicBezTo>
                  <a:pt x="1118752" y="580061"/>
                  <a:pt x="945432" y="406741"/>
                  <a:pt x="731630" y="406741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D3D2D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" name="Freeform 10"/>
          <p:cNvSpPr/>
          <p:nvPr/>
        </p:nvSpPr>
        <p:spPr>
          <a:xfrm>
            <a:off x="2630226" y="3296979"/>
            <a:ext cx="352600" cy="399597"/>
          </a:xfrm>
          <a:custGeom>
            <a:avLst/>
            <a:gdLst>
              <a:gd name="connsiteX0" fmla="*/ 731630 w 1463260"/>
              <a:gd name="connsiteY0" fmla="*/ 406741 h 1587726"/>
              <a:gd name="connsiteX1" fmla="*/ 344508 w 1463260"/>
              <a:gd name="connsiteY1" fmla="*/ 793863 h 1587726"/>
              <a:gd name="connsiteX2" fmla="*/ 731630 w 1463260"/>
              <a:gd name="connsiteY2" fmla="*/ 1180985 h 1587726"/>
              <a:gd name="connsiteX3" fmla="*/ 1118752 w 1463260"/>
              <a:gd name="connsiteY3" fmla="*/ 793863 h 1587726"/>
              <a:gd name="connsiteX4" fmla="*/ 731630 w 1463260"/>
              <a:gd name="connsiteY4" fmla="*/ 406741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406741"/>
                </a:moveTo>
                <a:cubicBezTo>
                  <a:pt x="517828" y="406741"/>
                  <a:pt x="344508" y="580061"/>
                  <a:pt x="344508" y="793863"/>
                </a:cubicBezTo>
                <a:cubicBezTo>
                  <a:pt x="344508" y="1007665"/>
                  <a:pt x="517828" y="1180985"/>
                  <a:pt x="731630" y="1180985"/>
                </a:cubicBezTo>
                <a:cubicBezTo>
                  <a:pt x="945432" y="1180985"/>
                  <a:pt x="1118752" y="1007665"/>
                  <a:pt x="1118752" y="793863"/>
                </a:cubicBezTo>
                <a:cubicBezTo>
                  <a:pt x="1118752" y="580061"/>
                  <a:pt x="945432" y="406741"/>
                  <a:pt x="731630" y="406741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E6E7E9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Freeform 11"/>
          <p:cNvSpPr/>
          <p:nvPr/>
        </p:nvSpPr>
        <p:spPr>
          <a:xfrm rot="20700000">
            <a:off x="2083200" y="3631677"/>
            <a:ext cx="390923" cy="443027"/>
          </a:xfrm>
          <a:custGeom>
            <a:avLst/>
            <a:gdLst>
              <a:gd name="connsiteX0" fmla="*/ 840547 w 1433696"/>
              <a:gd name="connsiteY0" fmla="*/ 316176 h 1555648"/>
              <a:gd name="connsiteX1" fmla="*/ 255200 w 1433696"/>
              <a:gd name="connsiteY1" fmla="*/ 654127 h 1555648"/>
              <a:gd name="connsiteX2" fmla="*/ 593150 w 1433696"/>
              <a:gd name="connsiteY2" fmla="*/ 1239474 h 1555648"/>
              <a:gd name="connsiteX3" fmla="*/ 1178498 w 1433696"/>
              <a:gd name="connsiteY3" fmla="*/ 901524 h 1555648"/>
              <a:gd name="connsiteX4" fmla="*/ 840547 w 1433696"/>
              <a:gd name="connsiteY4" fmla="*/ 316176 h 1555648"/>
              <a:gd name="connsiteX5" fmla="*/ 803314 w 1433696"/>
              <a:gd name="connsiteY5" fmla="*/ 0 h 1555648"/>
              <a:gd name="connsiteX6" fmla="*/ 859474 w 1433696"/>
              <a:gd name="connsiteY6" fmla="*/ 238914 h 1555648"/>
              <a:gd name="connsiteX7" fmla="*/ 1112245 w 1433696"/>
              <a:gd name="connsiteY7" fmla="*/ 384851 h 1555648"/>
              <a:gd name="connsiteX8" fmla="*/ 1347230 w 1433696"/>
              <a:gd name="connsiteY8" fmla="*/ 314030 h 1555648"/>
              <a:gd name="connsiteX9" fmla="*/ 1433696 w 1433696"/>
              <a:gd name="connsiteY9" fmla="*/ 463794 h 1555648"/>
              <a:gd name="connsiteX10" fmla="*/ 1254871 w 1433696"/>
              <a:gd name="connsiteY10" fmla="*/ 631887 h 1555648"/>
              <a:gd name="connsiteX11" fmla="*/ 1254871 w 1433696"/>
              <a:gd name="connsiteY11" fmla="*/ 923761 h 1555648"/>
              <a:gd name="connsiteX12" fmla="*/ 1433696 w 1433696"/>
              <a:gd name="connsiteY12" fmla="*/ 1091854 h 1555648"/>
              <a:gd name="connsiteX13" fmla="*/ 1347230 w 1433696"/>
              <a:gd name="connsiteY13" fmla="*/ 1241618 h 1555648"/>
              <a:gd name="connsiteX14" fmla="*/ 1112245 w 1433696"/>
              <a:gd name="connsiteY14" fmla="*/ 1170797 h 1555648"/>
              <a:gd name="connsiteX15" fmla="*/ 859474 w 1433696"/>
              <a:gd name="connsiteY15" fmla="*/ 1316734 h 1555648"/>
              <a:gd name="connsiteX16" fmla="*/ 803314 w 1433696"/>
              <a:gd name="connsiteY16" fmla="*/ 1555648 h 1555648"/>
              <a:gd name="connsiteX17" fmla="*/ 630382 w 1433696"/>
              <a:gd name="connsiteY17" fmla="*/ 1555648 h 1555648"/>
              <a:gd name="connsiteX18" fmla="*/ 574222 w 1433696"/>
              <a:gd name="connsiteY18" fmla="*/ 1316734 h 1555648"/>
              <a:gd name="connsiteX19" fmla="*/ 321451 w 1433696"/>
              <a:gd name="connsiteY19" fmla="*/ 1170797 h 1555648"/>
              <a:gd name="connsiteX20" fmla="*/ 86466 w 1433696"/>
              <a:gd name="connsiteY20" fmla="*/ 1241618 h 1555648"/>
              <a:gd name="connsiteX21" fmla="*/ 0 w 1433696"/>
              <a:gd name="connsiteY21" fmla="*/ 1091854 h 1555648"/>
              <a:gd name="connsiteX22" fmla="*/ 178825 w 1433696"/>
              <a:gd name="connsiteY22" fmla="*/ 923761 h 1555648"/>
              <a:gd name="connsiteX23" fmla="*/ 178825 w 1433696"/>
              <a:gd name="connsiteY23" fmla="*/ 631887 h 1555648"/>
              <a:gd name="connsiteX24" fmla="*/ 0 w 1433696"/>
              <a:gd name="connsiteY24" fmla="*/ 463794 h 1555648"/>
              <a:gd name="connsiteX25" fmla="*/ 86466 w 1433696"/>
              <a:gd name="connsiteY25" fmla="*/ 314030 h 1555648"/>
              <a:gd name="connsiteX26" fmla="*/ 321451 w 1433696"/>
              <a:gd name="connsiteY26" fmla="*/ 384851 h 1555648"/>
              <a:gd name="connsiteX27" fmla="*/ 574222 w 1433696"/>
              <a:gd name="connsiteY27" fmla="*/ 238914 h 1555648"/>
              <a:gd name="connsiteX28" fmla="*/ 630382 w 1433696"/>
              <a:gd name="connsiteY28" fmla="*/ 0 h 1555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433696" h="1555648">
                <a:moveTo>
                  <a:pt x="840547" y="316176"/>
                </a:moveTo>
                <a:cubicBezTo>
                  <a:pt x="585585" y="247860"/>
                  <a:pt x="323517" y="399165"/>
                  <a:pt x="255200" y="654127"/>
                </a:cubicBezTo>
                <a:cubicBezTo>
                  <a:pt x="186883" y="909089"/>
                  <a:pt x="338188" y="1171157"/>
                  <a:pt x="593150" y="1239474"/>
                </a:cubicBezTo>
                <a:cubicBezTo>
                  <a:pt x="848112" y="1307791"/>
                  <a:pt x="1110181" y="1156486"/>
                  <a:pt x="1178498" y="901524"/>
                </a:cubicBezTo>
                <a:cubicBezTo>
                  <a:pt x="1246814" y="646562"/>
                  <a:pt x="1095509" y="384493"/>
                  <a:pt x="840547" y="316176"/>
                </a:cubicBezTo>
                <a:close/>
                <a:moveTo>
                  <a:pt x="803314" y="0"/>
                </a:moveTo>
                <a:lnTo>
                  <a:pt x="859474" y="238914"/>
                </a:lnTo>
                <a:cubicBezTo>
                  <a:pt x="955196" y="264248"/>
                  <a:pt x="1042444" y="314620"/>
                  <a:pt x="1112245" y="384851"/>
                </a:cubicBezTo>
                <a:lnTo>
                  <a:pt x="1347230" y="314030"/>
                </a:lnTo>
                <a:lnTo>
                  <a:pt x="1433696" y="463794"/>
                </a:lnTo>
                <a:lnTo>
                  <a:pt x="1254871" y="631887"/>
                </a:lnTo>
                <a:cubicBezTo>
                  <a:pt x="1280793" y="727452"/>
                  <a:pt x="1280793" y="828197"/>
                  <a:pt x="1254871" y="923761"/>
                </a:cubicBezTo>
                <a:lnTo>
                  <a:pt x="1433696" y="1091854"/>
                </a:lnTo>
                <a:lnTo>
                  <a:pt x="1347230" y="1241618"/>
                </a:lnTo>
                <a:lnTo>
                  <a:pt x="1112245" y="1170797"/>
                </a:lnTo>
                <a:cubicBezTo>
                  <a:pt x="1042444" y="1241028"/>
                  <a:pt x="955197" y="1291401"/>
                  <a:pt x="859474" y="1316734"/>
                </a:cubicBezTo>
                <a:lnTo>
                  <a:pt x="803314" y="1555648"/>
                </a:lnTo>
                <a:lnTo>
                  <a:pt x="630382" y="1555648"/>
                </a:lnTo>
                <a:lnTo>
                  <a:pt x="574222" y="1316734"/>
                </a:lnTo>
                <a:cubicBezTo>
                  <a:pt x="478500" y="1291400"/>
                  <a:pt x="391252" y="1241028"/>
                  <a:pt x="321451" y="1170797"/>
                </a:cubicBezTo>
                <a:lnTo>
                  <a:pt x="86466" y="1241618"/>
                </a:lnTo>
                <a:lnTo>
                  <a:pt x="0" y="1091854"/>
                </a:lnTo>
                <a:lnTo>
                  <a:pt x="178825" y="923761"/>
                </a:lnTo>
                <a:cubicBezTo>
                  <a:pt x="152903" y="828196"/>
                  <a:pt x="152903" y="727451"/>
                  <a:pt x="178825" y="631887"/>
                </a:cubicBezTo>
                <a:lnTo>
                  <a:pt x="0" y="463794"/>
                </a:lnTo>
                <a:lnTo>
                  <a:pt x="86466" y="314030"/>
                </a:lnTo>
                <a:lnTo>
                  <a:pt x="321451" y="384851"/>
                </a:lnTo>
                <a:cubicBezTo>
                  <a:pt x="391252" y="314620"/>
                  <a:pt x="478499" y="264247"/>
                  <a:pt x="574222" y="238914"/>
                </a:cubicBezTo>
                <a:lnTo>
                  <a:pt x="630382" y="0"/>
                </a:lnTo>
                <a:close/>
              </a:path>
            </a:pathLst>
          </a:custGeom>
          <a:solidFill>
            <a:srgbClr val="F5C35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2" name="Freeform 12"/>
          <p:cNvSpPr/>
          <p:nvPr/>
        </p:nvSpPr>
        <p:spPr>
          <a:xfrm>
            <a:off x="1515017" y="2890713"/>
            <a:ext cx="407141" cy="461407"/>
          </a:xfrm>
          <a:custGeom>
            <a:avLst/>
            <a:gdLst>
              <a:gd name="connsiteX0" fmla="*/ 731630 w 1463260"/>
              <a:gd name="connsiteY0" fmla="*/ 383653 h 1587726"/>
              <a:gd name="connsiteX1" fmla="*/ 321420 w 1463260"/>
              <a:gd name="connsiteY1" fmla="*/ 793863 h 1587726"/>
              <a:gd name="connsiteX2" fmla="*/ 731630 w 1463260"/>
              <a:gd name="connsiteY2" fmla="*/ 1204073 h 1587726"/>
              <a:gd name="connsiteX3" fmla="*/ 1141840 w 1463260"/>
              <a:gd name="connsiteY3" fmla="*/ 793863 h 1587726"/>
              <a:gd name="connsiteX4" fmla="*/ 731630 w 1463260"/>
              <a:gd name="connsiteY4" fmla="*/ 383653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383653"/>
                </a:moveTo>
                <a:cubicBezTo>
                  <a:pt x="505077" y="383653"/>
                  <a:pt x="321420" y="567310"/>
                  <a:pt x="321420" y="793863"/>
                </a:cubicBezTo>
                <a:cubicBezTo>
                  <a:pt x="321420" y="1020416"/>
                  <a:pt x="505077" y="1204073"/>
                  <a:pt x="731630" y="1204073"/>
                </a:cubicBezTo>
                <a:cubicBezTo>
                  <a:pt x="958183" y="1204073"/>
                  <a:pt x="1141840" y="1020416"/>
                  <a:pt x="1141840" y="793863"/>
                </a:cubicBezTo>
                <a:cubicBezTo>
                  <a:pt x="1141840" y="567310"/>
                  <a:pt x="958183" y="383653"/>
                  <a:pt x="731630" y="383653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84DFFE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 13"/>
          <p:cNvSpPr/>
          <p:nvPr/>
        </p:nvSpPr>
        <p:spPr>
          <a:xfrm>
            <a:off x="958494" y="2659931"/>
            <a:ext cx="395896" cy="407210"/>
          </a:xfrm>
          <a:custGeom>
            <a:avLst/>
            <a:gdLst>
              <a:gd name="connsiteX0" fmla="*/ 1106997 w 2213994"/>
              <a:gd name="connsiteY0" fmla="*/ 561989 h 2180359"/>
              <a:gd name="connsiteX1" fmla="*/ 560897 w 2213994"/>
              <a:gd name="connsiteY1" fmla="*/ 1108089 h 2180359"/>
              <a:gd name="connsiteX2" fmla="*/ 1106997 w 2213994"/>
              <a:gd name="connsiteY2" fmla="*/ 1654189 h 2180359"/>
              <a:gd name="connsiteX3" fmla="*/ 1653097 w 2213994"/>
              <a:gd name="connsiteY3" fmla="*/ 1108089 h 2180359"/>
              <a:gd name="connsiteX4" fmla="*/ 1106997 w 2213994"/>
              <a:gd name="connsiteY4" fmla="*/ 561989 h 2180359"/>
              <a:gd name="connsiteX5" fmla="*/ 1016339 w 2213994"/>
              <a:gd name="connsiteY5" fmla="*/ 0 h 2180359"/>
              <a:gd name="connsiteX6" fmla="*/ 1197655 w 2213994"/>
              <a:gd name="connsiteY6" fmla="*/ 0 h 2180359"/>
              <a:gd name="connsiteX7" fmla="*/ 1237062 w 2213994"/>
              <a:gd name="connsiteY7" fmla="*/ 223520 h 2180359"/>
              <a:gd name="connsiteX8" fmla="*/ 1575952 w 2213994"/>
              <a:gd name="connsiteY8" fmla="*/ 346866 h 2180359"/>
              <a:gd name="connsiteX9" fmla="*/ 1749815 w 2213994"/>
              <a:gd name="connsiteY9" fmla="*/ 200970 h 2180359"/>
              <a:gd name="connsiteX10" fmla="*/ 1888711 w 2213994"/>
              <a:gd name="connsiteY10" fmla="*/ 317518 h 2180359"/>
              <a:gd name="connsiteX11" fmla="*/ 1775222 w 2213994"/>
              <a:gd name="connsiteY11" fmla="*/ 514074 h 2180359"/>
              <a:gd name="connsiteX12" fmla="*/ 1955541 w 2213994"/>
              <a:gd name="connsiteY12" fmla="*/ 826396 h 2180359"/>
              <a:gd name="connsiteX13" fmla="*/ 2182509 w 2213994"/>
              <a:gd name="connsiteY13" fmla="*/ 826390 h 2180359"/>
              <a:gd name="connsiteX14" fmla="*/ 2213994 w 2213994"/>
              <a:gd name="connsiteY14" fmla="*/ 1004952 h 2180359"/>
              <a:gd name="connsiteX15" fmla="*/ 2000713 w 2213994"/>
              <a:gd name="connsiteY15" fmla="*/ 1082574 h 2180359"/>
              <a:gd name="connsiteX16" fmla="*/ 1938089 w 2213994"/>
              <a:gd name="connsiteY16" fmla="*/ 1437734 h 2180359"/>
              <a:gd name="connsiteX17" fmla="*/ 2111959 w 2213994"/>
              <a:gd name="connsiteY17" fmla="*/ 1583621 h 2180359"/>
              <a:gd name="connsiteX18" fmla="*/ 2021301 w 2213994"/>
              <a:gd name="connsiteY18" fmla="*/ 1740646 h 2180359"/>
              <a:gd name="connsiteX19" fmla="*/ 1808024 w 2213994"/>
              <a:gd name="connsiteY19" fmla="*/ 1663013 h 2180359"/>
              <a:gd name="connsiteX20" fmla="*/ 1531759 w 2213994"/>
              <a:gd name="connsiteY20" fmla="*/ 1894827 h 2180359"/>
              <a:gd name="connsiteX21" fmla="*/ 1571177 w 2213994"/>
              <a:gd name="connsiteY21" fmla="*/ 2118345 h 2180359"/>
              <a:gd name="connsiteX22" fmla="*/ 1400795 w 2213994"/>
              <a:gd name="connsiteY22" fmla="*/ 2180359 h 2180359"/>
              <a:gd name="connsiteX23" fmla="*/ 1287316 w 2213994"/>
              <a:gd name="connsiteY23" fmla="*/ 1983797 h 2180359"/>
              <a:gd name="connsiteX24" fmla="*/ 926677 w 2213994"/>
              <a:gd name="connsiteY24" fmla="*/ 1983797 h 2180359"/>
              <a:gd name="connsiteX25" fmla="*/ 813199 w 2213994"/>
              <a:gd name="connsiteY25" fmla="*/ 2180359 h 2180359"/>
              <a:gd name="connsiteX26" fmla="*/ 642817 w 2213994"/>
              <a:gd name="connsiteY26" fmla="*/ 2118345 h 2180359"/>
              <a:gd name="connsiteX27" fmla="*/ 682236 w 2213994"/>
              <a:gd name="connsiteY27" fmla="*/ 1894827 h 2180359"/>
              <a:gd name="connsiteX28" fmla="*/ 405971 w 2213994"/>
              <a:gd name="connsiteY28" fmla="*/ 1663013 h 2180359"/>
              <a:gd name="connsiteX29" fmla="*/ 192693 w 2213994"/>
              <a:gd name="connsiteY29" fmla="*/ 1740646 h 2180359"/>
              <a:gd name="connsiteX30" fmla="*/ 102035 w 2213994"/>
              <a:gd name="connsiteY30" fmla="*/ 1583621 h 2180359"/>
              <a:gd name="connsiteX31" fmla="*/ 275905 w 2213994"/>
              <a:gd name="connsiteY31" fmla="*/ 1437734 h 2180359"/>
              <a:gd name="connsiteX32" fmla="*/ 213281 w 2213994"/>
              <a:gd name="connsiteY32" fmla="*/ 1082574 h 2180359"/>
              <a:gd name="connsiteX33" fmla="*/ 0 w 2213994"/>
              <a:gd name="connsiteY33" fmla="*/ 1004952 h 2180359"/>
              <a:gd name="connsiteX34" fmla="*/ 31485 w 2213994"/>
              <a:gd name="connsiteY34" fmla="*/ 826390 h 2180359"/>
              <a:gd name="connsiteX35" fmla="*/ 258452 w 2213994"/>
              <a:gd name="connsiteY35" fmla="*/ 826396 h 2180359"/>
              <a:gd name="connsiteX36" fmla="*/ 438771 w 2213994"/>
              <a:gd name="connsiteY36" fmla="*/ 514074 h 2180359"/>
              <a:gd name="connsiteX37" fmla="*/ 325283 w 2213994"/>
              <a:gd name="connsiteY37" fmla="*/ 317518 h 2180359"/>
              <a:gd name="connsiteX38" fmla="*/ 464179 w 2213994"/>
              <a:gd name="connsiteY38" fmla="*/ 200970 h 2180359"/>
              <a:gd name="connsiteX39" fmla="*/ 638042 w 2213994"/>
              <a:gd name="connsiteY39" fmla="*/ 346866 h 2180359"/>
              <a:gd name="connsiteX40" fmla="*/ 976932 w 2213994"/>
              <a:gd name="connsiteY40" fmla="*/ 223520 h 2180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213994" h="2180359">
                <a:moveTo>
                  <a:pt x="1106997" y="561989"/>
                </a:moveTo>
                <a:cubicBezTo>
                  <a:pt x="805394" y="561989"/>
                  <a:pt x="560897" y="806486"/>
                  <a:pt x="560897" y="1108089"/>
                </a:cubicBezTo>
                <a:cubicBezTo>
                  <a:pt x="560897" y="1409692"/>
                  <a:pt x="805394" y="1654189"/>
                  <a:pt x="1106997" y="1654189"/>
                </a:cubicBezTo>
                <a:cubicBezTo>
                  <a:pt x="1408600" y="1654189"/>
                  <a:pt x="1653097" y="1409692"/>
                  <a:pt x="1653097" y="1108089"/>
                </a:cubicBezTo>
                <a:cubicBezTo>
                  <a:pt x="1653097" y="806486"/>
                  <a:pt x="1408600" y="561989"/>
                  <a:pt x="1106997" y="561989"/>
                </a:cubicBezTo>
                <a:close/>
                <a:moveTo>
                  <a:pt x="1016339" y="0"/>
                </a:moveTo>
                <a:lnTo>
                  <a:pt x="1197655" y="0"/>
                </a:lnTo>
                <a:lnTo>
                  <a:pt x="1237062" y="223520"/>
                </a:lnTo>
                <a:cubicBezTo>
                  <a:pt x="1357231" y="241189"/>
                  <a:pt x="1472539" y="283158"/>
                  <a:pt x="1575952" y="346866"/>
                </a:cubicBezTo>
                <a:lnTo>
                  <a:pt x="1749815" y="200970"/>
                </a:lnTo>
                <a:lnTo>
                  <a:pt x="1888711" y="317518"/>
                </a:lnTo>
                <a:lnTo>
                  <a:pt x="1775222" y="514074"/>
                </a:lnTo>
                <a:cubicBezTo>
                  <a:pt x="1855919" y="604853"/>
                  <a:pt x="1917273" y="711121"/>
                  <a:pt x="1955541" y="826396"/>
                </a:cubicBezTo>
                <a:lnTo>
                  <a:pt x="2182509" y="826390"/>
                </a:lnTo>
                <a:lnTo>
                  <a:pt x="2213994" y="1004952"/>
                </a:lnTo>
                <a:lnTo>
                  <a:pt x="2000713" y="1082574"/>
                </a:lnTo>
                <a:cubicBezTo>
                  <a:pt x="2004179" y="1203985"/>
                  <a:pt x="1982871" y="1324830"/>
                  <a:pt x="1938089" y="1437734"/>
                </a:cubicBezTo>
                <a:lnTo>
                  <a:pt x="2111959" y="1583621"/>
                </a:lnTo>
                <a:lnTo>
                  <a:pt x="2021301" y="1740646"/>
                </a:lnTo>
                <a:lnTo>
                  <a:pt x="1808024" y="1663013"/>
                </a:lnTo>
                <a:cubicBezTo>
                  <a:pt x="1732638" y="1758248"/>
                  <a:pt x="1638637" y="1837123"/>
                  <a:pt x="1531759" y="1894827"/>
                </a:cubicBezTo>
                <a:lnTo>
                  <a:pt x="1571177" y="2118345"/>
                </a:lnTo>
                <a:lnTo>
                  <a:pt x="1400795" y="2180359"/>
                </a:lnTo>
                <a:lnTo>
                  <a:pt x="1287316" y="1983797"/>
                </a:lnTo>
                <a:cubicBezTo>
                  <a:pt x="1168351" y="2008293"/>
                  <a:pt x="1045642" y="2008293"/>
                  <a:pt x="926677" y="1983797"/>
                </a:cubicBezTo>
                <a:lnTo>
                  <a:pt x="813199" y="2180359"/>
                </a:lnTo>
                <a:lnTo>
                  <a:pt x="642817" y="2118345"/>
                </a:lnTo>
                <a:lnTo>
                  <a:pt x="682236" y="1894827"/>
                </a:lnTo>
                <a:cubicBezTo>
                  <a:pt x="575358" y="1837123"/>
                  <a:pt x="481357" y="1758247"/>
                  <a:pt x="405971" y="1663013"/>
                </a:cubicBezTo>
                <a:lnTo>
                  <a:pt x="192693" y="1740646"/>
                </a:lnTo>
                <a:lnTo>
                  <a:pt x="102035" y="1583621"/>
                </a:lnTo>
                <a:lnTo>
                  <a:pt x="275905" y="1437734"/>
                </a:lnTo>
                <a:cubicBezTo>
                  <a:pt x="231123" y="1324830"/>
                  <a:pt x="209814" y="1203985"/>
                  <a:pt x="213281" y="1082574"/>
                </a:cubicBezTo>
                <a:lnTo>
                  <a:pt x="0" y="1004952"/>
                </a:lnTo>
                <a:lnTo>
                  <a:pt x="31485" y="826390"/>
                </a:lnTo>
                <a:lnTo>
                  <a:pt x="258452" y="826396"/>
                </a:lnTo>
                <a:cubicBezTo>
                  <a:pt x="296720" y="711121"/>
                  <a:pt x="358074" y="604852"/>
                  <a:pt x="438771" y="514074"/>
                </a:cubicBezTo>
                <a:lnTo>
                  <a:pt x="325283" y="317518"/>
                </a:lnTo>
                <a:lnTo>
                  <a:pt x="464179" y="200970"/>
                </a:lnTo>
                <a:lnTo>
                  <a:pt x="638042" y="346866"/>
                </a:lnTo>
                <a:cubicBezTo>
                  <a:pt x="741454" y="283158"/>
                  <a:pt x="856763" y="241190"/>
                  <a:pt x="976932" y="22352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4" name="Freeform 14"/>
          <p:cNvSpPr/>
          <p:nvPr/>
        </p:nvSpPr>
        <p:spPr>
          <a:xfrm>
            <a:off x="1370331" y="3709851"/>
            <a:ext cx="282827" cy="295397"/>
          </a:xfrm>
          <a:custGeom>
            <a:avLst/>
            <a:gdLst>
              <a:gd name="connsiteX0" fmla="*/ 675641 w 1351280"/>
              <a:gd name="connsiteY0" fmla="*/ 436140 h 1351280"/>
              <a:gd name="connsiteX1" fmla="*/ 436140 w 1351280"/>
              <a:gd name="connsiteY1" fmla="*/ 675641 h 1351280"/>
              <a:gd name="connsiteX2" fmla="*/ 675641 w 1351280"/>
              <a:gd name="connsiteY2" fmla="*/ 915142 h 1351280"/>
              <a:gd name="connsiteX3" fmla="*/ 915142 w 1351280"/>
              <a:gd name="connsiteY3" fmla="*/ 675641 h 1351280"/>
              <a:gd name="connsiteX4" fmla="*/ 675641 w 1351280"/>
              <a:gd name="connsiteY4" fmla="*/ 436140 h 1351280"/>
              <a:gd name="connsiteX5" fmla="*/ 675640 w 1351280"/>
              <a:gd name="connsiteY5" fmla="*/ 0 h 1351280"/>
              <a:gd name="connsiteX6" fmla="*/ 1351280 w 1351280"/>
              <a:gd name="connsiteY6" fmla="*/ 675640 h 1351280"/>
              <a:gd name="connsiteX7" fmla="*/ 675640 w 1351280"/>
              <a:gd name="connsiteY7" fmla="*/ 1351280 h 1351280"/>
              <a:gd name="connsiteX8" fmla="*/ 0 w 1351280"/>
              <a:gd name="connsiteY8" fmla="*/ 675640 h 1351280"/>
              <a:gd name="connsiteX9" fmla="*/ 675640 w 1351280"/>
              <a:gd name="connsiteY9" fmla="*/ 0 h 13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51280" h="1351280">
                <a:moveTo>
                  <a:pt x="675641" y="436140"/>
                </a:moveTo>
                <a:cubicBezTo>
                  <a:pt x="543368" y="436140"/>
                  <a:pt x="436140" y="543368"/>
                  <a:pt x="436140" y="675641"/>
                </a:cubicBezTo>
                <a:cubicBezTo>
                  <a:pt x="436140" y="807914"/>
                  <a:pt x="543368" y="915142"/>
                  <a:pt x="675641" y="915142"/>
                </a:cubicBezTo>
                <a:cubicBezTo>
                  <a:pt x="807914" y="915142"/>
                  <a:pt x="915142" y="807914"/>
                  <a:pt x="915142" y="675641"/>
                </a:cubicBezTo>
                <a:cubicBezTo>
                  <a:pt x="915142" y="543368"/>
                  <a:pt x="807914" y="436140"/>
                  <a:pt x="675641" y="436140"/>
                </a:cubicBezTo>
                <a:close/>
                <a:moveTo>
                  <a:pt x="675640" y="0"/>
                </a:moveTo>
                <a:cubicBezTo>
                  <a:pt x="1048786" y="0"/>
                  <a:pt x="1351280" y="302494"/>
                  <a:pt x="1351280" y="675640"/>
                </a:cubicBezTo>
                <a:cubicBezTo>
                  <a:pt x="1351280" y="1048786"/>
                  <a:pt x="1048786" y="1351280"/>
                  <a:pt x="675640" y="1351280"/>
                </a:cubicBezTo>
                <a:cubicBezTo>
                  <a:pt x="302494" y="1351280"/>
                  <a:pt x="0" y="1048786"/>
                  <a:pt x="0" y="675640"/>
                </a:cubicBezTo>
                <a:cubicBezTo>
                  <a:pt x="0" y="302494"/>
                  <a:pt x="302494" y="0"/>
                  <a:pt x="675640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reeform 15"/>
          <p:cNvSpPr/>
          <p:nvPr/>
        </p:nvSpPr>
        <p:spPr>
          <a:xfrm>
            <a:off x="2318457" y="2966922"/>
            <a:ext cx="232747" cy="243092"/>
          </a:xfrm>
          <a:custGeom>
            <a:avLst/>
            <a:gdLst>
              <a:gd name="connsiteX0" fmla="*/ 675641 w 1351280"/>
              <a:gd name="connsiteY0" fmla="*/ 436140 h 1351280"/>
              <a:gd name="connsiteX1" fmla="*/ 436140 w 1351280"/>
              <a:gd name="connsiteY1" fmla="*/ 675641 h 1351280"/>
              <a:gd name="connsiteX2" fmla="*/ 675641 w 1351280"/>
              <a:gd name="connsiteY2" fmla="*/ 915142 h 1351280"/>
              <a:gd name="connsiteX3" fmla="*/ 915142 w 1351280"/>
              <a:gd name="connsiteY3" fmla="*/ 675641 h 1351280"/>
              <a:gd name="connsiteX4" fmla="*/ 675641 w 1351280"/>
              <a:gd name="connsiteY4" fmla="*/ 436140 h 1351280"/>
              <a:gd name="connsiteX5" fmla="*/ 675640 w 1351280"/>
              <a:gd name="connsiteY5" fmla="*/ 0 h 1351280"/>
              <a:gd name="connsiteX6" fmla="*/ 1351280 w 1351280"/>
              <a:gd name="connsiteY6" fmla="*/ 675640 h 1351280"/>
              <a:gd name="connsiteX7" fmla="*/ 675640 w 1351280"/>
              <a:gd name="connsiteY7" fmla="*/ 1351280 h 1351280"/>
              <a:gd name="connsiteX8" fmla="*/ 0 w 1351280"/>
              <a:gd name="connsiteY8" fmla="*/ 675640 h 1351280"/>
              <a:gd name="connsiteX9" fmla="*/ 675640 w 1351280"/>
              <a:gd name="connsiteY9" fmla="*/ 0 h 13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51280" h="1351280">
                <a:moveTo>
                  <a:pt x="675641" y="436140"/>
                </a:moveTo>
                <a:cubicBezTo>
                  <a:pt x="543368" y="436140"/>
                  <a:pt x="436140" y="543368"/>
                  <a:pt x="436140" y="675641"/>
                </a:cubicBezTo>
                <a:cubicBezTo>
                  <a:pt x="436140" y="807914"/>
                  <a:pt x="543368" y="915142"/>
                  <a:pt x="675641" y="915142"/>
                </a:cubicBezTo>
                <a:cubicBezTo>
                  <a:pt x="807914" y="915142"/>
                  <a:pt x="915142" y="807914"/>
                  <a:pt x="915142" y="675641"/>
                </a:cubicBezTo>
                <a:cubicBezTo>
                  <a:pt x="915142" y="543368"/>
                  <a:pt x="807914" y="436140"/>
                  <a:pt x="675641" y="436140"/>
                </a:cubicBezTo>
                <a:close/>
                <a:moveTo>
                  <a:pt x="675640" y="0"/>
                </a:moveTo>
                <a:cubicBezTo>
                  <a:pt x="1048786" y="0"/>
                  <a:pt x="1351280" y="302494"/>
                  <a:pt x="1351280" y="675640"/>
                </a:cubicBezTo>
                <a:cubicBezTo>
                  <a:pt x="1351280" y="1048786"/>
                  <a:pt x="1048786" y="1351280"/>
                  <a:pt x="675640" y="1351280"/>
                </a:cubicBezTo>
                <a:cubicBezTo>
                  <a:pt x="302494" y="1351280"/>
                  <a:pt x="0" y="1048786"/>
                  <a:pt x="0" y="675640"/>
                </a:cubicBezTo>
                <a:cubicBezTo>
                  <a:pt x="0" y="302494"/>
                  <a:pt x="302494" y="0"/>
                  <a:pt x="675640" y="0"/>
                </a:cubicBezTo>
                <a:close/>
              </a:path>
            </a:pathLst>
          </a:custGeom>
          <a:solidFill>
            <a:srgbClr val="53D7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8" name="Agrupar 17"/>
          <p:cNvGrpSpPr/>
          <p:nvPr/>
        </p:nvGrpSpPr>
        <p:grpSpPr>
          <a:xfrm>
            <a:off x="5076057" y="519808"/>
            <a:ext cx="3594472" cy="2370905"/>
            <a:chOff x="5148064" y="662667"/>
            <a:chExt cx="3073519" cy="1955520"/>
          </a:xfrm>
        </p:grpSpPr>
        <p:sp>
          <p:nvSpPr>
            <p:cNvPr id="16" name="Line Callout 2 3"/>
            <p:cNvSpPr/>
            <p:nvPr/>
          </p:nvSpPr>
          <p:spPr>
            <a:xfrm>
              <a:off x="5148064" y="662667"/>
              <a:ext cx="3073519" cy="1955520"/>
            </a:xfrm>
            <a:prstGeom prst="borderCallout2">
              <a:avLst>
                <a:gd name="adj1" fmla="val 52340"/>
                <a:gd name="adj2" fmla="val -246"/>
                <a:gd name="adj3" fmla="val 52332"/>
                <a:gd name="adj4" fmla="val -19899"/>
                <a:gd name="adj5" fmla="val 104110"/>
                <a:gd name="adj6" fmla="val -66165"/>
              </a:avLst>
            </a:prstGeom>
            <a:solidFill>
              <a:schemeClr val="tx2"/>
            </a:solidFill>
            <a:ln w="3175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7" name="Retângulo 16"/>
            <p:cNvSpPr/>
            <p:nvPr/>
          </p:nvSpPr>
          <p:spPr>
            <a:xfrm>
              <a:off x="5212169" y="891558"/>
              <a:ext cx="2945308" cy="14977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pt-BR" sz="2800" b="1" dirty="0">
                  <a:solidFill>
                    <a:schemeClr val="bg1"/>
                  </a:solidFill>
                </a:rPr>
                <a:t>Quais as implicações deste compromisso para o setor sucroenergético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603916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pt-BR" dirty="0"/>
              <a:t>Metodologia</a:t>
            </a: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191076"/>
              </p:ext>
            </p:extLst>
          </p:nvPr>
        </p:nvGraphicFramePr>
        <p:xfrm>
          <a:off x="827584" y="1484784"/>
          <a:ext cx="7488832" cy="45356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78539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pt-BR" dirty="0"/>
              <a:t>Cronograma</a:t>
            </a: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9589610"/>
              </p:ext>
            </p:extLst>
          </p:nvPr>
        </p:nvGraphicFramePr>
        <p:xfrm>
          <a:off x="395535" y="1542512"/>
          <a:ext cx="8388465" cy="4248475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4010082">
                  <a:extLst>
                    <a:ext uri="{9D8B030D-6E8A-4147-A177-3AD203B41FA5}">
                      <a16:colId xmlns:a16="http://schemas.microsoft.com/office/drawing/2014/main" xmlns="" val="2162937514"/>
                    </a:ext>
                  </a:extLst>
                </a:gridCol>
                <a:gridCol w="635897">
                  <a:extLst>
                    <a:ext uri="{9D8B030D-6E8A-4147-A177-3AD203B41FA5}">
                      <a16:colId xmlns:a16="http://schemas.microsoft.com/office/drawing/2014/main" xmlns="" val="1887415274"/>
                    </a:ext>
                  </a:extLst>
                </a:gridCol>
                <a:gridCol w="592737">
                  <a:extLst>
                    <a:ext uri="{9D8B030D-6E8A-4147-A177-3AD203B41FA5}">
                      <a16:colId xmlns:a16="http://schemas.microsoft.com/office/drawing/2014/main" xmlns="" val="1277755077"/>
                    </a:ext>
                  </a:extLst>
                </a:gridCol>
                <a:gridCol w="603286">
                  <a:extLst>
                    <a:ext uri="{9D8B030D-6E8A-4147-A177-3AD203B41FA5}">
                      <a16:colId xmlns:a16="http://schemas.microsoft.com/office/drawing/2014/main" xmlns="" val="1050423894"/>
                    </a:ext>
                  </a:extLst>
                </a:gridCol>
                <a:gridCol w="676179">
                  <a:extLst>
                    <a:ext uri="{9D8B030D-6E8A-4147-A177-3AD203B41FA5}">
                      <a16:colId xmlns:a16="http://schemas.microsoft.com/office/drawing/2014/main" xmlns="" val="3878000671"/>
                    </a:ext>
                  </a:extLst>
                </a:gridCol>
                <a:gridCol w="676179">
                  <a:extLst>
                    <a:ext uri="{9D8B030D-6E8A-4147-A177-3AD203B41FA5}">
                      <a16:colId xmlns:a16="http://schemas.microsoft.com/office/drawing/2014/main" xmlns="" val="3453110455"/>
                    </a:ext>
                  </a:extLst>
                </a:gridCol>
                <a:gridCol w="635897">
                  <a:extLst>
                    <a:ext uri="{9D8B030D-6E8A-4147-A177-3AD203B41FA5}">
                      <a16:colId xmlns:a16="http://schemas.microsoft.com/office/drawing/2014/main" xmlns="" val="1715489189"/>
                    </a:ext>
                  </a:extLst>
                </a:gridCol>
                <a:gridCol w="558208">
                  <a:extLst>
                    <a:ext uri="{9D8B030D-6E8A-4147-A177-3AD203B41FA5}">
                      <a16:colId xmlns:a16="http://schemas.microsoft.com/office/drawing/2014/main" xmlns="" val="3745039095"/>
                    </a:ext>
                  </a:extLst>
                </a:gridCol>
              </a:tblGrid>
              <a:tr h="312281">
                <a:tc rowSpan="2"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b="1" dirty="0">
                          <a:solidFill>
                            <a:schemeClr val="bg1"/>
                          </a:solidFill>
                          <a:effectLst/>
                        </a:rPr>
                        <a:t>Atividades</a:t>
                      </a:r>
                      <a:endParaRPr lang="pt-BR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b="1" dirty="0">
                          <a:solidFill>
                            <a:schemeClr val="bg1"/>
                          </a:solidFill>
                          <a:effectLst/>
                        </a:rPr>
                        <a:t>2016</a:t>
                      </a:r>
                      <a:endParaRPr lang="pt-BR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b="1" dirty="0">
                          <a:solidFill>
                            <a:schemeClr val="bg1"/>
                          </a:solidFill>
                          <a:effectLst/>
                        </a:rPr>
                        <a:t>2017</a:t>
                      </a:r>
                      <a:endParaRPr lang="pt-BR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14091777"/>
                  </a:ext>
                </a:extLst>
              </a:tr>
              <a:tr h="50110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b="1" dirty="0">
                          <a:solidFill>
                            <a:schemeClr val="tx1"/>
                          </a:solidFill>
                          <a:effectLst/>
                        </a:rPr>
                        <a:t>Ago.</a:t>
                      </a:r>
                      <a:endParaRPr lang="pt-BR" sz="18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b="1" dirty="0">
                          <a:solidFill>
                            <a:schemeClr val="tx1"/>
                          </a:solidFill>
                          <a:effectLst/>
                        </a:rPr>
                        <a:t>Set.</a:t>
                      </a:r>
                      <a:endParaRPr lang="pt-BR" sz="18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b="1" dirty="0">
                          <a:solidFill>
                            <a:schemeClr val="tx1"/>
                          </a:solidFill>
                          <a:effectLst/>
                        </a:rPr>
                        <a:t>Out.</a:t>
                      </a:r>
                      <a:endParaRPr lang="pt-BR" sz="18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b="1" dirty="0">
                          <a:solidFill>
                            <a:schemeClr val="tx1"/>
                          </a:solidFill>
                          <a:effectLst/>
                        </a:rPr>
                        <a:t>Nov.</a:t>
                      </a:r>
                      <a:endParaRPr lang="pt-BR" sz="18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b="1" dirty="0">
                          <a:solidFill>
                            <a:schemeClr val="tx1"/>
                          </a:solidFill>
                          <a:effectLst/>
                        </a:rPr>
                        <a:t>Dez.</a:t>
                      </a:r>
                      <a:endParaRPr lang="pt-BR" sz="18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b="1" dirty="0">
                          <a:solidFill>
                            <a:schemeClr val="tx1"/>
                          </a:solidFill>
                          <a:effectLst/>
                        </a:rPr>
                        <a:t>Jan.</a:t>
                      </a:r>
                      <a:endParaRPr lang="pt-BR" sz="18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b="1" dirty="0">
                          <a:solidFill>
                            <a:schemeClr val="tx1"/>
                          </a:solidFill>
                          <a:effectLst/>
                        </a:rPr>
                        <a:t>Fev.</a:t>
                      </a:r>
                      <a:endParaRPr lang="pt-BR" sz="18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80317669"/>
                  </a:ext>
                </a:extLst>
              </a:tr>
              <a:tr h="624561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Apresentação e aprovação do escopo e estrutura do estudo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605269354"/>
                  </a:ext>
                </a:extLst>
              </a:tr>
              <a:tr h="312281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Desk Researh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49709056"/>
                  </a:ext>
                </a:extLst>
              </a:tr>
              <a:tr h="312281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Entrevista com Organizações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01777523"/>
                  </a:ext>
                </a:extLst>
              </a:tr>
              <a:tr h="312281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Entrevistas com Especialistas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28470021"/>
                  </a:ext>
                </a:extLst>
              </a:tr>
              <a:tr h="312281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Entrevistas com produtores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24802975"/>
                  </a:ext>
                </a:extLst>
              </a:tr>
              <a:tr h="312281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Entrevistas com Usinas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061983115"/>
                  </a:ext>
                </a:extLst>
              </a:tr>
              <a:tr h="624561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Workshop com Associações de produtores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71861814"/>
                  </a:ext>
                </a:extLst>
              </a:tr>
              <a:tr h="312281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Redação do documento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44258133"/>
                  </a:ext>
                </a:extLst>
              </a:tr>
              <a:tr h="312281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Apresentação versão final do estudo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</a:rPr>
                        <a:t> </a:t>
                      </a:r>
                      <a:endParaRPr lang="pt-BR" sz="1800" dirty="0">
                        <a:solidFill>
                          <a:srgbClr val="42424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7248178"/>
                  </a:ext>
                </a:extLst>
              </a:tr>
            </a:tbl>
          </a:graphicData>
        </a:graphic>
      </p:graphicFrame>
      <p:sp>
        <p:nvSpPr>
          <p:cNvPr id="3" name="CaixaDeTexto 2"/>
          <p:cNvSpPr txBox="1"/>
          <p:nvPr/>
        </p:nvSpPr>
        <p:spPr>
          <a:xfrm>
            <a:off x="7631832" y="5908633"/>
            <a:ext cx="1512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/>
              <a:t>180 dias</a:t>
            </a:r>
          </a:p>
        </p:txBody>
      </p:sp>
    </p:spTree>
    <p:extLst>
      <p:ext uri="{BB962C8B-B14F-4D97-AF65-F5344CB8AC3E}">
        <p14:creationId xmlns:p14="http://schemas.microsoft.com/office/powerpoint/2010/main" val="2195082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9"/>
          <p:cNvSpPr/>
          <p:nvPr/>
        </p:nvSpPr>
        <p:spPr>
          <a:xfrm>
            <a:off x="1662375" y="2472183"/>
            <a:ext cx="7484785" cy="3960440"/>
          </a:xfrm>
          <a:custGeom>
            <a:avLst/>
            <a:gdLst>
              <a:gd name="connsiteX0" fmla="*/ 0 w 3765837"/>
              <a:gd name="connsiteY0" fmla="*/ 0 h 5331668"/>
              <a:gd name="connsiteX1" fmla="*/ 308040 w 3765837"/>
              <a:gd name="connsiteY1" fmla="*/ 0 h 5331668"/>
              <a:gd name="connsiteX2" fmla="*/ 3765837 w 3765837"/>
              <a:gd name="connsiteY2" fmla="*/ 3457797 h 5331668"/>
              <a:gd name="connsiteX3" fmla="*/ 3765837 w 3765837"/>
              <a:gd name="connsiteY3" fmla="*/ 5331668 h 5331668"/>
              <a:gd name="connsiteX4" fmla="*/ 0 w 3765837"/>
              <a:gd name="connsiteY4" fmla="*/ 5331668 h 5331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65837" h="5331668">
                <a:moveTo>
                  <a:pt x="0" y="0"/>
                </a:moveTo>
                <a:lnTo>
                  <a:pt x="308040" y="0"/>
                </a:lnTo>
                <a:lnTo>
                  <a:pt x="3765837" y="3457797"/>
                </a:lnTo>
                <a:lnTo>
                  <a:pt x="3765837" y="5331668"/>
                </a:lnTo>
                <a:lnTo>
                  <a:pt x="0" y="5331668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Freeform 4"/>
          <p:cNvSpPr/>
          <p:nvPr/>
        </p:nvSpPr>
        <p:spPr>
          <a:xfrm>
            <a:off x="311931" y="2395806"/>
            <a:ext cx="2996181" cy="4036817"/>
          </a:xfrm>
          <a:custGeom>
            <a:avLst/>
            <a:gdLst>
              <a:gd name="connsiteX0" fmla="*/ 323604 w 4522224"/>
              <a:gd name="connsiteY0" fmla="*/ 6062148 h 6062148"/>
              <a:gd name="connsiteX1" fmla="*/ 376944 w 4522224"/>
              <a:gd name="connsiteY1" fmla="*/ 5924988 h 6062148"/>
              <a:gd name="connsiteX2" fmla="*/ 437904 w 4522224"/>
              <a:gd name="connsiteY2" fmla="*/ 5780208 h 6062148"/>
              <a:gd name="connsiteX3" fmla="*/ 468384 w 4522224"/>
              <a:gd name="connsiteY3" fmla="*/ 5665908 h 6062148"/>
              <a:gd name="connsiteX4" fmla="*/ 506484 w 4522224"/>
              <a:gd name="connsiteY4" fmla="*/ 5612568 h 6062148"/>
              <a:gd name="connsiteX5" fmla="*/ 536964 w 4522224"/>
              <a:gd name="connsiteY5" fmla="*/ 5521128 h 6062148"/>
              <a:gd name="connsiteX6" fmla="*/ 559824 w 4522224"/>
              <a:gd name="connsiteY6" fmla="*/ 5353488 h 6062148"/>
              <a:gd name="connsiteX7" fmla="*/ 597924 w 4522224"/>
              <a:gd name="connsiteY7" fmla="*/ 5223948 h 6062148"/>
              <a:gd name="connsiteX8" fmla="*/ 620784 w 4522224"/>
              <a:gd name="connsiteY8" fmla="*/ 5178228 h 6062148"/>
              <a:gd name="connsiteX9" fmla="*/ 696984 w 4522224"/>
              <a:gd name="connsiteY9" fmla="*/ 5071548 h 6062148"/>
              <a:gd name="connsiteX10" fmla="*/ 712224 w 4522224"/>
              <a:gd name="connsiteY10" fmla="*/ 5063928 h 6062148"/>
              <a:gd name="connsiteX11" fmla="*/ 704604 w 4522224"/>
              <a:gd name="connsiteY11" fmla="*/ 5025828 h 6062148"/>
              <a:gd name="connsiteX12" fmla="*/ 696984 w 4522224"/>
              <a:gd name="connsiteY12" fmla="*/ 5002968 h 6062148"/>
              <a:gd name="connsiteX13" fmla="*/ 963684 w 4522224"/>
              <a:gd name="connsiteY13" fmla="*/ 4682928 h 6062148"/>
              <a:gd name="connsiteX14" fmla="*/ 956064 w 4522224"/>
              <a:gd name="connsiteY14" fmla="*/ 4644828 h 6062148"/>
              <a:gd name="connsiteX15" fmla="*/ 1337064 w 4522224"/>
              <a:gd name="connsiteY15" fmla="*/ 4172388 h 6062148"/>
              <a:gd name="connsiteX16" fmla="*/ 1253244 w 4522224"/>
              <a:gd name="connsiteY16" fmla="*/ 4012368 h 6062148"/>
              <a:gd name="connsiteX17" fmla="*/ 1199904 w 4522224"/>
              <a:gd name="connsiteY17" fmla="*/ 3928548 h 6062148"/>
              <a:gd name="connsiteX18" fmla="*/ 1169424 w 4522224"/>
              <a:gd name="connsiteY18" fmla="*/ 3768528 h 6062148"/>
              <a:gd name="connsiteX19" fmla="*/ 1146564 w 4522224"/>
              <a:gd name="connsiteY19" fmla="*/ 3699948 h 6062148"/>
              <a:gd name="connsiteX20" fmla="*/ 1138944 w 4522224"/>
              <a:gd name="connsiteY20" fmla="*/ 3669468 h 6062148"/>
              <a:gd name="connsiteX21" fmla="*/ 1062744 w 4522224"/>
              <a:gd name="connsiteY21" fmla="*/ 3661848 h 6062148"/>
              <a:gd name="connsiteX22" fmla="*/ 933204 w 4522224"/>
              <a:gd name="connsiteY22" fmla="*/ 3669468 h 6062148"/>
              <a:gd name="connsiteX23" fmla="*/ 826524 w 4522224"/>
              <a:gd name="connsiteY23" fmla="*/ 3692328 h 6062148"/>
              <a:gd name="connsiteX24" fmla="*/ 605544 w 4522224"/>
              <a:gd name="connsiteY24" fmla="*/ 3738048 h 6062148"/>
              <a:gd name="connsiteX25" fmla="*/ 384564 w 4522224"/>
              <a:gd name="connsiteY25" fmla="*/ 3638988 h 6062148"/>
              <a:gd name="connsiteX26" fmla="*/ 376944 w 4522224"/>
              <a:gd name="connsiteY26" fmla="*/ 3326568 h 6062148"/>
              <a:gd name="connsiteX27" fmla="*/ 415044 w 4522224"/>
              <a:gd name="connsiteY27" fmla="*/ 3250368 h 6062148"/>
              <a:gd name="connsiteX28" fmla="*/ 415044 w 4522224"/>
              <a:gd name="connsiteY28" fmla="*/ 3227508 h 6062148"/>
              <a:gd name="connsiteX29" fmla="*/ 384564 w 4522224"/>
              <a:gd name="connsiteY29" fmla="*/ 3166548 h 6062148"/>
              <a:gd name="connsiteX30" fmla="*/ 361704 w 4522224"/>
              <a:gd name="connsiteY30" fmla="*/ 3166548 h 6062148"/>
              <a:gd name="connsiteX31" fmla="*/ 346464 w 4522224"/>
              <a:gd name="connsiteY31" fmla="*/ 3105588 h 6062148"/>
              <a:gd name="connsiteX32" fmla="*/ 392184 w 4522224"/>
              <a:gd name="connsiteY32" fmla="*/ 3021768 h 6062148"/>
              <a:gd name="connsiteX33" fmla="*/ 483624 w 4522224"/>
              <a:gd name="connsiteY33" fmla="*/ 2998908 h 6062148"/>
              <a:gd name="connsiteX34" fmla="*/ 460764 w 4522224"/>
              <a:gd name="connsiteY34" fmla="*/ 2930328 h 6062148"/>
              <a:gd name="connsiteX35" fmla="*/ 430284 w 4522224"/>
              <a:gd name="connsiteY35" fmla="*/ 2930328 h 6062148"/>
              <a:gd name="connsiteX36" fmla="*/ 384564 w 4522224"/>
              <a:gd name="connsiteY36" fmla="*/ 2930328 h 6062148"/>
              <a:gd name="connsiteX37" fmla="*/ 300744 w 4522224"/>
              <a:gd name="connsiteY37" fmla="*/ 2876988 h 6062148"/>
              <a:gd name="connsiteX38" fmla="*/ 315984 w 4522224"/>
              <a:gd name="connsiteY38" fmla="*/ 2846508 h 6062148"/>
              <a:gd name="connsiteX39" fmla="*/ 323604 w 4522224"/>
              <a:gd name="connsiteY39" fmla="*/ 2793168 h 6062148"/>
              <a:gd name="connsiteX40" fmla="*/ 308364 w 4522224"/>
              <a:gd name="connsiteY40" fmla="*/ 2732208 h 6062148"/>
              <a:gd name="connsiteX41" fmla="*/ 262644 w 4522224"/>
              <a:gd name="connsiteY41" fmla="*/ 2671248 h 6062148"/>
              <a:gd name="connsiteX42" fmla="*/ 171204 w 4522224"/>
              <a:gd name="connsiteY42" fmla="*/ 2656008 h 6062148"/>
              <a:gd name="connsiteX43" fmla="*/ 49284 w 4522224"/>
              <a:gd name="connsiteY43" fmla="*/ 2610288 h 6062148"/>
              <a:gd name="connsiteX44" fmla="*/ 18804 w 4522224"/>
              <a:gd name="connsiteY44" fmla="*/ 2556948 h 6062148"/>
              <a:gd name="connsiteX45" fmla="*/ 3564 w 4522224"/>
              <a:gd name="connsiteY45" fmla="*/ 2488368 h 6062148"/>
              <a:gd name="connsiteX46" fmla="*/ 87384 w 4522224"/>
              <a:gd name="connsiteY46" fmla="*/ 2335968 h 6062148"/>
              <a:gd name="connsiteX47" fmla="*/ 216924 w 4522224"/>
              <a:gd name="connsiteY47" fmla="*/ 2175948 h 6062148"/>
              <a:gd name="connsiteX48" fmla="*/ 277884 w 4522224"/>
              <a:gd name="connsiteY48" fmla="*/ 2084508 h 6062148"/>
              <a:gd name="connsiteX49" fmla="*/ 323604 w 4522224"/>
              <a:gd name="connsiteY49" fmla="*/ 1977828 h 6062148"/>
              <a:gd name="connsiteX50" fmla="*/ 354084 w 4522224"/>
              <a:gd name="connsiteY50" fmla="*/ 1871148 h 6062148"/>
              <a:gd name="connsiteX51" fmla="*/ 369324 w 4522224"/>
              <a:gd name="connsiteY51" fmla="*/ 1810188 h 6062148"/>
              <a:gd name="connsiteX52" fmla="*/ 338844 w 4522224"/>
              <a:gd name="connsiteY52" fmla="*/ 1756848 h 6062148"/>
              <a:gd name="connsiteX53" fmla="*/ 323604 w 4522224"/>
              <a:gd name="connsiteY53" fmla="*/ 1680648 h 6062148"/>
              <a:gd name="connsiteX54" fmla="*/ 407424 w 4522224"/>
              <a:gd name="connsiteY54" fmla="*/ 1474908 h 6062148"/>
              <a:gd name="connsiteX55" fmla="*/ 437904 w 4522224"/>
              <a:gd name="connsiteY55" fmla="*/ 1307268 h 6062148"/>
              <a:gd name="connsiteX56" fmla="*/ 460764 w 4522224"/>
              <a:gd name="connsiteY56" fmla="*/ 1192968 h 6062148"/>
              <a:gd name="connsiteX57" fmla="*/ 498864 w 4522224"/>
              <a:gd name="connsiteY57" fmla="*/ 1055808 h 6062148"/>
              <a:gd name="connsiteX58" fmla="*/ 552204 w 4522224"/>
              <a:gd name="connsiteY58" fmla="*/ 888168 h 6062148"/>
              <a:gd name="connsiteX59" fmla="*/ 498864 w 4522224"/>
              <a:gd name="connsiteY59" fmla="*/ 888168 h 6062148"/>
              <a:gd name="connsiteX60" fmla="*/ 407424 w 4522224"/>
              <a:gd name="connsiteY60" fmla="*/ 834828 h 6062148"/>
              <a:gd name="connsiteX61" fmla="*/ 323604 w 4522224"/>
              <a:gd name="connsiteY61" fmla="*/ 789108 h 6062148"/>
              <a:gd name="connsiteX62" fmla="*/ 255024 w 4522224"/>
              <a:gd name="connsiteY62" fmla="*/ 773868 h 6062148"/>
              <a:gd name="connsiteX63" fmla="*/ 209304 w 4522224"/>
              <a:gd name="connsiteY63" fmla="*/ 751008 h 6062148"/>
              <a:gd name="connsiteX64" fmla="*/ 255024 w 4522224"/>
              <a:gd name="connsiteY64" fmla="*/ 674808 h 6062148"/>
              <a:gd name="connsiteX65" fmla="*/ 369324 w 4522224"/>
              <a:gd name="connsiteY65" fmla="*/ 606228 h 6062148"/>
              <a:gd name="connsiteX66" fmla="*/ 552204 w 4522224"/>
              <a:gd name="connsiteY66" fmla="*/ 507168 h 6062148"/>
              <a:gd name="connsiteX67" fmla="*/ 651264 w 4522224"/>
              <a:gd name="connsiteY67" fmla="*/ 423348 h 6062148"/>
              <a:gd name="connsiteX68" fmla="*/ 887484 w 4522224"/>
              <a:gd name="connsiteY68" fmla="*/ 232848 h 6062148"/>
              <a:gd name="connsiteX69" fmla="*/ 1169424 w 4522224"/>
              <a:gd name="connsiteY69" fmla="*/ 80448 h 6062148"/>
              <a:gd name="connsiteX70" fmla="*/ 1588524 w 4522224"/>
              <a:gd name="connsiteY70" fmla="*/ 11868 h 6062148"/>
              <a:gd name="connsiteX71" fmla="*/ 1939044 w 4522224"/>
              <a:gd name="connsiteY71" fmla="*/ 4248 h 6062148"/>
              <a:gd name="connsiteX72" fmla="*/ 2167644 w 4522224"/>
              <a:gd name="connsiteY72" fmla="*/ 4248 h 6062148"/>
              <a:gd name="connsiteX73" fmla="*/ 2388624 w 4522224"/>
              <a:gd name="connsiteY73" fmla="*/ 57588 h 6062148"/>
              <a:gd name="connsiteX74" fmla="*/ 2662944 w 4522224"/>
              <a:gd name="connsiteY74" fmla="*/ 133788 h 6062148"/>
              <a:gd name="connsiteX75" fmla="*/ 2815344 w 4522224"/>
              <a:gd name="connsiteY75" fmla="*/ 202368 h 6062148"/>
              <a:gd name="connsiteX76" fmla="*/ 3097284 w 4522224"/>
              <a:gd name="connsiteY76" fmla="*/ 400488 h 6062148"/>
              <a:gd name="connsiteX77" fmla="*/ 3280164 w 4522224"/>
              <a:gd name="connsiteY77" fmla="*/ 651948 h 6062148"/>
              <a:gd name="connsiteX78" fmla="*/ 3402084 w 4522224"/>
              <a:gd name="connsiteY78" fmla="*/ 918648 h 6062148"/>
              <a:gd name="connsiteX79" fmla="*/ 3470664 w 4522224"/>
              <a:gd name="connsiteY79" fmla="*/ 1238688 h 6062148"/>
              <a:gd name="connsiteX80" fmla="*/ 3501144 w 4522224"/>
              <a:gd name="connsiteY80" fmla="*/ 1543488 h 6062148"/>
              <a:gd name="connsiteX81" fmla="*/ 3501144 w 4522224"/>
              <a:gd name="connsiteY81" fmla="*/ 1962588 h 6062148"/>
              <a:gd name="connsiteX82" fmla="*/ 3333504 w 4522224"/>
              <a:gd name="connsiteY82" fmla="*/ 2305488 h 6062148"/>
              <a:gd name="connsiteX83" fmla="*/ 3249684 w 4522224"/>
              <a:gd name="connsiteY83" fmla="*/ 2473128 h 6062148"/>
              <a:gd name="connsiteX84" fmla="*/ 3127764 w 4522224"/>
              <a:gd name="connsiteY84" fmla="*/ 2663628 h 6062148"/>
              <a:gd name="connsiteX85" fmla="*/ 3066804 w 4522224"/>
              <a:gd name="connsiteY85" fmla="*/ 2838888 h 6062148"/>
              <a:gd name="connsiteX86" fmla="*/ 3059184 w 4522224"/>
              <a:gd name="connsiteY86" fmla="*/ 2915088 h 6062148"/>
              <a:gd name="connsiteX87" fmla="*/ 3013464 w 4522224"/>
              <a:gd name="connsiteY87" fmla="*/ 3014148 h 6062148"/>
              <a:gd name="connsiteX88" fmla="*/ 2975364 w 4522224"/>
              <a:gd name="connsiteY88" fmla="*/ 3082728 h 6062148"/>
              <a:gd name="connsiteX89" fmla="*/ 2952504 w 4522224"/>
              <a:gd name="connsiteY89" fmla="*/ 3120828 h 6062148"/>
              <a:gd name="connsiteX90" fmla="*/ 2952504 w 4522224"/>
              <a:gd name="connsiteY90" fmla="*/ 3555168 h 6062148"/>
              <a:gd name="connsiteX91" fmla="*/ 2952504 w 4522224"/>
              <a:gd name="connsiteY91" fmla="*/ 3562788 h 6062148"/>
              <a:gd name="connsiteX92" fmla="*/ 3005844 w 4522224"/>
              <a:gd name="connsiteY92" fmla="*/ 3539928 h 6062148"/>
              <a:gd name="connsiteX93" fmla="*/ 3059184 w 4522224"/>
              <a:gd name="connsiteY93" fmla="*/ 3562788 h 6062148"/>
              <a:gd name="connsiteX94" fmla="*/ 3104904 w 4522224"/>
              <a:gd name="connsiteY94" fmla="*/ 3570408 h 6062148"/>
              <a:gd name="connsiteX95" fmla="*/ 3135384 w 4522224"/>
              <a:gd name="connsiteY95" fmla="*/ 3631368 h 6062148"/>
              <a:gd name="connsiteX96" fmla="*/ 3112524 w 4522224"/>
              <a:gd name="connsiteY96" fmla="*/ 3738048 h 6062148"/>
              <a:gd name="connsiteX97" fmla="*/ 3120144 w 4522224"/>
              <a:gd name="connsiteY97" fmla="*/ 4103808 h 6062148"/>
              <a:gd name="connsiteX98" fmla="*/ 3112524 w 4522224"/>
              <a:gd name="connsiteY98" fmla="*/ 4119048 h 6062148"/>
              <a:gd name="connsiteX99" fmla="*/ 3158244 w 4522224"/>
              <a:gd name="connsiteY99" fmla="*/ 4157148 h 6062148"/>
              <a:gd name="connsiteX100" fmla="*/ 3196344 w 4522224"/>
              <a:gd name="connsiteY100" fmla="*/ 4164768 h 6062148"/>
              <a:gd name="connsiteX101" fmla="*/ 3226824 w 4522224"/>
              <a:gd name="connsiteY101" fmla="*/ 4172388 h 6062148"/>
              <a:gd name="connsiteX102" fmla="*/ 3280164 w 4522224"/>
              <a:gd name="connsiteY102" fmla="*/ 4294308 h 6062148"/>
              <a:gd name="connsiteX103" fmla="*/ 3295404 w 4522224"/>
              <a:gd name="connsiteY103" fmla="*/ 4347648 h 6062148"/>
              <a:gd name="connsiteX104" fmla="*/ 3325884 w 4522224"/>
              <a:gd name="connsiteY104" fmla="*/ 4408608 h 6062148"/>
              <a:gd name="connsiteX105" fmla="*/ 3546864 w 4522224"/>
              <a:gd name="connsiteY105" fmla="*/ 4644828 h 6062148"/>
              <a:gd name="connsiteX106" fmla="*/ 3882144 w 4522224"/>
              <a:gd name="connsiteY106" fmla="*/ 5025828 h 6062148"/>
              <a:gd name="connsiteX107" fmla="*/ 4095504 w 4522224"/>
              <a:gd name="connsiteY107" fmla="*/ 5300148 h 6062148"/>
              <a:gd name="connsiteX108" fmla="*/ 4362204 w 4522224"/>
              <a:gd name="connsiteY108" fmla="*/ 5726868 h 6062148"/>
              <a:gd name="connsiteX109" fmla="*/ 4522224 w 4522224"/>
              <a:gd name="connsiteY109" fmla="*/ 6046908 h 6062148"/>
              <a:gd name="connsiteX0" fmla="*/ 323604 w 4522224"/>
              <a:gd name="connsiteY0" fmla="*/ 6062148 h 6062148"/>
              <a:gd name="connsiteX1" fmla="*/ 376944 w 4522224"/>
              <a:gd name="connsiteY1" fmla="*/ 5924988 h 6062148"/>
              <a:gd name="connsiteX2" fmla="*/ 437904 w 4522224"/>
              <a:gd name="connsiteY2" fmla="*/ 5780208 h 6062148"/>
              <a:gd name="connsiteX3" fmla="*/ 468384 w 4522224"/>
              <a:gd name="connsiteY3" fmla="*/ 5665908 h 6062148"/>
              <a:gd name="connsiteX4" fmla="*/ 506484 w 4522224"/>
              <a:gd name="connsiteY4" fmla="*/ 5612568 h 6062148"/>
              <a:gd name="connsiteX5" fmla="*/ 536964 w 4522224"/>
              <a:gd name="connsiteY5" fmla="*/ 5521128 h 6062148"/>
              <a:gd name="connsiteX6" fmla="*/ 559824 w 4522224"/>
              <a:gd name="connsiteY6" fmla="*/ 5353488 h 6062148"/>
              <a:gd name="connsiteX7" fmla="*/ 597924 w 4522224"/>
              <a:gd name="connsiteY7" fmla="*/ 5223948 h 6062148"/>
              <a:gd name="connsiteX8" fmla="*/ 620784 w 4522224"/>
              <a:gd name="connsiteY8" fmla="*/ 5178228 h 6062148"/>
              <a:gd name="connsiteX9" fmla="*/ 696984 w 4522224"/>
              <a:gd name="connsiteY9" fmla="*/ 5071548 h 6062148"/>
              <a:gd name="connsiteX10" fmla="*/ 712224 w 4522224"/>
              <a:gd name="connsiteY10" fmla="*/ 5063928 h 6062148"/>
              <a:gd name="connsiteX11" fmla="*/ 704604 w 4522224"/>
              <a:gd name="connsiteY11" fmla="*/ 5025828 h 6062148"/>
              <a:gd name="connsiteX12" fmla="*/ 696984 w 4522224"/>
              <a:gd name="connsiteY12" fmla="*/ 5002968 h 6062148"/>
              <a:gd name="connsiteX13" fmla="*/ 963684 w 4522224"/>
              <a:gd name="connsiteY13" fmla="*/ 4682928 h 6062148"/>
              <a:gd name="connsiteX14" fmla="*/ 956064 w 4522224"/>
              <a:gd name="connsiteY14" fmla="*/ 4644828 h 6062148"/>
              <a:gd name="connsiteX15" fmla="*/ 1337064 w 4522224"/>
              <a:gd name="connsiteY15" fmla="*/ 4172388 h 6062148"/>
              <a:gd name="connsiteX16" fmla="*/ 1253244 w 4522224"/>
              <a:gd name="connsiteY16" fmla="*/ 4012368 h 6062148"/>
              <a:gd name="connsiteX17" fmla="*/ 1199904 w 4522224"/>
              <a:gd name="connsiteY17" fmla="*/ 3928548 h 6062148"/>
              <a:gd name="connsiteX18" fmla="*/ 1169424 w 4522224"/>
              <a:gd name="connsiteY18" fmla="*/ 3768528 h 6062148"/>
              <a:gd name="connsiteX19" fmla="*/ 1146564 w 4522224"/>
              <a:gd name="connsiteY19" fmla="*/ 3699948 h 6062148"/>
              <a:gd name="connsiteX20" fmla="*/ 1138944 w 4522224"/>
              <a:gd name="connsiteY20" fmla="*/ 3669468 h 6062148"/>
              <a:gd name="connsiteX21" fmla="*/ 1062744 w 4522224"/>
              <a:gd name="connsiteY21" fmla="*/ 3661848 h 6062148"/>
              <a:gd name="connsiteX22" fmla="*/ 933204 w 4522224"/>
              <a:gd name="connsiteY22" fmla="*/ 3669468 h 6062148"/>
              <a:gd name="connsiteX23" fmla="*/ 826524 w 4522224"/>
              <a:gd name="connsiteY23" fmla="*/ 3692328 h 6062148"/>
              <a:gd name="connsiteX24" fmla="*/ 605544 w 4522224"/>
              <a:gd name="connsiteY24" fmla="*/ 3738048 h 6062148"/>
              <a:gd name="connsiteX25" fmla="*/ 384564 w 4522224"/>
              <a:gd name="connsiteY25" fmla="*/ 3638988 h 6062148"/>
              <a:gd name="connsiteX26" fmla="*/ 376944 w 4522224"/>
              <a:gd name="connsiteY26" fmla="*/ 3326568 h 6062148"/>
              <a:gd name="connsiteX27" fmla="*/ 415044 w 4522224"/>
              <a:gd name="connsiteY27" fmla="*/ 3250368 h 6062148"/>
              <a:gd name="connsiteX28" fmla="*/ 415044 w 4522224"/>
              <a:gd name="connsiteY28" fmla="*/ 3227508 h 6062148"/>
              <a:gd name="connsiteX29" fmla="*/ 384564 w 4522224"/>
              <a:gd name="connsiteY29" fmla="*/ 3166548 h 6062148"/>
              <a:gd name="connsiteX30" fmla="*/ 361704 w 4522224"/>
              <a:gd name="connsiteY30" fmla="*/ 3166548 h 6062148"/>
              <a:gd name="connsiteX31" fmla="*/ 346464 w 4522224"/>
              <a:gd name="connsiteY31" fmla="*/ 3105588 h 6062148"/>
              <a:gd name="connsiteX32" fmla="*/ 392184 w 4522224"/>
              <a:gd name="connsiteY32" fmla="*/ 3021768 h 6062148"/>
              <a:gd name="connsiteX33" fmla="*/ 483624 w 4522224"/>
              <a:gd name="connsiteY33" fmla="*/ 2998908 h 6062148"/>
              <a:gd name="connsiteX34" fmla="*/ 460764 w 4522224"/>
              <a:gd name="connsiteY34" fmla="*/ 2930328 h 6062148"/>
              <a:gd name="connsiteX35" fmla="*/ 430284 w 4522224"/>
              <a:gd name="connsiteY35" fmla="*/ 2930328 h 6062148"/>
              <a:gd name="connsiteX36" fmla="*/ 384564 w 4522224"/>
              <a:gd name="connsiteY36" fmla="*/ 2930328 h 6062148"/>
              <a:gd name="connsiteX37" fmla="*/ 300744 w 4522224"/>
              <a:gd name="connsiteY37" fmla="*/ 2876988 h 6062148"/>
              <a:gd name="connsiteX38" fmla="*/ 315984 w 4522224"/>
              <a:gd name="connsiteY38" fmla="*/ 2846508 h 6062148"/>
              <a:gd name="connsiteX39" fmla="*/ 323604 w 4522224"/>
              <a:gd name="connsiteY39" fmla="*/ 2793168 h 6062148"/>
              <a:gd name="connsiteX40" fmla="*/ 308364 w 4522224"/>
              <a:gd name="connsiteY40" fmla="*/ 2732208 h 6062148"/>
              <a:gd name="connsiteX41" fmla="*/ 262644 w 4522224"/>
              <a:gd name="connsiteY41" fmla="*/ 2671248 h 6062148"/>
              <a:gd name="connsiteX42" fmla="*/ 171204 w 4522224"/>
              <a:gd name="connsiteY42" fmla="*/ 2656008 h 6062148"/>
              <a:gd name="connsiteX43" fmla="*/ 49284 w 4522224"/>
              <a:gd name="connsiteY43" fmla="*/ 2610288 h 6062148"/>
              <a:gd name="connsiteX44" fmla="*/ 18804 w 4522224"/>
              <a:gd name="connsiteY44" fmla="*/ 2556948 h 6062148"/>
              <a:gd name="connsiteX45" fmla="*/ 3564 w 4522224"/>
              <a:gd name="connsiteY45" fmla="*/ 2488368 h 6062148"/>
              <a:gd name="connsiteX46" fmla="*/ 87384 w 4522224"/>
              <a:gd name="connsiteY46" fmla="*/ 2335968 h 6062148"/>
              <a:gd name="connsiteX47" fmla="*/ 216924 w 4522224"/>
              <a:gd name="connsiteY47" fmla="*/ 2175948 h 6062148"/>
              <a:gd name="connsiteX48" fmla="*/ 277884 w 4522224"/>
              <a:gd name="connsiteY48" fmla="*/ 2084508 h 6062148"/>
              <a:gd name="connsiteX49" fmla="*/ 323604 w 4522224"/>
              <a:gd name="connsiteY49" fmla="*/ 1977828 h 6062148"/>
              <a:gd name="connsiteX50" fmla="*/ 354084 w 4522224"/>
              <a:gd name="connsiteY50" fmla="*/ 1871148 h 6062148"/>
              <a:gd name="connsiteX51" fmla="*/ 369324 w 4522224"/>
              <a:gd name="connsiteY51" fmla="*/ 1810188 h 6062148"/>
              <a:gd name="connsiteX52" fmla="*/ 338844 w 4522224"/>
              <a:gd name="connsiteY52" fmla="*/ 1756848 h 6062148"/>
              <a:gd name="connsiteX53" fmla="*/ 323604 w 4522224"/>
              <a:gd name="connsiteY53" fmla="*/ 1680648 h 6062148"/>
              <a:gd name="connsiteX54" fmla="*/ 407424 w 4522224"/>
              <a:gd name="connsiteY54" fmla="*/ 1474908 h 6062148"/>
              <a:gd name="connsiteX55" fmla="*/ 437904 w 4522224"/>
              <a:gd name="connsiteY55" fmla="*/ 1307268 h 6062148"/>
              <a:gd name="connsiteX56" fmla="*/ 460764 w 4522224"/>
              <a:gd name="connsiteY56" fmla="*/ 1192968 h 6062148"/>
              <a:gd name="connsiteX57" fmla="*/ 498864 w 4522224"/>
              <a:gd name="connsiteY57" fmla="*/ 1055808 h 6062148"/>
              <a:gd name="connsiteX58" fmla="*/ 552204 w 4522224"/>
              <a:gd name="connsiteY58" fmla="*/ 888168 h 6062148"/>
              <a:gd name="connsiteX59" fmla="*/ 498864 w 4522224"/>
              <a:gd name="connsiteY59" fmla="*/ 888168 h 6062148"/>
              <a:gd name="connsiteX60" fmla="*/ 407424 w 4522224"/>
              <a:gd name="connsiteY60" fmla="*/ 834828 h 6062148"/>
              <a:gd name="connsiteX61" fmla="*/ 323604 w 4522224"/>
              <a:gd name="connsiteY61" fmla="*/ 789108 h 6062148"/>
              <a:gd name="connsiteX62" fmla="*/ 255024 w 4522224"/>
              <a:gd name="connsiteY62" fmla="*/ 773868 h 6062148"/>
              <a:gd name="connsiteX63" fmla="*/ 209304 w 4522224"/>
              <a:gd name="connsiteY63" fmla="*/ 751008 h 6062148"/>
              <a:gd name="connsiteX64" fmla="*/ 255024 w 4522224"/>
              <a:gd name="connsiteY64" fmla="*/ 674808 h 6062148"/>
              <a:gd name="connsiteX65" fmla="*/ 369324 w 4522224"/>
              <a:gd name="connsiteY65" fmla="*/ 606228 h 6062148"/>
              <a:gd name="connsiteX66" fmla="*/ 552204 w 4522224"/>
              <a:gd name="connsiteY66" fmla="*/ 507168 h 6062148"/>
              <a:gd name="connsiteX67" fmla="*/ 651264 w 4522224"/>
              <a:gd name="connsiteY67" fmla="*/ 423348 h 6062148"/>
              <a:gd name="connsiteX68" fmla="*/ 887484 w 4522224"/>
              <a:gd name="connsiteY68" fmla="*/ 232848 h 6062148"/>
              <a:gd name="connsiteX69" fmla="*/ 1169424 w 4522224"/>
              <a:gd name="connsiteY69" fmla="*/ 80448 h 6062148"/>
              <a:gd name="connsiteX70" fmla="*/ 1588524 w 4522224"/>
              <a:gd name="connsiteY70" fmla="*/ 11868 h 6062148"/>
              <a:gd name="connsiteX71" fmla="*/ 1939044 w 4522224"/>
              <a:gd name="connsiteY71" fmla="*/ 4248 h 6062148"/>
              <a:gd name="connsiteX72" fmla="*/ 2167644 w 4522224"/>
              <a:gd name="connsiteY72" fmla="*/ 4248 h 6062148"/>
              <a:gd name="connsiteX73" fmla="*/ 2388624 w 4522224"/>
              <a:gd name="connsiteY73" fmla="*/ 57588 h 6062148"/>
              <a:gd name="connsiteX74" fmla="*/ 2662944 w 4522224"/>
              <a:gd name="connsiteY74" fmla="*/ 133788 h 6062148"/>
              <a:gd name="connsiteX75" fmla="*/ 2815344 w 4522224"/>
              <a:gd name="connsiteY75" fmla="*/ 202368 h 6062148"/>
              <a:gd name="connsiteX76" fmla="*/ 3097284 w 4522224"/>
              <a:gd name="connsiteY76" fmla="*/ 400488 h 6062148"/>
              <a:gd name="connsiteX77" fmla="*/ 3280164 w 4522224"/>
              <a:gd name="connsiteY77" fmla="*/ 651948 h 6062148"/>
              <a:gd name="connsiteX78" fmla="*/ 3402084 w 4522224"/>
              <a:gd name="connsiteY78" fmla="*/ 918648 h 6062148"/>
              <a:gd name="connsiteX79" fmla="*/ 3470664 w 4522224"/>
              <a:gd name="connsiteY79" fmla="*/ 1238688 h 6062148"/>
              <a:gd name="connsiteX80" fmla="*/ 3501144 w 4522224"/>
              <a:gd name="connsiteY80" fmla="*/ 1543488 h 6062148"/>
              <a:gd name="connsiteX81" fmla="*/ 3501144 w 4522224"/>
              <a:gd name="connsiteY81" fmla="*/ 1962588 h 6062148"/>
              <a:gd name="connsiteX82" fmla="*/ 3333504 w 4522224"/>
              <a:gd name="connsiteY82" fmla="*/ 2305488 h 6062148"/>
              <a:gd name="connsiteX83" fmla="*/ 3249684 w 4522224"/>
              <a:gd name="connsiteY83" fmla="*/ 2473128 h 6062148"/>
              <a:gd name="connsiteX84" fmla="*/ 3127764 w 4522224"/>
              <a:gd name="connsiteY84" fmla="*/ 2663628 h 6062148"/>
              <a:gd name="connsiteX85" fmla="*/ 3066804 w 4522224"/>
              <a:gd name="connsiteY85" fmla="*/ 2838888 h 6062148"/>
              <a:gd name="connsiteX86" fmla="*/ 3059184 w 4522224"/>
              <a:gd name="connsiteY86" fmla="*/ 2915088 h 6062148"/>
              <a:gd name="connsiteX87" fmla="*/ 3013464 w 4522224"/>
              <a:gd name="connsiteY87" fmla="*/ 3014148 h 6062148"/>
              <a:gd name="connsiteX88" fmla="*/ 2975364 w 4522224"/>
              <a:gd name="connsiteY88" fmla="*/ 3082728 h 6062148"/>
              <a:gd name="connsiteX89" fmla="*/ 2952504 w 4522224"/>
              <a:gd name="connsiteY89" fmla="*/ 3120828 h 6062148"/>
              <a:gd name="connsiteX90" fmla="*/ 2952504 w 4522224"/>
              <a:gd name="connsiteY90" fmla="*/ 3555168 h 6062148"/>
              <a:gd name="connsiteX91" fmla="*/ 2952504 w 4522224"/>
              <a:gd name="connsiteY91" fmla="*/ 3562788 h 6062148"/>
              <a:gd name="connsiteX92" fmla="*/ 3005844 w 4522224"/>
              <a:gd name="connsiteY92" fmla="*/ 3539928 h 6062148"/>
              <a:gd name="connsiteX93" fmla="*/ 3059184 w 4522224"/>
              <a:gd name="connsiteY93" fmla="*/ 3562788 h 6062148"/>
              <a:gd name="connsiteX94" fmla="*/ 3104904 w 4522224"/>
              <a:gd name="connsiteY94" fmla="*/ 3570408 h 6062148"/>
              <a:gd name="connsiteX95" fmla="*/ 3135384 w 4522224"/>
              <a:gd name="connsiteY95" fmla="*/ 3631368 h 6062148"/>
              <a:gd name="connsiteX96" fmla="*/ 3112524 w 4522224"/>
              <a:gd name="connsiteY96" fmla="*/ 3738048 h 6062148"/>
              <a:gd name="connsiteX97" fmla="*/ 3120144 w 4522224"/>
              <a:gd name="connsiteY97" fmla="*/ 4103808 h 6062148"/>
              <a:gd name="connsiteX98" fmla="*/ 3112524 w 4522224"/>
              <a:gd name="connsiteY98" fmla="*/ 4119048 h 6062148"/>
              <a:gd name="connsiteX99" fmla="*/ 3158244 w 4522224"/>
              <a:gd name="connsiteY99" fmla="*/ 4157148 h 6062148"/>
              <a:gd name="connsiteX100" fmla="*/ 3196344 w 4522224"/>
              <a:gd name="connsiteY100" fmla="*/ 4164768 h 6062148"/>
              <a:gd name="connsiteX101" fmla="*/ 3226824 w 4522224"/>
              <a:gd name="connsiteY101" fmla="*/ 4172388 h 6062148"/>
              <a:gd name="connsiteX102" fmla="*/ 3280164 w 4522224"/>
              <a:gd name="connsiteY102" fmla="*/ 4294308 h 6062148"/>
              <a:gd name="connsiteX103" fmla="*/ 3295404 w 4522224"/>
              <a:gd name="connsiteY103" fmla="*/ 4347648 h 6062148"/>
              <a:gd name="connsiteX104" fmla="*/ 3325884 w 4522224"/>
              <a:gd name="connsiteY104" fmla="*/ 4408608 h 6062148"/>
              <a:gd name="connsiteX105" fmla="*/ 3546864 w 4522224"/>
              <a:gd name="connsiteY105" fmla="*/ 4644828 h 6062148"/>
              <a:gd name="connsiteX106" fmla="*/ 3882144 w 4522224"/>
              <a:gd name="connsiteY106" fmla="*/ 5025828 h 6062148"/>
              <a:gd name="connsiteX107" fmla="*/ 4095504 w 4522224"/>
              <a:gd name="connsiteY107" fmla="*/ 5300148 h 6062148"/>
              <a:gd name="connsiteX108" fmla="*/ 4362204 w 4522224"/>
              <a:gd name="connsiteY108" fmla="*/ 5726868 h 6062148"/>
              <a:gd name="connsiteX109" fmla="*/ 4522224 w 4522224"/>
              <a:gd name="connsiteY109" fmla="*/ 6046908 h 6062148"/>
              <a:gd name="connsiteX0" fmla="*/ 323604 w 4522224"/>
              <a:gd name="connsiteY0" fmla="*/ 6062148 h 6062148"/>
              <a:gd name="connsiteX1" fmla="*/ 376944 w 4522224"/>
              <a:gd name="connsiteY1" fmla="*/ 5924988 h 6062148"/>
              <a:gd name="connsiteX2" fmla="*/ 437904 w 4522224"/>
              <a:gd name="connsiteY2" fmla="*/ 5780208 h 6062148"/>
              <a:gd name="connsiteX3" fmla="*/ 468384 w 4522224"/>
              <a:gd name="connsiteY3" fmla="*/ 5665908 h 6062148"/>
              <a:gd name="connsiteX4" fmla="*/ 506484 w 4522224"/>
              <a:gd name="connsiteY4" fmla="*/ 5612568 h 6062148"/>
              <a:gd name="connsiteX5" fmla="*/ 536964 w 4522224"/>
              <a:gd name="connsiteY5" fmla="*/ 5521128 h 6062148"/>
              <a:gd name="connsiteX6" fmla="*/ 559824 w 4522224"/>
              <a:gd name="connsiteY6" fmla="*/ 5353488 h 6062148"/>
              <a:gd name="connsiteX7" fmla="*/ 597924 w 4522224"/>
              <a:gd name="connsiteY7" fmla="*/ 5223948 h 6062148"/>
              <a:gd name="connsiteX8" fmla="*/ 620784 w 4522224"/>
              <a:gd name="connsiteY8" fmla="*/ 5178228 h 6062148"/>
              <a:gd name="connsiteX9" fmla="*/ 696984 w 4522224"/>
              <a:gd name="connsiteY9" fmla="*/ 5071548 h 6062148"/>
              <a:gd name="connsiteX10" fmla="*/ 712224 w 4522224"/>
              <a:gd name="connsiteY10" fmla="*/ 5063928 h 6062148"/>
              <a:gd name="connsiteX11" fmla="*/ 704604 w 4522224"/>
              <a:gd name="connsiteY11" fmla="*/ 5025828 h 6062148"/>
              <a:gd name="connsiteX12" fmla="*/ 696984 w 4522224"/>
              <a:gd name="connsiteY12" fmla="*/ 5002968 h 6062148"/>
              <a:gd name="connsiteX13" fmla="*/ 963684 w 4522224"/>
              <a:gd name="connsiteY13" fmla="*/ 4682928 h 6062148"/>
              <a:gd name="connsiteX14" fmla="*/ 956064 w 4522224"/>
              <a:gd name="connsiteY14" fmla="*/ 4644828 h 6062148"/>
              <a:gd name="connsiteX15" fmla="*/ 1337064 w 4522224"/>
              <a:gd name="connsiteY15" fmla="*/ 4172388 h 6062148"/>
              <a:gd name="connsiteX16" fmla="*/ 1253244 w 4522224"/>
              <a:gd name="connsiteY16" fmla="*/ 4012368 h 6062148"/>
              <a:gd name="connsiteX17" fmla="*/ 1199904 w 4522224"/>
              <a:gd name="connsiteY17" fmla="*/ 3928548 h 6062148"/>
              <a:gd name="connsiteX18" fmla="*/ 1169424 w 4522224"/>
              <a:gd name="connsiteY18" fmla="*/ 3768528 h 6062148"/>
              <a:gd name="connsiteX19" fmla="*/ 1146564 w 4522224"/>
              <a:gd name="connsiteY19" fmla="*/ 3699948 h 6062148"/>
              <a:gd name="connsiteX20" fmla="*/ 1138944 w 4522224"/>
              <a:gd name="connsiteY20" fmla="*/ 3669468 h 6062148"/>
              <a:gd name="connsiteX21" fmla="*/ 1062744 w 4522224"/>
              <a:gd name="connsiteY21" fmla="*/ 3661848 h 6062148"/>
              <a:gd name="connsiteX22" fmla="*/ 933204 w 4522224"/>
              <a:gd name="connsiteY22" fmla="*/ 3669468 h 6062148"/>
              <a:gd name="connsiteX23" fmla="*/ 826524 w 4522224"/>
              <a:gd name="connsiteY23" fmla="*/ 3692328 h 6062148"/>
              <a:gd name="connsiteX24" fmla="*/ 605544 w 4522224"/>
              <a:gd name="connsiteY24" fmla="*/ 3738048 h 6062148"/>
              <a:gd name="connsiteX25" fmla="*/ 384564 w 4522224"/>
              <a:gd name="connsiteY25" fmla="*/ 3638988 h 6062148"/>
              <a:gd name="connsiteX26" fmla="*/ 376944 w 4522224"/>
              <a:gd name="connsiteY26" fmla="*/ 3326568 h 6062148"/>
              <a:gd name="connsiteX27" fmla="*/ 415044 w 4522224"/>
              <a:gd name="connsiteY27" fmla="*/ 3227508 h 6062148"/>
              <a:gd name="connsiteX28" fmla="*/ 384564 w 4522224"/>
              <a:gd name="connsiteY28" fmla="*/ 3166548 h 6062148"/>
              <a:gd name="connsiteX29" fmla="*/ 361704 w 4522224"/>
              <a:gd name="connsiteY29" fmla="*/ 3166548 h 6062148"/>
              <a:gd name="connsiteX30" fmla="*/ 346464 w 4522224"/>
              <a:gd name="connsiteY30" fmla="*/ 3105588 h 6062148"/>
              <a:gd name="connsiteX31" fmla="*/ 392184 w 4522224"/>
              <a:gd name="connsiteY31" fmla="*/ 3021768 h 6062148"/>
              <a:gd name="connsiteX32" fmla="*/ 483624 w 4522224"/>
              <a:gd name="connsiteY32" fmla="*/ 2998908 h 6062148"/>
              <a:gd name="connsiteX33" fmla="*/ 460764 w 4522224"/>
              <a:gd name="connsiteY33" fmla="*/ 2930328 h 6062148"/>
              <a:gd name="connsiteX34" fmla="*/ 430284 w 4522224"/>
              <a:gd name="connsiteY34" fmla="*/ 2930328 h 6062148"/>
              <a:gd name="connsiteX35" fmla="*/ 384564 w 4522224"/>
              <a:gd name="connsiteY35" fmla="*/ 2930328 h 6062148"/>
              <a:gd name="connsiteX36" fmla="*/ 300744 w 4522224"/>
              <a:gd name="connsiteY36" fmla="*/ 2876988 h 6062148"/>
              <a:gd name="connsiteX37" fmla="*/ 315984 w 4522224"/>
              <a:gd name="connsiteY37" fmla="*/ 2846508 h 6062148"/>
              <a:gd name="connsiteX38" fmla="*/ 323604 w 4522224"/>
              <a:gd name="connsiteY38" fmla="*/ 2793168 h 6062148"/>
              <a:gd name="connsiteX39" fmla="*/ 308364 w 4522224"/>
              <a:gd name="connsiteY39" fmla="*/ 2732208 h 6062148"/>
              <a:gd name="connsiteX40" fmla="*/ 262644 w 4522224"/>
              <a:gd name="connsiteY40" fmla="*/ 2671248 h 6062148"/>
              <a:gd name="connsiteX41" fmla="*/ 171204 w 4522224"/>
              <a:gd name="connsiteY41" fmla="*/ 2656008 h 6062148"/>
              <a:gd name="connsiteX42" fmla="*/ 49284 w 4522224"/>
              <a:gd name="connsiteY42" fmla="*/ 2610288 h 6062148"/>
              <a:gd name="connsiteX43" fmla="*/ 18804 w 4522224"/>
              <a:gd name="connsiteY43" fmla="*/ 2556948 h 6062148"/>
              <a:gd name="connsiteX44" fmla="*/ 3564 w 4522224"/>
              <a:gd name="connsiteY44" fmla="*/ 2488368 h 6062148"/>
              <a:gd name="connsiteX45" fmla="*/ 87384 w 4522224"/>
              <a:gd name="connsiteY45" fmla="*/ 2335968 h 6062148"/>
              <a:gd name="connsiteX46" fmla="*/ 216924 w 4522224"/>
              <a:gd name="connsiteY46" fmla="*/ 2175948 h 6062148"/>
              <a:gd name="connsiteX47" fmla="*/ 277884 w 4522224"/>
              <a:gd name="connsiteY47" fmla="*/ 2084508 h 6062148"/>
              <a:gd name="connsiteX48" fmla="*/ 323604 w 4522224"/>
              <a:gd name="connsiteY48" fmla="*/ 1977828 h 6062148"/>
              <a:gd name="connsiteX49" fmla="*/ 354084 w 4522224"/>
              <a:gd name="connsiteY49" fmla="*/ 1871148 h 6062148"/>
              <a:gd name="connsiteX50" fmla="*/ 369324 w 4522224"/>
              <a:gd name="connsiteY50" fmla="*/ 1810188 h 6062148"/>
              <a:gd name="connsiteX51" fmla="*/ 338844 w 4522224"/>
              <a:gd name="connsiteY51" fmla="*/ 1756848 h 6062148"/>
              <a:gd name="connsiteX52" fmla="*/ 323604 w 4522224"/>
              <a:gd name="connsiteY52" fmla="*/ 1680648 h 6062148"/>
              <a:gd name="connsiteX53" fmla="*/ 407424 w 4522224"/>
              <a:gd name="connsiteY53" fmla="*/ 1474908 h 6062148"/>
              <a:gd name="connsiteX54" fmla="*/ 437904 w 4522224"/>
              <a:gd name="connsiteY54" fmla="*/ 1307268 h 6062148"/>
              <a:gd name="connsiteX55" fmla="*/ 460764 w 4522224"/>
              <a:gd name="connsiteY55" fmla="*/ 1192968 h 6062148"/>
              <a:gd name="connsiteX56" fmla="*/ 498864 w 4522224"/>
              <a:gd name="connsiteY56" fmla="*/ 1055808 h 6062148"/>
              <a:gd name="connsiteX57" fmla="*/ 552204 w 4522224"/>
              <a:gd name="connsiteY57" fmla="*/ 888168 h 6062148"/>
              <a:gd name="connsiteX58" fmla="*/ 498864 w 4522224"/>
              <a:gd name="connsiteY58" fmla="*/ 888168 h 6062148"/>
              <a:gd name="connsiteX59" fmla="*/ 407424 w 4522224"/>
              <a:gd name="connsiteY59" fmla="*/ 834828 h 6062148"/>
              <a:gd name="connsiteX60" fmla="*/ 323604 w 4522224"/>
              <a:gd name="connsiteY60" fmla="*/ 789108 h 6062148"/>
              <a:gd name="connsiteX61" fmla="*/ 255024 w 4522224"/>
              <a:gd name="connsiteY61" fmla="*/ 773868 h 6062148"/>
              <a:gd name="connsiteX62" fmla="*/ 209304 w 4522224"/>
              <a:gd name="connsiteY62" fmla="*/ 751008 h 6062148"/>
              <a:gd name="connsiteX63" fmla="*/ 255024 w 4522224"/>
              <a:gd name="connsiteY63" fmla="*/ 674808 h 6062148"/>
              <a:gd name="connsiteX64" fmla="*/ 369324 w 4522224"/>
              <a:gd name="connsiteY64" fmla="*/ 606228 h 6062148"/>
              <a:gd name="connsiteX65" fmla="*/ 552204 w 4522224"/>
              <a:gd name="connsiteY65" fmla="*/ 507168 h 6062148"/>
              <a:gd name="connsiteX66" fmla="*/ 651264 w 4522224"/>
              <a:gd name="connsiteY66" fmla="*/ 423348 h 6062148"/>
              <a:gd name="connsiteX67" fmla="*/ 887484 w 4522224"/>
              <a:gd name="connsiteY67" fmla="*/ 232848 h 6062148"/>
              <a:gd name="connsiteX68" fmla="*/ 1169424 w 4522224"/>
              <a:gd name="connsiteY68" fmla="*/ 80448 h 6062148"/>
              <a:gd name="connsiteX69" fmla="*/ 1588524 w 4522224"/>
              <a:gd name="connsiteY69" fmla="*/ 11868 h 6062148"/>
              <a:gd name="connsiteX70" fmla="*/ 1939044 w 4522224"/>
              <a:gd name="connsiteY70" fmla="*/ 4248 h 6062148"/>
              <a:gd name="connsiteX71" fmla="*/ 2167644 w 4522224"/>
              <a:gd name="connsiteY71" fmla="*/ 4248 h 6062148"/>
              <a:gd name="connsiteX72" fmla="*/ 2388624 w 4522224"/>
              <a:gd name="connsiteY72" fmla="*/ 57588 h 6062148"/>
              <a:gd name="connsiteX73" fmla="*/ 2662944 w 4522224"/>
              <a:gd name="connsiteY73" fmla="*/ 133788 h 6062148"/>
              <a:gd name="connsiteX74" fmla="*/ 2815344 w 4522224"/>
              <a:gd name="connsiteY74" fmla="*/ 202368 h 6062148"/>
              <a:gd name="connsiteX75" fmla="*/ 3097284 w 4522224"/>
              <a:gd name="connsiteY75" fmla="*/ 400488 h 6062148"/>
              <a:gd name="connsiteX76" fmla="*/ 3280164 w 4522224"/>
              <a:gd name="connsiteY76" fmla="*/ 651948 h 6062148"/>
              <a:gd name="connsiteX77" fmla="*/ 3402084 w 4522224"/>
              <a:gd name="connsiteY77" fmla="*/ 918648 h 6062148"/>
              <a:gd name="connsiteX78" fmla="*/ 3470664 w 4522224"/>
              <a:gd name="connsiteY78" fmla="*/ 1238688 h 6062148"/>
              <a:gd name="connsiteX79" fmla="*/ 3501144 w 4522224"/>
              <a:gd name="connsiteY79" fmla="*/ 1543488 h 6062148"/>
              <a:gd name="connsiteX80" fmla="*/ 3501144 w 4522224"/>
              <a:gd name="connsiteY80" fmla="*/ 1962588 h 6062148"/>
              <a:gd name="connsiteX81" fmla="*/ 3333504 w 4522224"/>
              <a:gd name="connsiteY81" fmla="*/ 2305488 h 6062148"/>
              <a:gd name="connsiteX82" fmla="*/ 3249684 w 4522224"/>
              <a:gd name="connsiteY82" fmla="*/ 2473128 h 6062148"/>
              <a:gd name="connsiteX83" fmla="*/ 3127764 w 4522224"/>
              <a:gd name="connsiteY83" fmla="*/ 2663628 h 6062148"/>
              <a:gd name="connsiteX84" fmla="*/ 3066804 w 4522224"/>
              <a:gd name="connsiteY84" fmla="*/ 2838888 h 6062148"/>
              <a:gd name="connsiteX85" fmla="*/ 3059184 w 4522224"/>
              <a:gd name="connsiteY85" fmla="*/ 2915088 h 6062148"/>
              <a:gd name="connsiteX86" fmla="*/ 3013464 w 4522224"/>
              <a:gd name="connsiteY86" fmla="*/ 3014148 h 6062148"/>
              <a:gd name="connsiteX87" fmla="*/ 2975364 w 4522224"/>
              <a:gd name="connsiteY87" fmla="*/ 3082728 h 6062148"/>
              <a:gd name="connsiteX88" fmla="*/ 2952504 w 4522224"/>
              <a:gd name="connsiteY88" fmla="*/ 3120828 h 6062148"/>
              <a:gd name="connsiteX89" fmla="*/ 2952504 w 4522224"/>
              <a:gd name="connsiteY89" fmla="*/ 3555168 h 6062148"/>
              <a:gd name="connsiteX90" fmla="*/ 2952504 w 4522224"/>
              <a:gd name="connsiteY90" fmla="*/ 3562788 h 6062148"/>
              <a:gd name="connsiteX91" fmla="*/ 3005844 w 4522224"/>
              <a:gd name="connsiteY91" fmla="*/ 3539928 h 6062148"/>
              <a:gd name="connsiteX92" fmla="*/ 3059184 w 4522224"/>
              <a:gd name="connsiteY92" fmla="*/ 3562788 h 6062148"/>
              <a:gd name="connsiteX93" fmla="*/ 3104904 w 4522224"/>
              <a:gd name="connsiteY93" fmla="*/ 3570408 h 6062148"/>
              <a:gd name="connsiteX94" fmla="*/ 3135384 w 4522224"/>
              <a:gd name="connsiteY94" fmla="*/ 3631368 h 6062148"/>
              <a:gd name="connsiteX95" fmla="*/ 3112524 w 4522224"/>
              <a:gd name="connsiteY95" fmla="*/ 3738048 h 6062148"/>
              <a:gd name="connsiteX96" fmla="*/ 3120144 w 4522224"/>
              <a:gd name="connsiteY96" fmla="*/ 4103808 h 6062148"/>
              <a:gd name="connsiteX97" fmla="*/ 3112524 w 4522224"/>
              <a:gd name="connsiteY97" fmla="*/ 4119048 h 6062148"/>
              <a:gd name="connsiteX98" fmla="*/ 3158244 w 4522224"/>
              <a:gd name="connsiteY98" fmla="*/ 4157148 h 6062148"/>
              <a:gd name="connsiteX99" fmla="*/ 3196344 w 4522224"/>
              <a:gd name="connsiteY99" fmla="*/ 4164768 h 6062148"/>
              <a:gd name="connsiteX100" fmla="*/ 3226824 w 4522224"/>
              <a:gd name="connsiteY100" fmla="*/ 4172388 h 6062148"/>
              <a:gd name="connsiteX101" fmla="*/ 3280164 w 4522224"/>
              <a:gd name="connsiteY101" fmla="*/ 4294308 h 6062148"/>
              <a:gd name="connsiteX102" fmla="*/ 3295404 w 4522224"/>
              <a:gd name="connsiteY102" fmla="*/ 4347648 h 6062148"/>
              <a:gd name="connsiteX103" fmla="*/ 3325884 w 4522224"/>
              <a:gd name="connsiteY103" fmla="*/ 4408608 h 6062148"/>
              <a:gd name="connsiteX104" fmla="*/ 3546864 w 4522224"/>
              <a:gd name="connsiteY104" fmla="*/ 4644828 h 6062148"/>
              <a:gd name="connsiteX105" fmla="*/ 3882144 w 4522224"/>
              <a:gd name="connsiteY105" fmla="*/ 5025828 h 6062148"/>
              <a:gd name="connsiteX106" fmla="*/ 4095504 w 4522224"/>
              <a:gd name="connsiteY106" fmla="*/ 5300148 h 6062148"/>
              <a:gd name="connsiteX107" fmla="*/ 4362204 w 4522224"/>
              <a:gd name="connsiteY107" fmla="*/ 5726868 h 6062148"/>
              <a:gd name="connsiteX108" fmla="*/ 4522224 w 4522224"/>
              <a:gd name="connsiteY108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66706 w 4527226"/>
              <a:gd name="connsiteY29" fmla="*/ 3166548 h 6062148"/>
              <a:gd name="connsiteX30" fmla="*/ 351466 w 4527226"/>
              <a:gd name="connsiteY30" fmla="*/ 3105588 h 6062148"/>
              <a:gd name="connsiteX31" fmla="*/ 397186 w 4527226"/>
              <a:gd name="connsiteY31" fmla="*/ 3021768 h 6062148"/>
              <a:gd name="connsiteX32" fmla="*/ 488626 w 4527226"/>
              <a:gd name="connsiteY32" fmla="*/ 2998908 h 6062148"/>
              <a:gd name="connsiteX33" fmla="*/ 465766 w 4527226"/>
              <a:gd name="connsiteY33" fmla="*/ 2930328 h 6062148"/>
              <a:gd name="connsiteX34" fmla="*/ 435286 w 4527226"/>
              <a:gd name="connsiteY34" fmla="*/ 2930328 h 6062148"/>
              <a:gd name="connsiteX35" fmla="*/ 389566 w 4527226"/>
              <a:gd name="connsiteY35" fmla="*/ 2930328 h 6062148"/>
              <a:gd name="connsiteX36" fmla="*/ 305746 w 4527226"/>
              <a:gd name="connsiteY36" fmla="*/ 2876988 h 6062148"/>
              <a:gd name="connsiteX37" fmla="*/ 320986 w 4527226"/>
              <a:gd name="connsiteY37" fmla="*/ 2846508 h 6062148"/>
              <a:gd name="connsiteX38" fmla="*/ 328606 w 4527226"/>
              <a:gd name="connsiteY38" fmla="*/ 2793168 h 6062148"/>
              <a:gd name="connsiteX39" fmla="*/ 313366 w 4527226"/>
              <a:gd name="connsiteY39" fmla="*/ 2732208 h 6062148"/>
              <a:gd name="connsiteX40" fmla="*/ 267646 w 4527226"/>
              <a:gd name="connsiteY40" fmla="*/ 2671248 h 6062148"/>
              <a:gd name="connsiteX41" fmla="*/ 176206 w 4527226"/>
              <a:gd name="connsiteY41" fmla="*/ 2656008 h 6062148"/>
              <a:gd name="connsiteX42" fmla="*/ 54286 w 4527226"/>
              <a:gd name="connsiteY42" fmla="*/ 2610288 h 6062148"/>
              <a:gd name="connsiteX43" fmla="*/ 7931 w 4527226"/>
              <a:gd name="connsiteY43" fmla="*/ 2563298 h 6062148"/>
              <a:gd name="connsiteX44" fmla="*/ 8566 w 4527226"/>
              <a:gd name="connsiteY44" fmla="*/ 2488368 h 6062148"/>
              <a:gd name="connsiteX45" fmla="*/ 92386 w 4527226"/>
              <a:gd name="connsiteY45" fmla="*/ 2335968 h 6062148"/>
              <a:gd name="connsiteX46" fmla="*/ 221926 w 4527226"/>
              <a:gd name="connsiteY46" fmla="*/ 2175948 h 6062148"/>
              <a:gd name="connsiteX47" fmla="*/ 282886 w 4527226"/>
              <a:gd name="connsiteY47" fmla="*/ 2084508 h 6062148"/>
              <a:gd name="connsiteX48" fmla="*/ 328606 w 4527226"/>
              <a:gd name="connsiteY48" fmla="*/ 1977828 h 6062148"/>
              <a:gd name="connsiteX49" fmla="*/ 359086 w 4527226"/>
              <a:gd name="connsiteY49" fmla="*/ 1871148 h 6062148"/>
              <a:gd name="connsiteX50" fmla="*/ 374326 w 4527226"/>
              <a:gd name="connsiteY50" fmla="*/ 1810188 h 6062148"/>
              <a:gd name="connsiteX51" fmla="*/ 343846 w 4527226"/>
              <a:gd name="connsiteY51" fmla="*/ 1756848 h 6062148"/>
              <a:gd name="connsiteX52" fmla="*/ 328606 w 4527226"/>
              <a:gd name="connsiteY52" fmla="*/ 1680648 h 6062148"/>
              <a:gd name="connsiteX53" fmla="*/ 412426 w 4527226"/>
              <a:gd name="connsiteY53" fmla="*/ 1474908 h 6062148"/>
              <a:gd name="connsiteX54" fmla="*/ 442906 w 4527226"/>
              <a:gd name="connsiteY54" fmla="*/ 1307268 h 6062148"/>
              <a:gd name="connsiteX55" fmla="*/ 465766 w 4527226"/>
              <a:gd name="connsiteY55" fmla="*/ 1192968 h 6062148"/>
              <a:gd name="connsiteX56" fmla="*/ 503866 w 4527226"/>
              <a:gd name="connsiteY56" fmla="*/ 1055808 h 6062148"/>
              <a:gd name="connsiteX57" fmla="*/ 557206 w 4527226"/>
              <a:gd name="connsiteY57" fmla="*/ 888168 h 6062148"/>
              <a:gd name="connsiteX58" fmla="*/ 503866 w 4527226"/>
              <a:gd name="connsiteY58" fmla="*/ 888168 h 6062148"/>
              <a:gd name="connsiteX59" fmla="*/ 412426 w 4527226"/>
              <a:gd name="connsiteY59" fmla="*/ 834828 h 6062148"/>
              <a:gd name="connsiteX60" fmla="*/ 328606 w 4527226"/>
              <a:gd name="connsiteY60" fmla="*/ 789108 h 6062148"/>
              <a:gd name="connsiteX61" fmla="*/ 260026 w 4527226"/>
              <a:gd name="connsiteY61" fmla="*/ 773868 h 6062148"/>
              <a:gd name="connsiteX62" fmla="*/ 214306 w 4527226"/>
              <a:gd name="connsiteY62" fmla="*/ 751008 h 6062148"/>
              <a:gd name="connsiteX63" fmla="*/ 260026 w 4527226"/>
              <a:gd name="connsiteY63" fmla="*/ 674808 h 6062148"/>
              <a:gd name="connsiteX64" fmla="*/ 374326 w 4527226"/>
              <a:gd name="connsiteY64" fmla="*/ 606228 h 6062148"/>
              <a:gd name="connsiteX65" fmla="*/ 557206 w 4527226"/>
              <a:gd name="connsiteY65" fmla="*/ 507168 h 6062148"/>
              <a:gd name="connsiteX66" fmla="*/ 656266 w 4527226"/>
              <a:gd name="connsiteY66" fmla="*/ 423348 h 6062148"/>
              <a:gd name="connsiteX67" fmla="*/ 892486 w 4527226"/>
              <a:gd name="connsiteY67" fmla="*/ 232848 h 6062148"/>
              <a:gd name="connsiteX68" fmla="*/ 1174426 w 4527226"/>
              <a:gd name="connsiteY68" fmla="*/ 80448 h 6062148"/>
              <a:gd name="connsiteX69" fmla="*/ 1593526 w 4527226"/>
              <a:gd name="connsiteY69" fmla="*/ 11868 h 6062148"/>
              <a:gd name="connsiteX70" fmla="*/ 1944046 w 4527226"/>
              <a:gd name="connsiteY70" fmla="*/ 4248 h 6062148"/>
              <a:gd name="connsiteX71" fmla="*/ 2172646 w 4527226"/>
              <a:gd name="connsiteY71" fmla="*/ 4248 h 6062148"/>
              <a:gd name="connsiteX72" fmla="*/ 2393626 w 4527226"/>
              <a:gd name="connsiteY72" fmla="*/ 57588 h 6062148"/>
              <a:gd name="connsiteX73" fmla="*/ 2667946 w 4527226"/>
              <a:gd name="connsiteY73" fmla="*/ 133788 h 6062148"/>
              <a:gd name="connsiteX74" fmla="*/ 2820346 w 4527226"/>
              <a:gd name="connsiteY74" fmla="*/ 202368 h 6062148"/>
              <a:gd name="connsiteX75" fmla="*/ 3102286 w 4527226"/>
              <a:gd name="connsiteY75" fmla="*/ 400488 h 6062148"/>
              <a:gd name="connsiteX76" fmla="*/ 3285166 w 4527226"/>
              <a:gd name="connsiteY76" fmla="*/ 651948 h 6062148"/>
              <a:gd name="connsiteX77" fmla="*/ 3407086 w 4527226"/>
              <a:gd name="connsiteY77" fmla="*/ 918648 h 6062148"/>
              <a:gd name="connsiteX78" fmla="*/ 3475666 w 4527226"/>
              <a:gd name="connsiteY78" fmla="*/ 1238688 h 6062148"/>
              <a:gd name="connsiteX79" fmla="*/ 3506146 w 4527226"/>
              <a:gd name="connsiteY79" fmla="*/ 1543488 h 6062148"/>
              <a:gd name="connsiteX80" fmla="*/ 3506146 w 4527226"/>
              <a:gd name="connsiteY80" fmla="*/ 1962588 h 6062148"/>
              <a:gd name="connsiteX81" fmla="*/ 3338506 w 4527226"/>
              <a:gd name="connsiteY81" fmla="*/ 2305488 h 6062148"/>
              <a:gd name="connsiteX82" fmla="*/ 3254686 w 4527226"/>
              <a:gd name="connsiteY82" fmla="*/ 2473128 h 6062148"/>
              <a:gd name="connsiteX83" fmla="*/ 3132766 w 4527226"/>
              <a:gd name="connsiteY83" fmla="*/ 2663628 h 6062148"/>
              <a:gd name="connsiteX84" fmla="*/ 3071806 w 4527226"/>
              <a:gd name="connsiteY84" fmla="*/ 2838888 h 6062148"/>
              <a:gd name="connsiteX85" fmla="*/ 3064186 w 4527226"/>
              <a:gd name="connsiteY85" fmla="*/ 2915088 h 6062148"/>
              <a:gd name="connsiteX86" fmla="*/ 3018466 w 4527226"/>
              <a:gd name="connsiteY86" fmla="*/ 3014148 h 6062148"/>
              <a:gd name="connsiteX87" fmla="*/ 2980366 w 4527226"/>
              <a:gd name="connsiteY87" fmla="*/ 3082728 h 6062148"/>
              <a:gd name="connsiteX88" fmla="*/ 2957506 w 4527226"/>
              <a:gd name="connsiteY88" fmla="*/ 3120828 h 6062148"/>
              <a:gd name="connsiteX89" fmla="*/ 2957506 w 4527226"/>
              <a:gd name="connsiteY89" fmla="*/ 3555168 h 6062148"/>
              <a:gd name="connsiteX90" fmla="*/ 2957506 w 4527226"/>
              <a:gd name="connsiteY90" fmla="*/ 3562788 h 6062148"/>
              <a:gd name="connsiteX91" fmla="*/ 3010846 w 4527226"/>
              <a:gd name="connsiteY91" fmla="*/ 3539928 h 6062148"/>
              <a:gd name="connsiteX92" fmla="*/ 3064186 w 4527226"/>
              <a:gd name="connsiteY92" fmla="*/ 3562788 h 6062148"/>
              <a:gd name="connsiteX93" fmla="*/ 3109906 w 4527226"/>
              <a:gd name="connsiteY93" fmla="*/ 3570408 h 6062148"/>
              <a:gd name="connsiteX94" fmla="*/ 3140386 w 4527226"/>
              <a:gd name="connsiteY94" fmla="*/ 3631368 h 6062148"/>
              <a:gd name="connsiteX95" fmla="*/ 3117526 w 4527226"/>
              <a:gd name="connsiteY95" fmla="*/ 3738048 h 6062148"/>
              <a:gd name="connsiteX96" fmla="*/ 3125146 w 4527226"/>
              <a:gd name="connsiteY96" fmla="*/ 4103808 h 6062148"/>
              <a:gd name="connsiteX97" fmla="*/ 3117526 w 4527226"/>
              <a:gd name="connsiteY97" fmla="*/ 4119048 h 6062148"/>
              <a:gd name="connsiteX98" fmla="*/ 3163246 w 4527226"/>
              <a:gd name="connsiteY98" fmla="*/ 4157148 h 6062148"/>
              <a:gd name="connsiteX99" fmla="*/ 3201346 w 4527226"/>
              <a:gd name="connsiteY99" fmla="*/ 4164768 h 6062148"/>
              <a:gd name="connsiteX100" fmla="*/ 3231826 w 4527226"/>
              <a:gd name="connsiteY100" fmla="*/ 4172388 h 6062148"/>
              <a:gd name="connsiteX101" fmla="*/ 3285166 w 4527226"/>
              <a:gd name="connsiteY101" fmla="*/ 4294308 h 6062148"/>
              <a:gd name="connsiteX102" fmla="*/ 3300406 w 4527226"/>
              <a:gd name="connsiteY102" fmla="*/ 4347648 h 6062148"/>
              <a:gd name="connsiteX103" fmla="*/ 3330886 w 4527226"/>
              <a:gd name="connsiteY103" fmla="*/ 4408608 h 6062148"/>
              <a:gd name="connsiteX104" fmla="*/ 3551866 w 4527226"/>
              <a:gd name="connsiteY104" fmla="*/ 4644828 h 6062148"/>
              <a:gd name="connsiteX105" fmla="*/ 3887146 w 4527226"/>
              <a:gd name="connsiteY105" fmla="*/ 5025828 h 6062148"/>
              <a:gd name="connsiteX106" fmla="*/ 4100506 w 4527226"/>
              <a:gd name="connsiteY106" fmla="*/ 5300148 h 6062148"/>
              <a:gd name="connsiteX107" fmla="*/ 4367206 w 4527226"/>
              <a:gd name="connsiteY107" fmla="*/ 5726868 h 6062148"/>
              <a:gd name="connsiteX108" fmla="*/ 4527226 w 4527226"/>
              <a:gd name="connsiteY108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65766 w 4527226"/>
              <a:gd name="connsiteY32" fmla="*/ 2930328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05746 w 4527226"/>
              <a:gd name="connsiteY35" fmla="*/ 2876988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2957506 w 4527226"/>
              <a:gd name="connsiteY89" fmla="*/ 3562788 h 6062148"/>
              <a:gd name="connsiteX90" fmla="*/ 3010846 w 4527226"/>
              <a:gd name="connsiteY90" fmla="*/ 3539928 h 6062148"/>
              <a:gd name="connsiteX91" fmla="*/ 3064186 w 4527226"/>
              <a:gd name="connsiteY91" fmla="*/ 3562788 h 6062148"/>
              <a:gd name="connsiteX92" fmla="*/ 3109906 w 4527226"/>
              <a:gd name="connsiteY92" fmla="*/ 3570408 h 6062148"/>
              <a:gd name="connsiteX93" fmla="*/ 3140386 w 4527226"/>
              <a:gd name="connsiteY93" fmla="*/ 3631368 h 6062148"/>
              <a:gd name="connsiteX94" fmla="*/ 3117526 w 4527226"/>
              <a:gd name="connsiteY94" fmla="*/ 3738048 h 6062148"/>
              <a:gd name="connsiteX95" fmla="*/ 3125146 w 4527226"/>
              <a:gd name="connsiteY95" fmla="*/ 4103808 h 6062148"/>
              <a:gd name="connsiteX96" fmla="*/ 3117526 w 4527226"/>
              <a:gd name="connsiteY96" fmla="*/ 4119048 h 6062148"/>
              <a:gd name="connsiteX97" fmla="*/ 3163246 w 4527226"/>
              <a:gd name="connsiteY97" fmla="*/ 4157148 h 6062148"/>
              <a:gd name="connsiteX98" fmla="*/ 3201346 w 4527226"/>
              <a:gd name="connsiteY98" fmla="*/ 4164768 h 6062148"/>
              <a:gd name="connsiteX99" fmla="*/ 3231826 w 4527226"/>
              <a:gd name="connsiteY99" fmla="*/ 4172388 h 6062148"/>
              <a:gd name="connsiteX100" fmla="*/ 3285166 w 4527226"/>
              <a:gd name="connsiteY100" fmla="*/ 4294308 h 6062148"/>
              <a:gd name="connsiteX101" fmla="*/ 3300406 w 4527226"/>
              <a:gd name="connsiteY101" fmla="*/ 4347648 h 6062148"/>
              <a:gd name="connsiteX102" fmla="*/ 3330886 w 4527226"/>
              <a:gd name="connsiteY102" fmla="*/ 4408608 h 6062148"/>
              <a:gd name="connsiteX103" fmla="*/ 3551866 w 4527226"/>
              <a:gd name="connsiteY103" fmla="*/ 4644828 h 6062148"/>
              <a:gd name="connsiteX104" fmla="*/ 3887146 w 4527226"/>
              <a:gd name="connsiteY104" fmla="*/ 5025828 h 6062148"/>
              <a:gd name="connsiteX105" fmla="*/ 4100506 w 4527226"/>
              <a:gd name="connsiteY105" fmla="*/ 5300148 h 6062148"/>
              <a:gd name="connsiteX106" fmla="*/ 4367206 w 4527226"/>
              <a:gd name="connsiteY106" fmla="*/ 5726868 h 6062148"/>
              <a:gd name="connsiteX107" fmla="*/ 4527226 w 4527226"/>
              <a:gd name="connsiteY107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65766 w 4527226"/>
              <a:gd name="connsiteY32" fmla="*/ 2930328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2957506 w 4527226"/>
              <a:gd name="connsiteY89" fmla="*/ 3562788 h 6062148"/>
              <a:gd name="connsiteX90" fmla="*/ 3010846 w 4527226"/>
              <a:gd name="connsiteY90" fmla="*/ 3539928 h 6062148"/>
              <a:gd name="connsiteX91" fmla="*/ 3064186 w 4527226"/>
              <a:gd name="connsiteY91" fmla="*/ 3562788 h 6062148"/>
              <a:gd name="connsiteX92" fmla="*/ 3109906 w 4527226"/>
              <a:gd name="connsiteY92" fmla="*/ 3570408 h 6062148"/>
              <a:gd name="connsiteX93" fmla="*/ 3140386 w 4527226"/>
              <a:gd name="connsiteY93" fmla="*/ 3631368 h 6062148"/>
              <a:gd name="connsiteX94" fmla="*/ 3117526 w 4527226"/>
              <a:gd name="connsiteY94" fmla="*/ 3738048 h 6062148"/>
              <a:gd name="connsiteX95" fmla="*/ 3125146 w 4527226"/>
              <a:gd name="connsiteY95" fmla="*/ 4103808 h 6062148"/>
              <a:gd name="connsiteX96" fmla="*/ 3117526 w 4527226"/>
              <a:gd name="connsiteY96" fmla="*/ 4119048 h 6062148"/>
              <a:gd name="connsiteX97" fmla="*/ 3163246 w 4527226"/>
              <a:gd name="connsiteY97" fmla="*/ 4157148 h 6062148"/>
              <a:gd name="connsiteX98" fmla="*/ 3201346 w 4527226"/>
              <a:gd name="connsiteY98" fmla="*/ 4164768 h 6062148"/>
              <a:gd name="connsiteX99" fmla="*/ 3231826 w 4527226"/>
              <a:gd name="connsiteY99" fmla="*/ 4172388 h 6062148"/>
              <a:gd name="connsiteX100" fmla="*/ 3285166 w 4527226"/>
              <a:gd name="connsiteY100" fmla="*/ 4294308 h 6062148"/>
              <a:gd name="connsiteX101" fmla="*/ 3300406 w 4527226"/>
              <a:gd name="connsiteY101" fmla="*/ 4347648 h 6062148"/>
              <a:gd name="connsiteX102" fmla="*/ 3330886 w 4527226"/>
              <a:gd name="connsiteY102" fmla="*/ 4408608 h 6062148"/>
              <a:gd name="connsiteX103" fmla="*/ 3551866 w 4527226"/>
              <a:gd name="connsiteY103" fmla="*/ 4644828 h 6062148"/>
              <a:gd name="connsiteX104" fmla="*/ 3887146 w 4527226"/>
              <a:gd name="connsiteY104" fmla="*/ 5025828 h 6062148"/>
              <a:gd name="connsiteX105" fmla="*/ 4100506 w 4527226"/>
              <a:gd name="connsiteY105" fmla="*/ 5300148 h 6062148"/>
              <a:gd name="connsiteX106" fmla="*/ 4367206 w 4527226"/>
              <a:gd name="connsiteY106" fmla="*/ 5726868 h 6062148"/>
              <a:gd name="connsiteX107" fmla="*/ 4527226 w 4527226"/>
              <a:gd name="connsiteY107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2957506 w 4527226"/>
              <a:gd name="connsiteY89" fmla="*/ 3562788 h 6062148"/>
              <a:gd name="connsiteX90" fmla="*/ 3010846 w 4527226"/>
              <a:gd name="connsiteY90" fmla="*/ 3539928 h 6062148"/>
              <a:gd name="connsiteX91" fmla="*/ 3064186 w 4527226"/>
              <a:gd name="connsiteY91" fmla="*/ 3562788 h 6062148"/>
              <a:gd name="connsiteX92" fmla="*/ 3109906 w 4527226"/>
              <a:gd name="connsiteY92" fmla="*/ 3570408 h 6062148"/>
              <a:gd name="connsiteX93" fmla="*/ 3140386 w 4527226"/>
              <a:gd name="connsiteY93" fmla="*/ 3631368 h 6062148"/>
              <a:gd name="connsiteX94" fmla="*/ 3117526 w 4527226"/>
              <a:gd name="connsiteY94" fmla="*/ 3738048 h 6062148"/>
              <a:gd name="connsiteX95" fmla="*/ 3125146 w 4527226"/>
              <a:gd name="connsiteY95" fmla="*/ 4103808 h 6062148"/>
              <a:gd name="connsiteX96" fmla="*/ 3117526 w 4527226"/>
              <a:gd name="connsiteY96" fmla="*/ 4119048 h 6062148"/>
              <a:gd name="connsiteX97" fmla="*/ 3163246 w 4527226"/>
              <a:gd name="connsiteY97" fmla="*/ 4157148 h 6062148"/>
              <a:gd name="connsiteX98" fmla="*/ 3201346 w 4527226"/>
              <a:gd name="connsiteY98" fmla="*/ 4164768 h 6062148"/>
              <a:gd name="connsiteX99" fmla="*/ 3231826 w 4527226"/>
              <a:gd name="connsiteY99" fmla="*/ 4172388 h 6062148"/>
              <a:gd name="connsiteX100" fmla="*/ 3285166 w 4527226"/>
              <a:gd name="connsiteY100" fmla="*/ 4294308 h 6062148"/>
              <a:gd name="connsiteX101" fmla="*/ 3300406 w 4527226"/>
              <a:gd name="connsiteY101" fmla="*/ 4347648 h 6062148"/>
              <a:gd name="connsiteX102" fmla="*/ 3330886 w 4527226"/>
              <a:gd name="connsiteY102" fmla="*/ 4408608 h 6062148"/>
              <a:gd name="connsiteX103" fmla="*/ 3551866 w 4527226"/>
              <a:gd name="connsiteY103" fmla="*/ 4644828 h 6062148"/>
              <a:gd name="connsiteX104" fmla="*/ 3887146 w 4527226"/>
              <a:gd name="connsiteY104" fmla="*/ 5025828 h 6062148"/>
              <a:gd name="connsiteX105" fmla="*/ 4100506 w 4527226"/>
              <a:gd name="connsiteY105" fmla="*/ 5300148 h 6062148"/>
              <a:gd name="connsiteX106" fmla="*/ 4367206 w 4527226"/>
              <a:gd name="connsiteY106" fmla="*/ 5726868 h 6062148"/>
              <a:gd name="connsiteX107" fmla="*/ 4527226 w 4527226"/>
              <a:gd name="connsiteY107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3010846 w 4527226"/>
              <a:gd name="connsiteY89" fmla="*/ 3539928 h 6062148"/>
              <a:gd name="connsiteX90" fmla="*/ 3064186 w 4527226"/>
              <a:gd name="connsiteY90" fmla="*/ 3562788 h 6062148"/>
              <a:gd name="connsiteX91" fmla="*/ 3109906 w 4527226"/>
              <a:gd name="connsiteY91" fmla="*/ 3570408 h 6062148"/>
              <a:gd name="connsiteX92" fmla="*/ 3140386 w 4527226"/>
              <a:gd name="connsiteY92" fmla="*/ 3631368 h 6062148"/>
              <a:gd name="connsiteX93" fmla="*/ 3117526 w 4527226"/>
              <a:gd name="connsiteY93" fmla="*/ 3738048 h 6062148"/>
              <a:gd name="connsiteX94" fmla="*/ 3125146 w 4527226"/>
              <a:gd name="connsiteY94" fmla="*/ 4103808 h 6062148"/>
              <a:gd name="connsiteX95" fmla="*/ 3117526 w 4527226"/>
              <a:gd name="connsiteY95" fmla="*/ 4119048 h 6062148"/>
              <a:gd name="connsiteX96" fmla="*/ 3163246 w 4527226"/>
              <a:gd name="connsiteY96" fmla="*/ 4157148 h 6062148"/>
              <a:gd name="connsiteX97" fmla="*/ 3201346 w 4527226"/>
              <a:gd name="connsiteY97" fmla="*/ 4164768 h 6062148"/>
              <a:gd name="connsiteX98" fmla="*/ 3231826 w 4527226"/>
              <a:gd name="connsiteY98" fmla="*/ 4172388 h 6062148"/>
              <a:gd name="connsiteX99" fmla="*/ 3285166 w 4527226"/>
              <a:gd name="connsiteY99" fmla="*/ 4294308 h 6062148"/>
              <a:gd name="connsiteX100" fmla="*/ 3300406 w 4527226"/>
              <a:gd name="connsiteY100" fmla="*/ 4347648 h 6062148"/>
              <a:gd name="connsiteX101" fmla="*/ 3330886 w 4527226"/>
              <a:gd name="connsiteY101" fmla="*/ 4408608 h 6062148"/>
              <a:gd name="connsiteX102" fmla="*/ 3551866 w 4527226"/>
              <a:gd name="connsiteY102" fmla="*/ 4644828 h 6062148"/>
              <a:gd name="connsiteX103" fmla="*/ 3887146 w 4527226"/>
              <a:gd name="connsiteY103" fmla="*/ 5025828 h 6062148"/>
              <a:gd name="connsiteX104" fmla="*/ 4100506 w 4527226"/>
              <a:gd name="connsiteY104" fmla="*/ 5300148 h 6062148"/>
              <a:gd name="connsiteX105" fmla="*/ 4367206 w 4527226"/>
              <a:gd name="connsiteY105" fmla="*/ 5726868 h 6062148"/>
              <a:gd name="connsiteX106" fmla="*/ 4527226 w 4527226"/>
              <a:gd name="connsiteY106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3010846 w 4527226"/>
              <a:gd name="connsiteY89" fmla="*/ 3539928 h 6062148"/>
              <a:gd name="connsiteX90" fmla="*/ 3109906 w 4527226"/>
              <a:gd name="connsiteY90" fmla="*/ 3570408 h 6062148"/>
              <a:gd name="connsiteX91" fmla="*/ 3140386 w 4527226"/>
              <a:gd name="connsiteY91" fmla="*/ 3631368 h 6062148"/>
              <a:gd name="connsiteX92" fmla="*/ 3117526 w 4527226"/>
              <a:gd name="connsiteY92" fmla="*/ 3738048 h 6062148"/>
              <a:gd name="connsiteX93" fmla="*/ 3125146 w 4527226"/>
              <a:gd name="connsiteY93" fmla="*/ 4103808 h 6062148"/>
              <a:gd name="connsiteX94" fmla="*/ 3117526 w 4527226"/>
              <a:gd name="connsiteY94" fmla="*/ 4119048 h 6062148"/>
              <a:gd name="connsiteX95" fmla="*/ 3163246 w 4527226"/>
              <a:gd name="connsiteY95" fmla="*/ 4157148 h 6062148"/>
              <a:gd name="connsiteX96" fmla="*/ 3201346 w 4527226"/>
              <a:gd name="connsiteY96" fmla="*/ 4164768 h 6062148"/>
              <a:gd name="connsiteX97" fmla="*/ 3231826 w 4527226"/>
              <a:gd name="connsiteY97" fmla="*/ 4172388 h 6062148"/>
              <a:gd name="connsiteX98" fmla="*/ 3285166 w 4527226"/>
              <a:gd name="connsiteY98" fmla="*/ 4294308 h 6062148"/>
              <a:gd name="connsiteX99" fmla="*/ 3300406 w 4527226"/>
              <a:gd name="connsiteY99" fmla="*/ 4347648 h 6062148"/>
              <a:gd name="connsiteX100" fmla="*/ 3330886 w 4527226"/>
              <a:gd name="connsiteY100" fmla="*/ 4408608 h 6062148"/>
              <a:gd name="connsiteX101" fmla="*/ 3551866 w 4527226"/>
              <a:gd name="connsiteY101" fmla="*/ 4644828 h 6062148"/>
              <a:gd name="connsiteX102" fmla="*/ 3887146 w 4527226"/>
              <a:gd name="connsiteY102" fmla="*/ 5025828 h 6062148"/>
              <a:gd name="connsiteX103" fmla="*/ 4100506 w 4527226"/>
              <a:gd name="connsiteY103" fmla="*/ 5300148 h 6062148"/>
              <a:gd name="connsiteX104" fmla="*/ 4367206 w 4527226"/>
              <a:gd name="connsiteY104" fmla="*/ 5726868 h 6062148"/>
              <a:gd name="connsiteX105" fmla="*/ 4527226 w 4527226"/>
              <a:gd name="connsiteY105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3010846 w 4527226"/>
              <a:gd name="connsiteY89" fmla="*/ 3539928 h 6062148"/>
              <a:gd name="connsiteX90" fmla="*/ 3109906 w 4527226"/>
              <a:gd name="connsiteY90" fmla="*/ 3570408 h 6062148"/>
              <a:gd name="connsiteX91" fmla="*/ 3140386 w 4527226"/>
              <a:gd name="connsiteY91" fmla="*/ 3631368 h 6062148"/>
              <a:gd name="connsiteX92" fmla="*/ 3117526 w 4527226"/>
              <a:gd name="connsiteY92" fmla="*/ 3738048 h 6062148"/>
              <a:gd name="connsiteX93" fmla="*/ 3125146 w 4527226"/>
              <a:gd name="connsiteY93" fmla="*/ 4103808 h 6062148"/>
              <a:gd name="connsiteX94" fmla="*/ 3163246 w 4527226"/>
              <a:gd name="connsiteY94" fmla="*/ 4157148 h 6062148"/>
              <a:gd name="connsiteX95" fmla="*/ 3201346 w 4527226"/>
              <a:gd name="connsiteY95" fmla="*/ 4164768 h 6062148"/>
              <a:gd name="connsiteX96" fmla="*/ 3231826 w 4527226"/>
              <a:gd name="connsiteY96" fmla="*/ 4172388 h 6062148"/>
              <a:gd name="connsiteX97" fmla="*/ 3285166 w 4527226"/>
              <a:gd name="connsiteY97" fmla="*/ 4294308 h 6062148"/>
              <a:gd name="connsiteX98" fmla="*/ 3300406 w 4527226"/>
              <a:gd name="connsiteY98" fmla="*/ 4347648 h 6062148"/>
              <a:gd name="connsiteX99" fmla="*/ 3330886 w 4527226"/>
              <a:gd name="connsiteY99" fmla="*/ 4408608 h 6062148"/>
              <a:gd name="connsiteX100" fmla="*/ 3551866 w 4527226"/>
              <a:gd name="connsiteY100" fmla="*/ 4644828 h 6062148"/>
              <a:gd name="connsiteX101" fmla="*/ 3887146 w 4527226"/>
              <a:gd name="connsiteY101" fmla="*/ 5025828 h 6062148"/>
              <a:gd name="connsiteX102" fmla="*/ 4100506 w 4527226"/>
              <a:gd name="connsiteY102" fmla="*/ 5300148 h 6062148"/>
              <a:gd name="connsiteX103" fmla="*/ 4367206 w 4527226"/>
              <a:gd name="connsiteY103" fmla="*/ 5726868 h 6062148"/>
              <a:gd name="connsiteX104" fmla="*/ 4527226 w 4527226"/>
              <a:gd name="connsiteY104" fmla="*/ 6046908 h 6062148"/>
              <a:gd name="connsiteX0" fmla="*/ 381946 w 4527226"/>
              <a:gd name="connsiteY0" fmla="*/ 5924988 h 6046908"/>
              <a:gd name="connsiteX1" fmla="*/ 442906 w 4527226"/>
              <a:gd name="connsiteY1" fmla="*/ 5780208 h 6046908"/>
              <a:gd name="connsiteX2" fmla="*/ 473386 w 4527226"/>
              <a:gd name="connsiteY2" fmla="*/ 5665908 h 6046908"/>
              <a:gd name="connsiteX3" fmla="*/ 511486 w 4527226"/>
              <a:gd name="connsiteY3" fmla="*/ 5612568 h 6046908"/>
              <a:gd name="connsiteX4" fmla="*/ 541966 w 4527226"/>
              <a:gd name="connsiteY4" fmla="*/ 5521128 h 6046908"/>
              <a:gd name="connsiteX5" fmla="*/ 564826 w 4527226"/>
              <a:gd name="connsiteY5" fmla="*/ 5353488 h 6046908"/>
              <a:gd name="connsiteX6" fmla="*/ 602926 w 4527226"/>
              <a:gd name="connsiteY6" fmla="*/ 5223948 h 6046908"/>
              <a:gd name="connsiteX7" fmla="*/ 625786 w 4527226"/>
              <a:gd name="connsiteY7" fmla="*/ 5178228 h 6046908"/>
              <a:gd name="connsiteX8" fmla="*/ 701986 w 4527226"/>
              <a:gd name="connsiteY8" fmla="*/ 5071548 h 6046908"/>
              <a:gd name="connsiteX9" fmla="*/ 717226 w 4527226"/>
              <a:gd name="connsiteY9" fmla="*/ 5063928 h 6046908"/>
              <a:gd name="connsiteX10" fmla="*/ 709606 w 4527226"/>
              <a:gd name="connsiteY10" fmla="*/ 5025828 h 6046908"/>
              <a:gd name="connsiteX11" fmla="*/ 701986 w 4527226"/>
              <a:gd name="connsiteY11" fmla="*/ 5002968 h 6046908"/>
              <a:gd name="connsiteX12" fmla="*/ 968686 w 4527226"/>
              <a:gd name="connsiteY12" fmla="*/ 4682928 h 6046908"/>
              <a:gd name="connsiteX13" fmla="*/ 961066 w 4527226"/>
              <a:gd name="connsiteY13" fmla="*/ 4644828 h 6046908"/>
              <a:gd name="connsiteX14" fmla="*/ 1342066 w 4527226"/>
              <a:gd name="connsiteY14" fmla="*/ 4172388 h 6046908"/>
              <a:gd name="connsiteX15" fmla="*/ 1258246 w 4527226"/>
              <a:gd name="connsiteY15" fmla="*/ 4012368 h 6046908"/>
              <a:gd name="connsiteX16" fmla="*/ 1204906 w 4527226"/>
              <a:gd name="connsiteY16" fmla="*/ 3928548 h 6046908"/>
              <a:gd name="connsiteX17" fmla="*/ 1174426 w 4527226"/>
              <a:gd name="connsiteY17" fmla="*/ 3768528 h 6046908"/>
              <a:gd name="connsiteX18" fmla="*/ 1151566 w 4527226"/>
              <a:gd name="connsiteY18" fmla="*/ 3699948 h 6046908"/>
              <a:gd name="connsiteX19" fmla="*/ 1143946 w 4527226"/>
              <a:gd name="connsiteY19" fmla="*/ 3669468 h 6046908"/>
              <a:gd name="connsiteX20" fmla="*/ 1067746 w 4527226"/>
              <a:gd name="connsiteY20" fmla="*/ 3661848 h 6046908"/>
              <a:gd name="connsiteX21" fmla="*/ 938206 w 4527226"/>
              <a:gd name="connsiteY21" fmla="*/ 3669468 h 6046908"/>
              <a:gd name="connsiteX22" fmla="*/ 831526 w 4527226"/>
              <a:gd name="connsiteY22" fmla="*/ 3692328 h 6046908"/>
              <a:gd name="connsiteX23" fmla="*/ 610546 w 4527226"/>
              <a:gd name="connsiteY23" fmla="*/ 3738048 h 6046908"/>
              <a:gd name="connsiteX24" fmla="*/ 389566 w 4527226"/>
              <a:gd name="connsiteY24" fmla="*/ 3638988 h 6046908"/>
              <a:gd name="connsiteX25" fmla="*/ 381946 w 4527226"/>
              <a:gd name="connsiteY25" fmla="*/ 3326568 h 6046908"/>
              <a:gd name="connsiteX26" fmla="*/ 420046 w 4527226"/>
              <a:gd name="connsiteY26" fmla="*/ 3227508 h 6046908"/>
              <a:gd name="connsiteX27" fmla="*/ 389566 w 4527226"/>
              <a:gd name="connsiteY27" fmla="*/ 3166548 h 6046908"/>
              <a:gd name="connsiteX28" fmla="*/ 351466 w 4527226"/>
              <a:gd name="connsiteY28" fmla="*/ 3105588 h 6046908"/>
              <a:gd name="connsiteX29" fmla="*/ 397186 w 4527226"/>
              <a:gd name="connsiteY29" fmla="*/ 3021768 h 6046908"/>
              <a:gd name="connsiteX30" fmla="*/ 488626 w 4527226"/>
              <a:gd name="connsiteY30" fmla="*/ 2998908 h 6046908"/>
              <a:gd name="connsiteX31" fmla="*/ 471956 w 4527226"/>
              <a:gd name="connsiteY31" fmla="*/ 2942709 h 6046908"/>
              <a:gd name="connsiteX32" fmla="*/ 435286 w 4527226"/>
              <a:gd name="connsiteY32" fmla="*/ 2930328 h 6046908"/>
              <a:gd name="connsiteX33" fmla="*/ 389566 w 4527226"/>
              <a:gd name="connsiteY33" fmla="*/ 2930328 h 6046908"/>
              <a:gd name="connsiteX34" fmla="*/ 314000 w 4527226"/>
              <a:gd name="connsiteY34" fmla="*/ 2893495 h 6046908"/>
              <a:gd name="connsiteX35" fmla="*/ 320986 w 4527226"/>
              <a:gd name="connsiteY35" fmla="*/ 2846508 h 6046908"/>
              <a:gd name="connsiteX36" fmla="*/ 328606 w 4527226"/>
              <a:gd name="connsiteY36" fmla="*/ 2793168 h 6046908"/>
              <a:gd name="connsiteX37" fmla="*/ 313366 w 4527226"/>
              <a:gd name="connsiteY37" fmla="*/ 2732208 h 6046908"/>
              <a:gd name="connsiteX38" fmla="*/ 267646 w 4527226"/>
              <a:gd name="connsiteY38" fmla="*/ 2671248 h 6046908"/>
              <a:gd name="connsiteX39" fmla="*/ 176206 w 4527226"/>
              <a:gd name="connsiteY39" fmla="*/ 2656008 h 6046908"/>
              <a:gd name="connsiteX40" fmla="*/ 54286 w 4527226"/>
              <a:gd name="connsiteY40" fmla="*/ 2610288 h 6046908"/>
              <a:gd name="connsiteX41" fmla="*/ 7931 w 4527226"/>
              <a:gd name="connsiteY41" fmla="*/ 2563298 h 6046908"/>
              <a:gd name="connsiteX42" fmla="*/ 8566 w 4527226"/>
              <a:gd name="connsiteY42" fmla="*/ 2488368 h 6046908"/>
              <a:gd name="connsiteX43" fmla="*/ 92386 w 4527226"/>
              <a:gd name="connsiteY43" fmla="*/ 2335968 h 6046908"/>
              <a:gd name="connsiteX44" fmla="*/ 221926 w 4527226"/>
              <a:gd name="connsiteY44" fmla="*/ 2175948 h 6046908"/>
              <a:gd name="connsiteX45" fmla="*/ 282886 w 4527226"/>
              <a:gd name="connsiteY45" fmla="*/ 2084508 h 6046908"/>
              <a:gd name="connsiteX46" fmla="*/ 328606 w 4527226"/>
              <a:gd name="connsiteY46" fmla="*/ 1977828 h 6046908"/>
              <a:gd name="connsiteX47" fmla="*/ 359086 w 4527226"/>
              <a:gd name="connsiteY47" fmla="*/ 1871148 h 6046908"/>
              <a:gd name="connsiteX48" fmla="*/ 374326 w 4527226"/>
              <a:gd name="connsiteY48" fmla="*/ 1810188 h 6046908"/>
              <a:gd name="connsiteX49" fmla="*/ 343846 w 4527226"/>
              <a:gd name="connsiteY49" fmla="*/ 1756848 h 6046908"/>
              <a:gd name="connsiteX50" fmla="*/ 328606 w 4527226"/>
              <a:gd name="connsiteY50" fmla="*/ 1680648 h 6046908"/>
              <a:gd name="connsiteX51" fmla="*/ 412426 w 4527226"/>
              <a:gd name="connsiteY51" fmla="*/ 1474908 h 6046908"/>
              <a:gd name="connsiteX52" fmla="*/ 442906 w 4527226"/>
              <a:gd name="connsiteY52" fmla="*/ 1307268 h 6046908"/>
              <a:gd name="connsiteX53" fmla="*/ 465766 w 4527226"/>
              <a:gd name="connsiteY53" fmla="*/ 1192968 h 6046908"/>
              <a:gd name="connsiteX54" fmla="*/ 503866 w 4527226"/>
              <a:gd name="connsiteY54" fmla="*/ 1055808 h 6046908"/>
              <a:gd name="connsiteX55" fmla="*/ 557206 w 4527226"/>
              <a:gd name="connsiteY55" fmla="*/ 888168 h 6046908"/>
              <a:gd name="connsiteX56" fmla="*/ 503866 w 4527226"/>
              <a:gd name="connsiteY56" fmla="*/ 888168 h 6046908"/>
              <a:gd name="connsiteX57" fmla="*/ 412426 w 4527226"/>
              <a:gd name="connsiteY57" fmla="*/ 834828 h 6046908"/>
              <a:gd name="connsiteX58" fmla="*/ 328606 w 4527226"/>
              <a:gd name="connsiteY58" fmla="*/ 789108 h 6046908"/>
              <a:gd name="connsiteX59" fmla="*/ 260026 w 4527226"/>
              <a:gd name="connsiteY59" fmla="*/ 773868 h 6046908"/>
              <a:gd name="connsiteX60" fmla="*/ 214306 w 4527226"/>
              <a:gd name="connsiteY60" fmla="*/ 751008 h 6046908"/>
              <a:gd name="connsiteX61" fmla="*/ 260026 w 4527226"/>
              <a:gd name="connsiteY61" fmla="*/ 674808 h 6046908"/>
              <a:gd name="connsiteX62" fmla="*/ 374326 w 4527226"/>
              <a:gd name="connsiteY62" fmla="*/ 606228 h 6046908"/>
              <a:gd name="connsiteX63" fmla="*/ 557206 w 4527226"/>
              <a:gd name="connsiteY63" fmla="*/ 507168 h 6046908"/>
              <a:gd name="connsiteX64" fmla="*/ 656266 w 4527226"/>
              <a:gd name="connsiteY64" fmla="*/ 423348 h 6046908"/>
              <a:gd name="connsiteX65" fmla="*/ 892486 w 4527226"/>
              <a:gd name="connsiteY65" fmla="*/ 232848 h 6046908"/>
              <a:gd name="connsiteX66" fmla="*/ 1174426 w 4527226"/>
              <a:gd name="connsiteY66" fmla="*/ 80448 h 6046908"/>
              <a:gd name="connsiteX67" fmla="*/ 1593526 w 4527226"/>
              <a:gd name="connsiteY67" fmla="*/ 11868 h 6046908"/>
              <a:gd name="connsiteX68" fmla="*/ 1944046 w 4527226"/>
              <a:gd name="connsiteY68" fmla="*/ 4248 h 6046908"/>
              <a:gd name="connsiteX69" fmla="*/ 2172646 w 4527226"/>
              <a:gd name="connsiteY69" fmla="*/ 4248 h 6046908"/>
              <a:gd name="connsiteX70" fmla="*/ 2393626 w 4527226"/>
              <a:gd name="connsiteY70" fmla="*/ 57588 h 6046908"/>
              <a:gd name="connsiteX71" fmla="*/ 2667946 w 4527226"/>
              <a:gd name="connsiteY71" fmla="*/ 133788 h 6046908"/>
              <a:gd name="connsiteX72" fmla="*/ 2820346 w 4527226"/>
              <a:gd name="connsiteY72" fmla="*/ 202368 h 6046908"/>
              <a:gd name="connsiteX73" fmla="*/ 3102286 w 4527226"/>
              <a:gd name="connsiteY73" fmla="*/ 400488 h 6046908"/>
              <a:gd name="connsiteX74" fmla="*/ 3285166 w 4527226"/>
              <a:gd name="connsiteY74" fmla="*/ 651948 h 6046908"/>
              <a:gd name="connsiteX75" fmla="*/ 3407086 w 4527226"/>
              <a:gd name="connsiteY75" fmla="*/ 918648 h 6046908"/>
              <a:gd name="connsiteX76" fmla="*/ 3475666 w 4527226"/>
              <a:gd name="connsiteY76" fmla="*/ 1238688 h 6046908"/>
              <a:gd name="connsiteX77" fmla="*/ 3506146 w 4527226"/>
              <a:gd name="connsiteY77" fmla="*/ 1543488 h 6046908"/>
              <a:gd name="connsiteX78" fmla="*/ 3506146 w 4527226"/>
              <a:gd name="connsiteY78" fmla="*/ 1962588 h 6046908"/>
              <a:gd name="connsiteX79" fmla="*/ 3338506 w 4527226"/>
              <a:gd name="connsiteY79" fmla="*/ 2305488 h 6046908"/>
              <a:gd name="connsiteX80" fmla="*/ 3254686 w 4527226"/>
              <a:gd name="connsiteY80" fmla="*/ 2473128 h 6046908"/>
              <a:gd name="connsiteX81" fmla="*/ 3132766 w 4527226"/>
              <a:gd name="connsiteY81" fmla="*/ 2663628 h 6046908"/>
              <a:gd name="connsiteX82" fmla="*/ 3071806 w 4527226"/>
              <a:gd name="connsiteY82" fmla="*/ 2838888 h 6046908"/>
              <a:gd name="connsiteX83" fmla="*/ 3064186 w 4527226"/>
              <a:gd name="connsiteY83" fmla="*/ 2915088 h 6046908"/>
              <a:gd name="connsiteX84" fmla="*/ 3018466 w 4527226"/>
              <a:gd name="connsiteY84" fmla="*/ 3014148 h 6046908"/>
              <a:gd name="connsiteX85" fmla="*/ 2980366 w 4527226"/>
              <a:gd name="connsiteY85" fmla="*/ 3082728 h 6046908"/>
              <a:gd name="connsiteX86" fmla="*/ 2957506 w 4527226"/>
              <a:gd name="connsiteY86" fmla="*/ 3120828 h 6046908"/>
              <a:gd name="connsiteX87" fmla="*/ 2957506 w 4527226"/>
              <a:gd name="connsiteY87" fmla="*/ 3555168 h 6046908"/>
              <a:gd name="connsiteX88" fmla="*/ 3010846 w 4527226"/>
              <a:gd name="connsiteY88" fmla="*/ 3539928 h 6046908"/>
              <a:gd name="connsiteX89" fmla="*/ 3109906 w 4527226"/>
              <a:gd name="connsiteY89" fmla="*/ 3570408 h 6046908"/>
              <a:gd name="connsiteX90" fmla="*/ 3140386 w 4527226"/>
              <a:gd name="connsiteY90" fmla="*/ 3631368 h 6046908"/>
              <a:gd name="connsiteX91" fmla="*/ 3117526 w 4527226"/>
              <a:gd name="connsiteY91" fmla="*/ 3738048 h 6046908"/>
              <a:gd name="connsiteX92" fmla="*/ 3125146 w 4527226"/>
              <a:gd name="connsiteY92" fmla="*/ 4103808 h 6046908"/>
              <a:gd name="connsiteX93" fmla="*/ 3163246 w 4527226"/>
              <a:gd name="connsiteY93" fmla="*/ 4157148 h 6046908"/>
              <a:gd name="connsiteX94" fmla="*/ 3201346 w 4527226"/>
              <a:gd name="connsiteY94" fmla="*/ 4164768 h 6046908"/>
              <a:gd name="connsiteX95" fmla="*/ 3231826 w 4527226"/>
              <a:gd name="connsiteY95" fmla="*/ 4172388 h 6046908"/>
              <a:gd name="connsiteX96" fmla="*/ 3285166 w 4527226"/>
              <a:gd name="connsiteY96" fmla="*/ 4294308 h 6046908"/>
              <a:gd name="connsiteX97" fmla="*/ 3300406 w 4527226"/>
              <a:gd name="connsiteY97" fmla="*/ 4347648 h 6046908"/>
              <a:gd name="connsiteX98" fmla="*/ 3330886 w 4527226"/>
              <a:gd name="connsiteY98" fmla="*/ 4408608 h 6046908"/>
              <a:gd name="connsiteX99" fmla="*/ 3551866 w 4527226"/>
              <a:gd name="connsiteY99" fmla="*/ 4644828 h 6046908"/>
              <a:gd name="connsiteX100" fmla="*/ 3887146 w 4527226"/>
              <a:gd name="connsiteY100" fmla="*/ 5025828 h 6046908"/>
              <a:gd name="connsiteX101" fmla="*/ 4100506 w 4527226"/>
              <a:gd name="connsiteY101" fmla="*/ 5300148 h 6046908"/>
              <a:gd name="connsiteX102" fmla="*/ 4367206 w 4527226"/>
              <a:gd name="connsiteY102" fmla="*/ 5726868 h 6046908"/>
              <a:gd name="connsiteX103" fmla="*/ 4527226 w 4527226"/>
              <a:gd name="connsiteY103" fmla="*/ 6046908 h 6046908"/>
              <a:gd name="connsiteX0" fmla="*/ 442906 w 4527226"/>
              <a:gd name="connsiteY0" fmla="*/ 5780208 h 6046908"/>
              <a:gd name="connsiteX1" fmla="*/ 473386 w 4527226"/>
              <a:gd name="connsiteY1" fmla="*/ 5665908 h 6046908"/>
              <a:gd name="connsiteX2" fmla="*/ 511486 w 4527226"/>
              <a:gd name="connsiteY2" fmla="*/ 5612568 h 6046908"/>
              <a:gd name="connsiteX3" fmla="*/ 541966 w 4527226"/>
              <a:gd name="connsiteY3" fmla="*/ 5521128 h 6046908"/>
              <a:gd name="connsiteX4" fmla="*/ 564826 w 4527226"/>
              <a:gd name="connsiteY4" fmla="*/ 5353488 h 6046908"/>
              <a:gd name="connsiteX5" fmla="*/ 602926 w 4527226"/>
              <a:gd name="connsiteY5" fmla="*/ 5223948 h 6046908"/>
              <a:gd name="connsiteX6" fmla="*/ 625786 w 4527226"/>
              <a:gd name="connsiteY6" fmla="*/ 5178228 h 6046908"/>
              <a:gd name="connsiteX7" fmla="*/ 701986 w 4527226"/>
              <a:gd name="connsiteY7" fmla="*/ 5071548 h 6046908"/>
              <a:gd name="connsiteX8" fmla="*/ 717226 w 4527226"/>
              <a:gd name="connsiteY8" fmla="*/ 5063928 h 6046908"/>
              <a:gd name="connsiteX9" fmla="*/ 709606 w 4527226"/>
              <a:gd name="connsiteY9" fmla="*/ 5025828 h 6046908"/>
              <a:gd name="connsiteX10" fmla="*/ 701986 w 4527226"/>
              <a:gd name="connsiteY10" fmla="*/ 5002968 h 6046908"/>
              <a:gd name="connsiteX11" fmla="*/ 968686 w 4527226"/>
              <a:gd name="connsiteY11" fmla="*/ 4682928 h 6046908"/>
              <a:gd name="connsiteX12" fmla="*/ 961066 w 4527226"/>
              <a:gd name="connsiteY12" fmla="*/ 4644828 h 6046908"/>
              <a:gd name="connsiteX13" fmla="*/ 1342066 w 4527226"/>
              <a:gd name="connsiteY13" fmla="*/ 4172388 h 6046908"/>
              <a:gd name="connsiteX14" fmla="*/ 1258246 w 4527226"/>
              <a:gd name="connsiteY14" fmla="*/ 4012368 h 6046908"/>
              <a:gd name="connsiteX15" fmla="*/ 1204906 w 4527226"/>
              <a:gd name="connsiteY15" fmla="*/ 3928548 h 6046908"/>
              <a:gd name="connsiteX16" fmla="*/ 1174426 w 4527226"/>
              <a:gd name="connsiteY16" fmla="*/ 3768528 h 6046908"/>
              <a:gd name="connsiteX17" fmla="*/ 1151566 w 4527226"/>
              <a:gd name="connsiteY17" fmla="*/ 3699948 h 6046908"/>
              <a:gd name="connsiteX18" fmla="*/ 1143946 w 4527226"/>
              <a:gd name="connsiteY18" fmla="*/ 3669468 h 6046908"/>
              <a:gd name="connsiteX19" fmla="*/ 1067746 w 4527226"/>
              <a:gd name="connsiteY19" fmla="*/ 3661848 h 6046908"/>
              <a:gd name="connsiteX20" fmla="*/ 938206 w 4527226"/>
              <a:gd name="connsiteY20" fmla="*/ 3669468 h 6046908"/>
              <a:gd name="connsiteX21" fmla="*/ 831526 w 4527226"/>
              <a:gd name="connsiteY21" fmla="*/ 3692328 h 6046908"/>
              <a:gd name="connsiteX22" fmla="*/ 610546 w 4527226"/>
              <a:gd name="connsiteY22" fmla="*/ 3738048 h 6046908"/>
              <a:gd name="connsiteX23" fmla="*/ 389566 w 4527226"/>
              <a:gd name="connsiteY23" fmla="*/ 3638988 h 6046908"/>
              <a:gd name="connsiteX24" fmla="*/ 381946 w 4527226"/>
              <a:gd name="connsiteY24" fmla="*/ 3326568 h 6046908"/>
              <a:gd name="connsiteX25" fmla="*/ 420046 w 4527226"/>
              <a:gd name="connsiteY25" fmla="*/ 3227508 h 6046908"/>
              <a:gd name="connsiteX26" fmla="*/ 389566 w 4527226"/>
              <a:gd name="connsiteY26" fmla="*/ 3166548 h 6046908"/>
              <a:gd name="connsiteX27" fmla="*/ 351466 w 4527226"/>
              <a:gd name="connsiteY27" fmla="*/ 3105588 h 6046908"/>
              <a:gd name="connsiteX28" fmla="*/ 397186 w 4527226"/>
              <a:gd name="connsiteY28" fmla="*/ 3021768 h 6046908"/>
              <a:gd name="connsiteX29" fmla="*/ 488626 w 4527226"/>
              <a:gd name="connsiteY29" fmla="*/ 2998908 h 6046908"/>
              <a:gd name="connsiteX30" fmla="*/ 471956 w 4527226"/>
              <a:gd name="connsiteY30" fmla="*/ 2942709 h 6046908"/>
              <a:gd name="connsiteX31" fmla="*/ 435286 w 4527226"/>
              <a:gd name="connsiteY31" fmla="*/ 2930328 h 6046908"/>
              <a:gd name="connsiteX32" fmla="*/ 389566 w 4527226"/>
              <a:gd name="connsiteY32" fmla="*/ 2930328 h 6046908"/>
              <a:gd name="connsiteX33" fmla="*/ 314000 w 4527226"/>
              <a:gd name="connsiteY33" fmla="*/ 2893495 h 6046908"/>
              <a:gd name="connsiteX34" fmla="*/ 320986 w 4527226"/>
              <a:gd name="connsiteY34" fmla="*/ 2846508 h 6046908"/>
              <a:gd name="connsiteX35" fmla="*/ 328606 w 4527226"/>
              <a:gd name="connsiteY35" fmla="*/ 2793168 h 6046908"/>
              <a:gd name="connsiteX36" fmla="*/ 313366 w 4527226"/>
              <a:gd name="connsiteY36" fmla="*/ 2732208 h 6046908"/>
              <a:gd name="connsiteX37" fmla="*/ 267646 w 4527226"/>
              <a:gd name="connsiteY37" fmla="*/ 2671248 h 6046908"/>
              <a:gd name="connsiteX38" fmla="*/ 176206 w 4527226"/>
              <a:gd name="connsiteY38" fmla="*/ 2656008 h 6046908"/>
              <a:gd name="connsiteX39" fmla="*/ 54286 w 4527226"/>
              <a:gd name="connsiteY39" fmla="*/ 2610288 h 6046908"/>
              <a:gd name="connsiteX40" fmla="*/ 7931 w 4527226"/>
              <a:gd name="connsiteY40" fmla="*/ 2563298 h 6046908"/>
              <a:gd name="connsiteX41" fmla="*/ 8566 w 4527226"/>
              <a:gd name="connsiteY41" fmla="*/ 2488368 h 6046908"/>
              <a:gd name="connsiteX42" fmla="*/ 92386 w 4527226"/>
              <a:gd name="connsiteY42" fmla="*/ 2335968 h 6046908"/>
              <a:gd name="connsiteX43" fmla="*/ 221926 w 4527226"/>
              <a:gd name="connsiteY43" fmla="*/ 2175948 h 6046908"/>
              <a:gd name="connsiteX44" fmla="*/ 282886 w 4527226"/>
              <a:gd name="connsiteY44" fmla="*/ 2084508 h 6046908"/>
              <a:gd name="connsiteX45" fmla="*/ 328606 w 4527226"/>
              <a:gd name="connsiteY45" fmla="*/ 1977828 h 6046908"/>
              <a:gd name="connsiteX46" fmla="*/ 359086 w 4527226"/>
              <a:gd name="connsiteY46" fmla="*/ 1871148 h 6046908"/>
              <a:gd name="connsiteX47" fmla="*/ 374326 w 4527226"/>
              <a:gd name="connsiteY47" fmla="*/ 1810188 h 6046908"/>
              <a:gd name="connsiteX48" fmla="*/ 343846 w 4527226"/>
              <a:gd name="connsiteY48" fmla="*/ 1756848 h 6046908"/>
              <a:gd name="connsiteX49" fmla="*/ 328606 w 4527226"/>
              <a:gd name="connsiteY49" fmla="*/ 1680648 h 6046908"/>
              <a:gd name="connsiteX50" fmla="*/ 412426 w 4527226"/>
              <a:gd name="connsiteY50" fmla="*/ 1474908 h 6046908"/>
              <a:gd name="connsiteX51" fmla="*/ 442906 w 4527226"/>
              <a:gd name="connsiteY51" fmla="*/ 1307268 h 6046908"/>
              <a:gd name="connsiteX52" fmla="*/ 465766 w 4527226"/>
              <a:gd name="connsiteY52" fmla="*/ 1192968 h 6046908"/>
              <a:gd name="connsiteX53" fmla="*/ 503866 w 4527226"/>
              <a:gd name="connsiteY53" fmla="*/ 1055808 h 6046908"/>
              <a:gd name="connsiteX54" fmla="*/ 557206 w 4527226"/>
              <a:gd name="connsiteY54" fmla="*/ 888168 h 6046908"/>
              <a:gd name="connsiteX55" fmla="*/ 503866 w 4527226"/>
              <a:gd name="connsiteY55" fmla="*/ 888168 h 6046908"/>
              <a:gd name="connsiteX56" fmla="*/ 412426 w 4527226"/>
              <a:gd name="connsiteY56" fmla="*/ 834828 h 6046908"/>
              <a:gd name="connsiteX57" fmla="*/ 328606 w 4527226"/>
              <a:gd name="connsiteY57" fmla="*/ 789108 h 6046908"/>
              <a:gd name="connsiteX58" fmla="*/ 260026 w 4527226"/>
              <a:gd name="connsiteY58" fmla="*/ 773868 h 6046908"/>
              <a:gd name="connsiteX59" fmla="*/ 214306 w 4527226"/>
              <a:gd name="connsiteY59" fmla="*/ 751008 h 6046908"/>
              <a:gd name="connsiteX60" fmla="*/ 260026 w 4527226"/>
              <a:gd name="connsiteY60" fmla="*/ 674808 h 6046908"/>
              <a:gd name="connsiteX61" fmla="*/ 374326 w 4527226"/>
              <a:gd name="connsiteY61" fmla="*/ 606228 h 6046908"/>
              <a:gd name="connsiteX62" fmla="*/ 557206 w 4527226"/>
              <a:gd name="connsiteY62" fmla="*/ 507168 h 6046908"/>
              <a:gd name="connsiteX63" fmla="*/ 656266 w 4527226"/>
              <a:gd name="connsiteY63" fmla="*/ 423348 h 6046908"/>
              <a:gd name="connsiteX64" fmla="*/ 892486 w 4527226"/>
              <a:gd name="connsiteY64" fmla="*/ 232848 h 6046908"/>
              <a:gd name="connsiteX65" fmla="*/ 1174426 w 4527226"/>
              <a:gd name="connsiteY65" fmla="*/ 80448 h 6046908"/>
              <a:gd name="connsiteX66" fmla="*/ 1593526 w 4527226"/>
              <a:gd name="connsiteY66" fmla="*/ 11868 h 6046908"/>
              <a:gd name="connsiteX67" fmla="*/ 1944046 w 4527226"/>
              <a:gd name="connsiteY67" fmla="*/ 4248 h 6046908"/>
              <a:gd name="connsiteX68" fmla="*/ 2172646 w 4527226"/>
              <a:gd name="connsiteY68" fmla="*/ 4248 h 6046908"/>
              <a:gd name="connsiteX69" fmla="*/ 2393626 w 4527226"/>
              <a:gd name="connsiteY69" fmla="*/ 57588 h 6046908"/>
              <a:gd name="connsiteX70" fmla="*/ 2667946 w 4527226"/>
              <a:gd name="connsiteY70" fmla="*/ 133788 h 6046908"/>
              <a:gd name="connsiteX71" fmla="*/ 2820346 w 4527226"/>
              <a:gd name="connsiteY71" fmla="*/ 202368 h 6046908"/>
              <a:gd name="connsiteX72" fmla="*/ 3102286 w 4527226"/>
              <a:gd name="connsiteY72" fmla="*/ 400488 h 6046908"/>
              <a:gd name="connsiteX73" fmla="*/ 3285166 w 4527226"/>
              <a:gd name="connsiteY73" fmla="*/ 651948 h 6046908"/>
              <a:gd name="connsiteX74" fmla="*/ 3407086 w 4527226"/>
              <a:gd name="connsiteY74" fmla="*/ 918648 h 6046908"/>
              <a:gd name="connsiteX75" fmla="*/ 3475666 w 4527226"/>
              <a:gd name="connsiteY75" fmla="*/ 1238688 h 6046908"/>
              <a:gd name="connsiteX76" fmla="*/ 3506146 w 4527226"/>
              <a:gd name="connsiteY76" fmla="*/ 1543488 h 6046908"/>
              <a:gd name="connsiteX77" fmla="*/ 3506146 w 4527226"/>
              <a:gd name="connsiteY77" fmla="*/ 1962588 h 6046908"/>
              <a:gd name="connsiteX78" fmla="*/ 3338506 w 4527226"/>
              <a:gd name="connsiteY78" fmla="*/ 2305488 h 6046908"/>
              <a:gd name="connsiteX79" fmla="*/ 3254686 w 4527226"/>
              <a:gd name="connsiteY79" fmla="*/ 2473128 h 6046908"/>
              <a:gd name="connsiteX80" fmla="*/ 3132766 w 4527226"/>
              <a:gd name="connsiteY80" fmla="*/ 2663628 h 6046908"/>
              <a:gd name="connsiteX81" fmla="*/ 3071806 w 4527226"/>
              <a:gd name="connsiteY81" fmla="*/ 2838888 h 6046908"/>
              <a:gd name="connsiteX82" fmla="*/ 3064186 w 4527226"/>
              <a:gd name="connsiteY82" fmla="*/ 2915088 h 6046908"/>
              <a:gd name="connsiteX83" fmla="*/ 3018466 w 4527226"/>
              <a:gd name="connsiteY83" fmla="*/ 3014148 h 6046908"/>
              <a:gd name="connsiteX84" fmla="*/ 2980366 w 4527226"/>
              <a:gd name="connsiteY84" fmla="*/ 3082728 h 6046908"/>
              <a:gd name="connsiteX85" fmla="*/ 2957506 w 4527226"/>
              <a:gd name="connsiteY85" fmla="*/ 3120828 h 6046908"/>
              <a:gd name="connsiteX86" fmla="*/ 2957506 w 4527226"/>
              <a:gd name="connsiteY86" fmla="*/ 3555168 h 6046908"/>
              <a:gd name="connsiteX87" fmla="*/ 3010846 w 4527226"/>
              <a:gd name="connsiteY87" fmla="*/ 3539928 h 6046908"/>
              <a:gd name="connsiteX88" fmla="*/ 3109906 w 4527226"/>
              <a:gd name="connsiteY88" fmla="*/ 3570408 h 6046908"/>
              <a:gd name="connsiteX89" fmla="*/ 3140386 w 4527226"/>
              <a:gd name="connsiteY89" fmla="*/ 3631368 h 6046908"/>
              <a:gd name="connsiteX90" fmla="*/ 3117526 w 4527226"/>
              <a:gd name="connsiteY90" fmla="*/ 3738048 h 6046908"/>
              <a:gd name="connsiteX91" fmla="*/ 3125146 w 4527226"/>
              <a:gd name="connsiteY91" fmla="*/ 4103808 h 6046908"/>
              <a:gd name="connsiteX92" fmla="*/ 3163246 w 4527226"/>
              <a:gd name="connsiteY92" fmla="*/ 4157148 h 6046908"/>
              <a:gd name="connsiteX93" fmla="*/ 3201346 w 4527226"/>
              <a:gd name="connsiteY93" fmla="*/ 4164768 h 6046908"/>
              <a:gd name="connsiteX94" fmla="*/ 3231826 w 4527226"/>
              <a:gd name="connsiteY94" fmla="*/ 4172388 h 6046908"/>
              <a:gd name="connsiteX95" fmla="*/ 3285166 w 4527226"/>
              <a:gd name="connsiteY95" fmla="*/ 4294308 h 6046908"/>
              <a:gd name="connsiteX96" fmla="*/ 3300406 w 4527226"/>
              <a:gd name="connsiteY96" fmla="*/ 4347648 h 6046908"/>
              <a:gd name="connsiteX97" fmla="*/ 3330886 w 4527226"/>
              <a:gd name="connsiteY97" fmla="*/ 4408608 h 6046908"/>
              <a:gd name="connsiteX98" fmla="*/ 3551866 w 4527226"/>
              <a:gd name="connsiteY98" fmla="*/ 4644828 h 6046908"/>
              <a:gd name="connsiteX99" fmla="*/ 3887146 w 4527226"/>
              <a:gd name="connsiteY99" fmla="*/ 5025828 h 6046908"/>
              <a:gd name="connsiteX100" fmla="*/ 4100506 w 4527226"/>
              <a:gd name="connsiteY100" fmla="*/ 5300148 h 6046908"/>
              <a:gd name="connsiteX101" fmla="*/ 4367206 w 4527226"/>
              <a:gd name="connsiteY101" fmla="*/ 5726868 h 6046908"/>
              <a:gd name="connsiteX102" fmla="*/ 4527226 w 4527226"/>
              <a:gd name="connsiteY102" fmla="*/ 6046908 h 6046908"/>
              <a:gd name="connsiteX0" fmla="*/ 473386 w 4527226"/>
              <a:gd name="connsiteY0" fmla="*/ 5665908 h 6046908"/>
              <a:gd name="connsiteX1" fmla="*/ 511486 w 4527226"/>
              <a:gd name="connsiteY1" fmla="*/ 5612568 h 6046908"/>
              <a:gd name="connsiteX2" fmla="*/ 541966 w 4527226"/>
              <a:gd name="connsiteY2" fmla="*/ 5521128 h 6046908"/>
              <a:gd name="connsiteX3" fmla="*/ 564826 w 4527226"/>
              <a:gd name="connsiteY3" fmla="*/ 5353488 h 6046908"/>
              <a:gd name="connsiteX4" fmla="*/ 602926 w 4527226"/>
              <a:gd name="connsiteY4" fmla="*/ 5223948 h 6046908"/>
              <a:gd name="connsiteX5" fmla="*/ 625786 w 4527226"/>
              <a:gd name="connsiteY5" fmla="*/ 5178228 h 6046908"/>
              <a:gd name="connsiteX6" fmla="*/ 701986 w 4527226"/>
              <a:gd name="connsiteY6" fmla="*/ 5071548 h 6046908"/>
              <a:gd name="connsiteX7" fmla="*/ 717226 w 4527226"/>
              <a:gd name="connsiteY7" fmla="*/ 5063928 h 6046908"/>
              <a:gd name="connsiteX8" fmla="*/ 709606 w 4527226"/>
              <a:gd name="connsiteY8" fmla="*/ 5025828 h 6046908"/>
              <a:gd name="connsiteX9" fmla="*/ 701986 w 4527226"/>
              <a:gd name="connsiteY9" fmla="*/ 5002968 h 6046908"/>
              <a:gd name="connsiteX10" fmla="*/ 968686 w 4527226"/>
              <a:gd name="connsiteY10" fmla="*/ 4682928 h 6046908"/>
              <a:gd name="connsiteX11" fmla="*/ 961066 w 4527226"/>
              <a:gd name="connsiteY11" fmla="*/ 4644828 h 6046908"/>
              <a:gd name="connsiteX12" fmla="*/ 1342066 w 4527226"/>
              <a:gd name="connsiteY12" fmla="*/ 4172388 h 6046908"/>
              <a:gd name="connsiteX13" fmla="*/ 1258246 w 4527226"/>
              <a:gd name="connsiteY13" fmla="*/ 4012368 h 6046908"/>
              <a:gd name="connsiteX14" fmla="*/ 1204906 w 4527226"/>
              <a:gd name="connsiteY14" fmla="*/ 3928548 h 6046908"/>
              <a:gd name="connsiteX15" fmla="*/ 1174426 w 4527226"/>
              <a:gd name="connsiteY15" fmla="*/ 3768528 h 6046908"/>
              <a:gd name="connsiteX16" fmla="*/ 1151566 w 4527226"/>
              <a:gd name="connsiteY16" fmla="*/ 3699948 h 6046908"/>
              <a:gd name="connsiteX17" fmla="*/ 1143946 w 4527226"/>
              <a:gd name="connsiteY17" fmla="*/ 3669468 h 6046908"/>
              <a:gd name="connsiteX18" fmla="*/ 1067746 w 4527226"/>
              <a:gd name="connsiteY18" fmla="*/ 3661848 h 6046908"/>
              <a:gd name="connsiteX19" fmla="*/ 938206 w 4527226"/>
              <a:gd name="connsiteY19" fmla="*/ 3669468 h 6046908"/>
              <a:gd name="connsiteX20" fmla="*/ 831526 w 4527226"/>
              <a:gd name="connsiteY20" fmla="*/ 3692328 h 6046908"/>
              <a:gd name="connsiteX21" fmla="*/ 610546 w 4527226"/>
              <a:gd name="connsiteY21" fmla="*/ 3738048 h 6046908"/>
              <a:gd name="connsiteX22" fmla="*/ 389566 w 4527226"/>
              <a:gd name="connsiteY22" fmla="*/ 3638988 h 6046908"/>
              <a:gd name="connsiteX23" fmla="*/ 381946 w 4527226"/>
              <a:gd name="connsiteY23" fmla="*/ 3326568 h 6046908"/>
              <a:gd name="connsiteX24" fmla="*/ 420046 w 4527226"/>
              <a:gd name="connsiteY24" fmla="*/ 3227508 h 6046908"/>
              <a:gd name="connsiteX25" fmla="*/ 389566 w 4527226"/>
              <a:gd name="connsiteY25" fmla="*/ 3166548 h 6046908"/>
              <a:gd name="connsiteX26" fmla="*/ 351466 w 4527226"/>
              <a:gd name="connsiteY26" fmla="*/ 3105588 h 6046908"/>
              <a:gd name="connsiteX27" fmla="*/ 397186 w 4527226"/>
              <a:gd name="connsiteY27" fmla="*/ 3021768 h 6046908"/>
              <a:gd name="connsiteX28" fmla="*/ 488626 w 4527226"/>
              <a:gd name="connsiteY28" fmla="*/ 2998908 h 6046908"/>
              <a:gd name="connsiteX29" fmla="*/ 471956 w 4527226"/>
              <a:gd name="connsiteY29" fmla="*/ 2942709 h 6046908"/>
              <a:gd name="connsiteX30" fmla="*/ 435286 w 4527226"/>
              <a:gd name="connsiteY30" fmla="*/ 2930328 h 6046908"/>
              <a:gd name="connsiteX31" fmla="*/ 389566 w 4527226"/>
              <a:gd name="connsiteY31" fmla="*/ 2930328 h 6046908"/>
              <a:gd name="connsiteX32" fmla="*/ 314000 w 4527226"/>
              <a:gd name="connsiteY32" fmla="*/ 2893495 h 6046908"/>
              <a:gd name="connsiteX33" fmla="*/ 320986 w 4527226"/>
              <a:gd name="connsiteY33" fmla="*/ 2846508 h 6046908"/>
              <a:gd name="connsiteX34" fmla="*/ 328606 w 4527226"/>
              <a:gd name="connsiteY34" fmla="*/ 2793168 h 6046908"/>
              <a:gd name="connsiteX35" fmla="*/ 313366 w 4527226"/>
              <a:gd name="connsiteY35" fmla="*/ 2732208 h 6046908"/>
              <a:gd name="connsiteX36" fmla="*/ 267646 w 4527226"/>
              <a:gd name="connsiteY36" fmla="*/ 2671248 h 6046908"/>
              <a:gd name="connsiteX37" fmla="*/ 176206 w 4527226"/>
              <a:gd name="connsiteY37" fmla="*/ 2656008 h 6046908"/>
              <a:gd name="connsiteX38" fmla="*/ 54286 w 4527226"/>
              <a:gd name="connsiteY38" fmla="*/ 2610288 h 6046908"/>
              <a:gd name="connsiteX39" fmla="*/ 7931 w 4527226"/>
              <a:gd name="connsiteY39" fmla="*/ 2563298 h 6046908"/>
              <a:gd name="connsiteX40" fmla="*/ 8566 w 4527226"/>
              <a:gd name="connsiteY40" fmla="*/ 2488368 h 6046908"/>
              <a:gd name="connsiteX41" fmla="*/ 92386 w 4527226"/>
              <a:gd name="connsiteY41" fmla="*/ 2335968 h 6046908"/>
              <a:gd name="connsiteX42" fmla="*/ 221926 w 4527226"/>
              <a:gd name="connsiteY42" fmla="*/ 2175948 h 6046908"/>
              <a:gd name="connsiteX43" fmla="*/ 282886 w 4527226"/>
              <a:gd name="connsiteY43" fmla="*/ 2084508 h 6046908"/>
              <a:gd name="connsiteX44" fmla="*/ 328606 w 4527226"/>
              <a:gd name="connsiteY44" fmla="*/ 1977828 h 6046908"/>
              <a:gd name="connsiteX45" fmla="*/ 359086 w 4527226"/>
              <a:gd name="connsiteY45" fmla="*/ 1871148 h 6046908"/>
              <a:gd name="connsiteX46" fmla="*/ 374326 w 4527226"/>
              <a:gd name="connsiteY46" fmla="*/ 1810188 h 6046908"/>
              <a:gd name="connsiteX47" fmla="*/ 343846 w 4527226"/>
              <a:gd name="connsiteY47" fmla="*/ 1756848 h 6046908"/>
              <a:gd name="connsiteX48" fmla="*/ 328606 w 4527226"/>
              <a:gd name="connsiteY48" fmla="*/ 1680648 h 6046908"/>
              <a:gd name="connsiteX49" fmla="*/ 412426 w 4527226"/>
              <a:gd name="connsiteY49" fmla="*/ 1474908 h 6046908"/>
              <a:gd name="connsiteX50" fmla="*/ 442906 w 4527226"/>
              <a:gd name="connsiteY50" fmla="*/ 1307268 h 6046908"/>
              <a:gd name="connsiteX51" fmla="*/ 465766 w 4527226"/>
              <a:gd name="connsiteY51" fmla="*/ 1192968 h 6046908"/>
              <a:gd name="connsiteX52" fmla="*/ 503866 w 4527226"/>
              <a:gd name="connsiteY52" fmla="*/ 1055808 h 6046908"/>
              <a:gd name="connsiteX53" fmla="*/ 557206 w 4527226"/>
              <a:gd name="connsiteY53" fmla="*/ 888168 h 6046908"/>
              <a:gd name="connsiteX54" fmla="*/ 503866 w 4527226"/>
              <a:gd name="connsiteY54" fmla="*/ 888168 h 6046908"/>
              <a:gd name="connsiteX55" fmla="*/ 412426 w 4527226"/>
              <a:gd name="connsiteY55" fmla="*/ 834828 h 6046908"/>
              <a:gd name="connsiteX56" fmla="*/ 328606 w 4527226"/>
              <a:gd name="connsiteY56" fmla="*/ 789108 h 6046908"/>
              <a:gd name="connsiteX57" fmla="*/ 260026 w 4527226"/>
              <a:gd name="connsiteY57" fmla="*/ 773868 h 6046908"/>
              <a:gd name="connsiteX58" fmla="*/ 214306 w 4527226"/>
              <a:gd name="connsiteY58" fmla="*/ 751008 h 6046908"/>
              <a:gd name="connsiteX59" fmla="*/ 260026 w 4527226"/>
              <a:gd name="connsiteY59" fmla="*/ 674808 h 6046908"/>
              <a:gd name="connsiteX60" fmla="*/ 374326 w 4527226"/>
              <a:gd name="connsiteY60" fmla="*/ 606228 h 6046908"/>
              <a:gd name="connsiteX61" fmla="*/ 557206 w 4527226"/>
              <a:gd name="connsiteY61" fmla="*/ 507168 h 6046908"/>
              <a:gd name="connsiteX62" fmla="*/ 656266 w 4527226"/>
              <a:gd name="connsiteY62" fmla="*/ 423348 h 6046908"/>
              <a:gd name="connsiteX63" fmla="*/ 892486 w 4527226"/>
              <a:gd name="connsiteY63" fmla="*/ 232848 h 6046908"/>
              <a:gd name="connsiteX64" fmla="*/ 1174426 w 4527226"/>
              <a:gd name="connsiteY64" fmla="*/ 80448 h 6046908"/>
              <a:gd name="connsiteX65" fmla="*/ 1593526 w 4527226"/>
              <a:gd name="connsiteY65" fmla="*/ 11868 h 6046908"/>
              <a:gd name="connsiteX66" fmla="*/ 1944046 w 4527226"/>
              <a:gd name="connsiteY66" fmla="*/ 4248 h 6046908"/>
              <a:gd name="connsiteX67" fmla="*/ 2172646 w 4527226"/>
              <a:gd name="connsiteY67" fmla="*/ 4248 h 6046908"/>
              <a:gd name="connsiteX68" fmla="*/ 2393626 w 4527226"/>
              <a:gd name="connsiteY68" fmla="*/ 57588 h 6046908"/>
              <a:gd name="connsiteX69" fmla="*/ 2667946 w 4527226"/>
              <a:gd name="connsiteY69" fmla="*/ 133788 h 6046908"/>
              <a:gd name="connsiteX70" fmla="*/ 2820346 w 4527226"/>
              <a:gd name="connsiteY70" fmla="*/ 202368 h 6046908"/>
              <a:gd name="connsiteX71" fmla="*/ 3102286 w 4527226"/>
              <a:gd name="connsiteY71" fmla="*/ 400488 h 6046908"/>
              <a:gd name="connsiteX72" fmla="*/ 3285166 w 4527226"/>
              <a:gd name="connsiteY72" fmla="*/ 651948 h 6046908"/>
              <a:gd name="connsiteX73" fmla="*/ 3407086 w 4527226"/>
              <a:gd name="connsiteY73" fmla="*/ 918648 h 6046908"/>
              <a:gd name="connsiteX74" fmla="*/ 3475666 w 4527226"/>
              <a:gd name="connsiteY74" fmla="*/ 1238688 h 6046908"/>
              <a:gd name="connsiteX75" fmla="*/ 3506146 w 4527226"/>
              <a:gd name="connsiteY75" fmla="*/ 1543488 h 6046908"/>
              <a:gd name="connsiteX76" fmla="*/ 3506146 w 4527226"/>
              <a:gd name="connsiteY76" fmla="*/ 1962588 h 6046908"/>
              <a:gd name="connsiteX77" fmla="*/ 3338506 w 4527226"/>
              <a:gd name="connsiteY77" fmla="*/ 2305488 h 6046908"/>
              <a:gd name="connsiteX78" fmla="*/ 3254686 w 4527226"/>
              <a:gd name="connsiteY78" fmla="*/ 2473128 h 6046908"/>
              <a:gd name="connsiteX79" fmla="*/ 3132766 w 4527226"/>
              <a:gd name="connsiteY79" fmla="*/ 2663628 h 6046908"/>
              <a:gd name="connsiteX80" fmla="*/ 3071806 w 4527226"/>
              <a:gd name="connsiteY80" fmla="*/ 2838888 h 6046908"/>
              <a:gd name="connsiteX81" fmla="*/ 3064186 w 4527226"/>
              <a:gd name="connsiteY81" fmla="*/ 2915088 h 6046908"/>
              <a:gd name="connsiteX82" fmla="*/ 3018466 w 4527226"/>
              <a:gd name="connsiteY82" fmla="*/ 3014148 h 6046908"/>
              <a:gd name="connsiteX83" fmla="*/ 2980366 w 4527226"/>
              <a:gd name="connsiteY83" fmla="*/ 3082728 h 6046908"/>
              <a:gd name="connsiteX84" fmla="*/ 2957506 w 4527226"/>
              <a:gd name="connsiteY84" fmla="*/ 3120828 h 6046908"/>
              <a:gd name="connsiteX85" fmla="*/ 2957506 w 4527226"/>
              <a:gd name="connsiteY85" fmla="*/ 3555168 h 6046908"/>
              <a:gd name="connsiteX86" fmla="*/ 3010846 w 4527226"/>
              <a:gd name="connsiteY86" fmla="*/ 3539928 h 6046908"/>
              <a:gd name="connsiteX87" fmla="*/ 3109906 w 4527226"/>
              <a:gd name="connsiteY87" fmla="*/ 3570408 h 6046908"/>
              <a:gd name="connsiteX88" fmla="*/ 3140386 w 4527226"/>
              <a:gd name="connsiteY88" fmla="*/ 3631368 h 6046908"/>
              <a:gd name="connsiteX89" fmla="*/ 3117526 w 4527226"/>
              <a:gd name="connsiteY89" fmla="*/ 3738048 h 6046908"/>
              <a:gd name="connsiteX90" fmla="*/ 3125146 w 4527226"/>
              <a:gd name="connsiteY90" fmla="*/ 4103808 h 6046908"/>
              <a:gd name="connsiteX91" fmla="*/ 3163246 w 4527226"/>
              <a:gd name="connsiteY91" fmla="*/ 4157148 h 6046908"/>
              <a:gd name="connsiteX92" fmla="*/ 3201346 w 4527226"/>
              <a:gd name="connsiteY92" fmla="*/ 4164768 h 6046908"/>
              <a:gd name="connsiteX93" fmla="*/ 3231826 w 4527226"/>
              <a:gd name="connsiteY93" fmla="*/ 4172388 h 6046908"/>
              <a:gd name="connsiteX94" fmla="*/ 3285166 w 4527226"/>
              <a:gd name="connsiteY94" fmla="*/ 4294308 h 6046908"/>
              <a:gd name="connsiteX95" fmla="*/ 3300406 w 4527226"/>
              <a:gd name="connsiteY95" fmla="*/ 4347648 h 6046908"/>
              <a:gd name="connsiteX96" fmla="*/ 3330886 w 4527226"/>
              <a:gd name="connsiteY96" fmla="*/ 4408608 h 6046908"/>
              <a:gd name="connsiteX97" fmla="*/ 3551866 w 4527226"/>
              <a:gd name="connsiteY97" fmla="*/ 4644828 h 6046908"/>
              <a:gd name="connsiteX98" fmla="*/ 3887146 w 4527226"/>
              <a:gd name="connsiteY98" fmla="*/ 5025828 h 6046908"/>
              <a:gd name="connsiteX99" fmla="*/ 4100506 w 4527226"/>
              <a:gd name="connsiteY99" fmla="*/ 5300148 h 6046908"/>
              <a:gd name="connsiteX100" fmla="*/ 4367206 w 4527226"/>
              <a:gd name="connsiteY100" fmla="*/ 5726868 h 6046908"/>
              <a:gd name="connsiteX101" fmla="*/ 4527226 w 4527226"/>
              <a:gd name="connsiteY101" fmla="*/ 6046908 h 6046908"/>
              <a:gd name="connsiteX0" fmla="*/ 511486 w 4527226"/>
              <a:gd name="connsiteY0" fmla="*/ 5612568 h 6046908"/>
              <a:gd name="connsiteX1" fmla="*/ 541966 w 4527226"/>
              <a:gd name="connsiteY1" fmla="*/ 5521128 h 6046908"/>
              <a:gd name="connsiteX2" fmla="*/ 564826 w 4527226"/>
              <a:gd name="connsiteY2" fmla="*/ 5353488 h 6046908"/>
              <a:gd name="connsiteX3" fmla="*/ 602926 w 4527226"/>
              <a:gd name="connsiteY3" fmla="*/ 5223948 h 6046908"/>
              <a:gd name="connsiteX4" fmla="*/ 625786 w 4527226"/>
              <a:gd name="connsiteY4" fmla="*/ 5178228 h 6046908"/>
              <a:gd name="connsiteX5" fmla="*/ 701986 w 4527226"/>
              <a:gd name="connsiteY5" fmla="*/ 5071548 h 6046908"/>
              <a:gd name="connsiteX6" fmla="*/ 717226 w 4527226"/>
              <a:gd name="connsiteY6" fmla="*/ 5063928 h 6046908"/>
              <a:gd name="connsiteX7" fmla="*/ 709606 w 4527226"/>
              <a:gd name="connsiteY7" fmla="*/ 5025828 h 6046908"/>
              <a:gd name="connsiteX8" fmla="*/ 701986 w 4527226"/>
              <a:gd name="connsiteY8" fmla="*/ 5002968 h 6046908"/>
              <a:gd name="connsiteX9" fmla="*/ 968686 w 4527226"/>
              <a:gd name="connsiteY9" fmla="*/ 4682928 h 6046908"/>
              <a:gd name="connsiteX10" fmla="*/ 961066 w 4527226"/>
              <a:gd name="connsiteY10" fmla="*/ 4644828 h 6046908"/>
              <a:gd name="connsiteX11" fmla="*/ 1342066 w 4527226"/>
              <a:gd name="connsiteY11" fmla="*/ 4172388 h 6046908"/>
              <a:gd name="connsiteX12" fmla="*/ 1258246 w 4527226"/>
              <a:gd name="connsiteY12" fmla="*/ 4012368 h 6046908"/>
              <a:gd name="connsiteX13" fmla="*/ 1204906 w 4527226"/>
              <a:gd name="connsiteY13" fmla="*/ 3928548 h 6046908"/>
              <a:gd name="connsiteX14" fmla="*/ 1174426 w 4527226"/>
              <a:gd name="connsiteY14" fmla="*/ 3768528 h 6046908"/>
              <a:gd name="connsiteX15" fmla="*/ 1151566 w 4527226"/>
              <a:gd name="connsiteY15" fmla="*/ 3699948 h 6046908"/>
              <a:gd name="connsiteX16" fmla="*/ 1143946 w 4527226"/>
              <a:gd name="connsiteY16" fmla="*/ 3669468 h 6046908"/>
              <a:gd name="connsiteX17" fmla="*/ 1067746 w 4527226"/>
              <a:gd name="connsiteY17" fmla="*/ 3661848 h 6046908"/>
              <a:gd name="connsiteX18" fmla="*/ 938206 w 4527226"/>
              <a:gd name="connsiteY18" fmla="*/ 3669468 h 6046908"/>
              <a:gd name="connsiteX19" fmla="*/ 831526 w 4527226"/>
              <a:gd name="connsiteY19" fmla="*/ 3692328 h 6046908"/>
              <a:gd name="connsiteX20" fmla="*/ 610546 w 4527226"/>
              <a:gd name="connsiteY20" fmla="*/ 3738048 h 6046908"/>
              <a:gd name="connsiteX21" fmla="*/ 389566 w 4527226"/>
              <a:gd name="connsiteY21" fmla="*/ 3638988 h 6046908"/>
              <a:gd name="connsiteX22" fmla="*/ 381946 w 4527226"/>
              <a:gd name="connsiteY22" fmla="*/ 3326568 h 6046908"/>
              <a:gd name="connsiteX23" fmla="*/ 420046 w 4527226"/>
              <a:gd name="connsiteY23" fmla="*/ 3227508 h 6046908"/>
              <a:gd name="connsiteX24" fmla="*/ 389566 w 4527226"/>
              <a:gd name="connsiteY24" fmla="*/ 3166548 h 6046908"/>
              <a:gd name="connsiteX25" fmla="*/ 351466 w 4527226"/>
              <a:gd name="connsiteY25" fmla="*/ 3105588 h 6046908"/>
              <a:gd name="connsiteX26" fmla="*/ 397186 w 4527226"/>
              <a:gd name="connsiteY26" fmla="*/ 3021768 h 6046908"/>
              <a:gd name="connsiteX27" fmla="*/ 488626 w 4527226"/>
              <a:gd name="connsiteY27" fmla="*/ 2998908 h 6046908"/>
              <a:gd name="connsiteX28" fmla="*/ 471956 w 4527226"/>
              <a:gd name="connsiteY28" fmla="*/ 2942709 h 6046908"/>
              <a:gd name="connsiteX29" fmla="*/ 435286 w 4527226"/>
              <a:gd name="connsiteY29" fmla="*/ 2930328 h 6046908"/>
              <a:gd name="connsiteX30" fmla="*/ 389566 w 4527226"/>
              <a:gd name="connsiteY30" fmla="*/ 2930328 h 6046908"/>
              <a:gd name="connsiteX31" fmla="*/ 314000 w 4527226"/>
              <a:gd name="connsiteY31" fmla="*/ 2893495 h 6046908"/>
              <a:gd name="connsiteX32" fmla="*/ 320986 w 4527226"/>
              <a:gd name="connsiteY32" fmla="*/ 2846508 h 6046908"/>
              <a:gd name="connsiteX33" fmla="*/ 328606 w 4527226"/>
              <a:gd name="connsiteY33" fmla="*/ 2793168 h 6046908"/>
              <a:gd name="connsiteX34" fmla="*/ 313366 w 4527226"/>
              <a:gd name="connsiteY34" fmla="*/ 2732208 h 6046908"/>
              <a:gd name="connsiteX35" fmla="*/ 267646 w 4527226"/>
              <a:gd name="connsiteY35" fmla="*/ 2671248 h 6046908"/>
              <a:gd name="connsiteX36" fmla="*/ 176206 w 4527226"/>
              <a:gd name="connsiteY36" fmla="*/ 2656008 h 6046908"/>
              <a:gd name="connsiteX37" fmla="*/ 54286 w 4527226"/>
              <a:gd name="connsiteY37" fmla="*/ 2610288 h 6046908"/>
              <a:gd name="connsiteX38" fmla="*/ 7931 w 4527226"/>
              <a:gd name="connsiteY38" fmla="*/ 2563298 h 6046908"/>
              <a:gd name="connsiteX39" fmla="*/ 8566 w 4527226"/>
              <a:gd name="connsiteY39" fmla="*/ 2488368 h 6046908"/>
              <a:gd name="connsiteX40" fmla="*/ 92386 w 4527226"/>
              <a:gd name="connsiteY40" fmla="*/ 2335968 h 6046908"/>
              <a:gd name="connsiteX41" fmla="*/ 221926 w 4527226"/>
              <a:gd name="connsiteY41" fmla="*/ 2175948 h 6046908"/>
              <a:gd name="connsiteX42" fmla="*/ 282886 w 4527226"/>
              <a:gd name="connsiteY42" fmla="*/ 2084508 h 6046908"/>
              <a:gd name="connsiteX43" fmla="*/ 328606 w 4527226"/>
              <a:gd name="connsiteY43" fmla="*/ 1977828 h 6046908"/>
              <a:gd name="connsiteX44" fmla="*/ 359086 w 4527226"/>
              <a:gd name="connsiteY44" fmla="*/ 1871148 h 6046908"/>
              <a:gd name="connsiteX45" fmla="*/ 374326 w 4527226"/>
              <a:gd name="connsiteY45" fmla="*/ 1810188 h 6046908"/>
              <a:gd name="connsiteX46" fmla="*/ 343846 w 4527226"/>
              <a:gd name="connsiteY46" fmla="*/ 1756848 h 6046908"/>
              <a:gd name="connsiteX47" fmla="*/ 328606 w 4527226"/>
              <a:gd name="connsiteY47" fmla="*/ 1680648 h 6046908"/>
              <a:gd name="connsiteX48" fmla="*/ 412426 w 4527226"/>
              <a:gd name="connsiteY48" fmla="*/ 1474908 h 6046908"/>
              <a:gd name="connsiteX49" fmla="*/ 442906 w 4527226"/>
              <a:gd name="connsiteY49" fmla="*/ 1307268 h 6046908"/>
              <a:gd name="connsiteX50" fmla="*/ 465766 w 4527226"/>
              <a:gd name="connsiteY50" fmla="*/ 1192968 h 6046908"/>
              <a:gd name="connsiteX51" fmla="*/ 503866 w 4527226"/>
              <a:gd name="connsiteY51" fmla="*/ 1055808 h 6046908"/>
              <a:gd name="connsiteX52" fmla="*/ 557206 w 4527226"/>
              <a:gd name="connsiteY52" fmla="*/ 888168 h 6046908"/>
              <a:gd name="connsiteX53" fmla="*/ 503866 w 4527226"/>
              <a:gd name="connsiteY53" fmla="*/ 888168 h 6046908"/>
              <a:gd name="connsiteX54" fmla="*/ 412426 w 4527226"/>
              <a:gd name="connsiteY54" fmla="*/ 834828 h 6046908"/>
              <a:gd name="connsiteX55" fmla="*/ 328606 w 4527226"/>
              <a:gd name="connsiteY55" fmla="*/ 789108 h 6046908"/>
              <a:gd name="connsiteX56" fmla="*/ 260026 w 4527226"/>
              <a:gd name="connsiteY56" fmla="*/ 773868 h 6046908"/>
              <a:gd name="connsiteX57" fmla="*/ 214306 w 4527226"/>
              <a:gd name="connsiteY57" fmla="*/ 751008 h 6046908"/>
              <a:gd name="connsiteX58" fmla="*/ 260026 w 4527226"/>
              <a:gd name="connsiteY58" fmla="*/ 674808 h 6046908"/>
              <a:gd name="connsiteX59" fmla="*/ 374326 w 4527226"/>
              <a:gd name="connsiteY59" fmla="*/ 606228 h 6046908"/>
              <a:gd name="connsiteX60" fmla="*/ 557206 w 4527226"/>
              <a:gd name="connsiteY60" fmla="*/ 507168 h 6046908"/>
              <a:gd name="connsiteX61" fmla="*/ 656266 w 4527226"/>
              <a:gd name="connsiteY61" fmla="*/ 423348 h 6046908"/>
              <a:gd name="connsiteX62" fmla="*/ 892486 w 4527226"/>
              <a:gd name="connsiteY62" fmla="*/ 232848 h 6046908"/>
              <a:gd name="connsiteX63" fmla="*/ 1174426 w 4527226"/>
              <a:gd name="connsiteY63" fmla="*/ 80448 h 6046908"/>
              <a:gd name="connsiteX64" fmla="*/ 1593526 w 4527226"/>
              <a:gd name="connsiteY64" fmla="*/ 11868 h 6046908"/>
              <a:gd name="connsiteX65" fmla="*/ 1944046 w 4527226"/>
              <a:gd name="connsiteY65" fmla="*/ 4248 h 6046908"/>
              <a:gd name="connsiteX66" fmla="*/ 2172646 w 4527226"/>
              <a:gd name="connsiteY66" fmla="*/ 4248 h 6046908"/>
              <a:gd name="connsiteX67" fmla="*/ 2393626 w 4527226"/>
              <a:gd name="connsiteY67" fmla="*/ 57588 h 6046908"/>
              <a:gd name="connsiteX68" fmla="*/ 2667946 w 4527226"/>
              <a:gd name="connsiteY68" fmla="*/ 133788 h 6046908"/>
              <a:gd name="connsiteX69" fmla="*/ 2820346 w 4527226"/>
              <a:gd name="connsiteY69" fmla="*/ 202368 h 6046908"/>
              <a:gd name="connsiteX70" fmla="*/ 3102286 w 4527226"/>
              <a:gd name="connsiteY70" fmla="*/ 400488 h 6046908"/>
              <a:gd name="connsiteX71" fmla="*/ 3285166 w 4527226"/>
              <a:gd name="connsiteY71" fmla="*/ 651948 h 6046908"/>
              <a:gd name="connsiteX72" fmla="*/ 3407086 w 4527226"/>
              <a:gd name="connsiteY72" fmla="*/ 918648 h 6046908"/>
              <a:gd name="connsiteX73" fmla="*/ 3475666 w 4527226"/>
              <a:gd name="connsiteY73" fmla="*/ 1238688 h 6046908"/>
              <a:gd name="connsiteX74" fmla="*/ 3506146 w 4527226"/>
              <a:gd name="connsiteY74" fmla="*/ 1543488 h 6046908"/>
              <a:gd name="connsiteX75" fmla="*/ 3506146 w 4527226"/>
              <a:gd name="connsiteY75" fmla="*/ 1962588 h 6046908"/>
              <a:gd name="connsiteX76" fmla="*/ 3338506 w 4527226"/>
              <a:gd name="connsiteY76" fmla="*/ 2305488 h 6046908"/>
              <a:gd name="connsiteX77" fmla="*/ 3254686 w 4527226"/>
              <a:gd name="connsiteY77" fmla="*/ 2473128 h 6046908"/>
              <a:gd name="connsiteX78" fmla="*/ 3132766 w 4527226"/>
              <a:gd name="connsiteY78" fmla="*/ 2663628 h 6046908"/>
              <a:gd name="connsiteX79" fmla="*/ 3071806 w 4527226"/>
              <a:gd name="connsiteY79" fmla="*/ 2838888 h 6046908"/>
              <a:gd name="connsiteX80" fmla="*/ 3064186 w 4527226"/>
              <a:gd name="connsiteY80" fmla="*/ 2915088 h 6046908"/>
              <a:gd name="connsiteX81" fmla="*/ 3018466 w 4527226"/>
              <a:gd name="connsiteY81" fmla="*/ 3014148 h 6046908"/>
              <a:gd name="connsiteX82" fmla="*/ 2980366 w 4527226"/>
              <a:gd name="connsiteY82" fmla="*/ 3082728 h 6046908"/>
              <a:gd name="connsiteX83" fmla="*/ 2957506 w 4527226"/>
              <a:gd name="connsiteY83" fmla="*/ 3120828 h 6046908"/>
              <a:gd name="connsiteX84" fmla="*/ 2957506 w 4527226"/>
              <a:gd name="connsiteY84" fmla="*/ 3555168 h 6046908"/>
              <a:gd name="connsiteX85" fmla="*/ 3010846 w 4527226"/>
              <a:gd name="connsiteY85" fmla="*/ 3539928 h 6046908"/>
              <a:gd name="connsiteX86" fmla="*/ 3109906 w 4527226"/>
              <a:gd name="connsiteY86" fmla="*/ 3570408 h 6046908"/>
              <a:gd name="connsiteX87" fmla="*/ 3140386 w 4527226"/>
              <a:gd name="connsiteY87" fmla="*/ 3631368 h 6046908"/>
              <a:gd name="connsiteX88" fmla="*/ 3117526 w 4527226"/>
              <a:gd name="connsiteY88" fmla="*/ 3738048 h 6046908"/>
              <a:gd name="connsiteX89" fmla="*/ 3125146 w 4527226"/>
              <a:gd name="connsiteY89" fmla="*/ 4103808 h 6046908"/>
              <a:gd name="connsiteX90" fmla="*/ 3163246 w 4527226"/>
              <a:gd name="connsiteY90" fmla="*/ 4157148 h 6046908"/>
              <a:gd name="connsiteX91" fmla="*/ 3201346 w 4527226"/>
              <a:gd name="connsiteY91" fmla="*/ 4164768 h 6046908"/>
              <a:gd name="connsiteX92" fmla="*/ 3231826 w 4527226"/>
              <a:gd name="connsiteY92" fmla="*/ 4172388 h 6046908"/>
              <a:gd name="connsiteX93" fmla="*/ 3285166 w 4527226"/>
              <a:gd name="connsiteY93" fmla="*/ 4294308 h 6046908"/>
              <a:gd name="connsiteX94" fmla="*/ 3300406 w 4527226"/>
              <a:gd name="connsiteY94" fmla="*/ 4347648 h 6046908"/>
              <a:gd name="connsiteX95" fmla="*/ 3330886 w 4527226"/>
              <a:gd name="connsiteY95" fmla="*/ 4408608 h 6046908"/>
              <a:gd name="connsiteX96" fmla="*/ 3551866 w 4527226"/>
              <a:gd name="connsiteY96" fmla="*/ 4644828 h 6046908"/>
              <a:gd name="connsiteX97" fmla="*/ 3887146 w 4527226"/>
              <a:gd name="connsiteY97" fmla="*/ 5025828 h 6046908"/>
              <a:gd name="connsiteX98" fmla="*/ 4100506 w 4527226"/>
              <a:gd name="connsiteY98" fmla="*/ 5300148 h 6046908"/>
              <a:gd name="connsiteX99" fmla="*/ 4367206 w 4527226"/>
              <a:gd name="connsiteY99" fmla="*/ 5726868 h 6046908"/>
              <a:gd name="connsiteX100" fmla="*/ 4527226 w 4527226"/>
              <a:gd name="connsiteY100" fmla="*/ 6046908 h 6046908"/>
              <a:gd name="connsiteX0" fmla="*/ 541966 w 4527226"/>
              <a:gd name="connsiteY0" fmla="*/ 5521128 h 6046908"/>
              <a:gd name="connsiteX1" fmla="*/ 564826 w 4527226"/>
              <a:gd name="connsiteY1" fmla="*/ 5353488 h 6046908"/>
              <a:gd name="connsiteX2" fmla="*/ 602926 w 4527226"/>
              <a:gd name="connsiteY2" fmla="*/ 5223948 h 6046908"/>
              <a:gd name="connsiteX3" fmla="*/ 625786 w 4527226"/>
              <a:gd name="connsiteY3" fmla="*/ 5178228 h 6046908"/>
              <a:gd name="connsiteX4" fmla="*/ 701986 w 4527226"/>
              <a:gd name="connsiteY4" fmla="*/ 5071548 h 6046908"/>
              <a:gd name="connsiteX5" fmla="*/ 717226 w 4527226"/>
              <a:gd name="connsiteY5" fmla="*/ 5063928 h 6046908"/>
              <a:gd name="connsiteX6" fmla="*/ 709606 w 4527226"/>
              <a:gd name="connsiteY6" fmla="*/ 5025828 h 6046908"/>
              <a:gd name="connsiteX7" fmla="*/ 701986 w 4527226"/>
              <a:gd name="connsiteY7" fmla="*/ 5002968 h 6046908"/>
              <a:gd name="connsiteX8" fmla="*/ 968686 w 4527226"/>
              <a:gd name="connsiteY8" fmla="*/ 4682928 h 6046908"/>
              <a:gd name="connsiteX9" fmla="*/ 961066 w 4527226"/>
              <a:gd name="connsiteY9" fmla="*/ 4644828 h 6046908"/>
              <a:gd name="connsiteX10" fmla="*/ 1342066 w 4527226"/>
              <a:gd name="connsiteY10" fmla="*/ 4172388 h 6046908"/>
              <a:gd name="connsiteX11" fmla="*/ 1258246 w 4527226"/>
              <a:gd name="connsiteY11" fmla="*/ 4012368 h 6046908"/>
              <a:gd name="connsiteX12" fmla="*/ 1204906 w 4527226"/>
              <a:gd name="connsiteY12" fmla="*/ 3928548 h 6046908"/>
              <a:gd name="connsiteX13" fmla="*/ 1174426 w 4527226"/>
              <a:gd name="connsiteY13" fmla="*/ 3768528 h 6046908"/>
              <a:gd name="connsiteX14" fmla="*/ 1151566 w 4527226"/>
              <a:gd name="connsiteY14" fmla="*/ 3699948 h 6046908"/>
              <a:gd name="connsiteX15" fmla="*/ 1143946 w 4527226"/>
              <a:gd name="connsiteY15" fmla="*/ 3669468 h 6046908"/>
              <a:gd name="connsiteX16" fmla="*/ 1067746 w 4527226"/>
              <a:gd name="connsiteY16" fmla="*/ 3661848 h 6046908"/>
              <a:gd name="connsiteX17" fmla="*/ 938206 w 4527226"/>
              <a:gd name="connsiteY17" fmla="*/ 3669468 h 6046908"/>
              <a:gd name="connsiteX18" fmla="*/ 831526 w 4527226"/>
              <a:gd name="connsiteY18" fmla="*/ 3692328 h 6046908"/>
              <a:gd name="connsiteX19" fmla="*/ 610546 w 4527226"/>
              <a:gd name="connsiteY19" fmla="*/ 3738048 h 6046908"/>
              <a:gd name="connsiteX20" fmla="*/ 389566 w 4527226"/>
              <a:gd name="connsiteY20" fmla="*/ 3638988 h 6046908"/>
              <a:gd name="connsiteX21" fmla="*/ 381946 w 4527226"/>
              <a:gd name="connsiteY21" fmla="*/ 3326568 h 6046908"/>
              <a:gd name="connsiteX22" fmla="*/ 420046 w 4527226"/>
              <a:gd name="connsiteY22" fmla="*/ 3227508 h 6046908"/>
              <a:gd name="connsiteX23" fmla="*/ 389566 w 4527226"/>
              <a:gd name="connsiteY23" fmla="*/ 3166548 h 6046908"/>
              <a:gd name="connsiteX24" fmla="*/ 351466 w 4527226"/>
              <a:gd name="connsiteY24" fmla="*/ 3105588 h 6046908"/>
              <a:gd name="connsiteX25" fmla="*/ 397186 w 4527226"/>
              <a:gd name="connsiteY25" fmla="*/ 3021768 h 6046908"/>
              <a:gd name="connsiteX26" fmla="*/ 488626 w 4527226"/>
              <a:gd name="connsiteY26" fmla="*/ 2998908 h 6046908"/>
              <a:gd name="connsiteX27" fmla="*/ 471956 w 4527226"/>
              <a:gd name="connsiteY27" fmla="*/ 2942709 h 6046908"/>
              <a:gd name="connsiteX28" fmla="*/ 435286 w 4527226"/>
              <a:gd name="connsiteY28" fmla="*/ 2930328 h 6046908"/>
              <a:gd name="connsiteX29" fmla="*/ 389566 w 4527226"/>
              <a:gd name="connsiteY29" fmla="*/ 2930328 h 6046908"/>
              <a:gd name="connsiteX30" fmla="*/ 314000 w 4527226"/>
              <a:gd name="connsiteY30" fmla="*/ 2893495 h 6046908"/>
              <a:gd name="connsiteX31" fmla="*/ 320986 w 4527226"/>
              <a:gd name="connsiteY31" fmla="*/ 2846508 h 6046908"/>
              <a:gd name="connsiteX32" fmla="*/ 328606 w 4527226"/>
              <a:gd name="connsiteY32" fmla="*/ 2793168 h 6046908"/>
              <a:gd name="connsiteX33" fmla="*/ 313366 w 4527226"/>
              <a:gd name="connsiteY33" fmla="*/ 2732208 h 6046908"/>
              <a:gd name="connsiteX34" fmla="*/ 267646 w 4527226"/>
              <a:gd name="connsiteY34" fmla="*/ 2671248 h 6046908"/>
              <a:gd name="connsiteX35" fmla="*/ 176206 w 4527226"/>
              <a:gd name="connsiteY35" fmla="*/ 2656008 h 6046908"/>
              <a:gd name="connsiteX36" fmla="*/ 54286 w 4527226"/>
              <a:gd name="connsiteY36" fmla="*/ 2610288 h 6046908"/>
              <a:gd name="connsiteX37" fmla="*/ 7931 w 4527226"/>
              <a:gd name="connsiteY37" fmla="*/ 2563298 h 6046908"/>
              <a:gd name="connsiteX38" fmla="*/ 8566 w 4527226"/>
              <a:gd name="connsiteY38" fmla="*/ 2488368 h 6046908"/>
              <a:gd name="connsiteX39" fmla="*/ 92386 w 4527226"/>
              <a:gd name="connsiteY39" fmla="*/ 2335968 h 6046908"/>
              <a:gd name="connsiteX40" fmla="*/ 221926 w 4527226"/>
              <a:gd name="connsiteY40" fmla="*/ 2175948 h 6046908"/>
              <a:gd name="connsiteX41" fmla="*/ 282886 w 4527226"/>
              <a:gd name="connsiteY41" fmla="*/ 2084508 h 6046908"/>
              <a:gd name="connsiteX42" fmla="*/ 328606 w 4527226"/>
              <a:gd name="connsiteY42" fmla="*/ 1977828 h 6046908"/>
              <a:gd name="connsiteX43" fmla="*/ 359086 w 4527226"/>
              <a:gd name="connsiteY43" fmla="*/ 1871148 h 6046908"/>
              <a:gd name="connsiteX44" fmla="*/ 374326 w 4527226"/>
              <a:gd name="connsiteY44" fmla="*/ 1810188 h 6046908"/>
              <a:gd name="connsiteX45" fmla="*/ 343846 w 4527226"/>
              <a:gd name="connsiteY45" fmla="*/ 1756848 h 6046908"/>
              <a:gd name="connsiteX46" fmla="*/ 328606 w 4527226"/>
              <a:gd name="connsiteY46" fmla="*/ 1680648 h 6046908"/>
              <a:gd name="connsiteX47" fmla="*/ 412426 w 4527226"/>
              <a:gd name="connsiteY47" fmla="*/ 1474908 h 6046908"/>
              <a:gd name="connsiteX48" fmla="*/ 442906 w 4527226"/>
              <a:gd name="connsiteY48" fmla="*/ 1307268 h 6046908"/>
              <a:gd name="connsiteX49" fmla="*/ 465766 w 4527226"/>
              <a:gd name="connsiteY49" fmla="*/ 1192968 h 6046908"/>
              <a:gd name="connsiteX50" fmla="*/ 503866 w 4527226"/>
              <a:gd name="connsiteY50" fmla="*/ 1055808 h 6046908"/>
              <a:gd name="connsiteX51" fmla="*/ 557206 w 4527226"/>
              <a:gd name="connsiteY51" fmla="*/ 888168 h 6046908"/>
              <a:gd name="connsiteX52" fmla="*/ 503866 w 4527226"/>
              <a:gd name="connsiteY52" fmla="*/ 888168 h 6046908"/>
              <a:gd name="connsiteX53" fmla="*/ 412426 w 4527226"/>
              <a:gd name="connsiteY53" fmla="*/ 834828 h 6046908"/>
              <a:gd name="connsiteX54" fmla="*/ 328606 w 4527226"/>
              <a:gd name="connsiteY54" fmla="*/ 789108 h 6046908"/>
              <a:gd name="connsiteX55" fmla="*/ 260026 w 4527226"/>
              <a:gd name="connsiteY55" fmla="*/ 773868 h 6046908"/>
              <a:gd name="connsiteX56" fmla="*/ 214306 w 4527226"/>
              <a:gd name="connsiteY56" fmla="*/ 751008 h 6046908"/>
              <a:gd name="connsiteX57" fmla="*/ 260026 w 4527226"/>
              <a:gd name="connsiteY57" fmla="*/ 674808 h 6046908"/>
              <a:gd name="connsiteX58" fmla="*/ 374326 w 4527226"/>
              <a:gd name="connsiteY58" fmla="*/ 606228 h 6046908"/>
              <a:gd name="connsiteX59" fmla="*/ 557206 w 4527226"/>
              <a:gd name="connsiteY59" fmla="*/ 507168 h 6046908"/>
              <a:gd name="connsiteX60" fmla="*/ 656266 w 4527226"/>
              <a:gd name="connsiteY60" fmla="*/ 423348 h 6046908"/>
              <a:gd name="connsiteX61" fmla="*/ 892486 w 4527226"/>
              <a:gd name="connsiteY61" fmla="*/ 232848 h 6046908"/>
              <a:gd name="connsiteX62" fmla="*/ 1174426 w 4527226"/>
              <a:gd name="connsiteY62" fmla="*/ 80448 h 6046908"/>
              <a:gd name="connsiteX63" fmla="*/ 1593526 w 4527226"/>
              <a:gd name="connsiteY63" fmla="*/ 11868 h 6046908"/>
              <a:gd name="connsiteX64" fmla="*/ 1944046 w 4527226"/>
              <a:gd name="connsiteY64" fmla="*/ 4248 h 6046908"/>
              <a:gd name="connsiteX65" fmla="*/ 2172646 w 4527226"/>
              <a:gd name="connsiteY65" fmla="*/ 4248 h 6046908"/>
              <a:gd name="connsiteX66" fmla="*/ 2393626 w 4527226"/>
              <a:gd name="connsiteY66" fmla="*/ 57588 h 6046908"/>
              <a:gd name="connsiteX67" fmla="*/ 2667946 w 4527226"/>
              <a:gd name="connsiteY67" fmla="*/ 133788 h 6046908"/>
              <a:gd name="connsiteX68" fmla="*/ 2820346 w 4527226"/>
              <a:gd name="connsiteY68" fmla="*/ 202368 h 6046908"/>
              <a:gd name="connsiteX69" fmla="*/ 3102286 w 4527226"/>
              <a:gd name="connsiteY69" fmla="*/ 400488 h 6046908"/>
              <a:gd name="connsiteX70" fmla="*/ 3285166 w 4527226"/>
              <a:gd name="connsiteY70" fmla="*/ 651948 h 6046908"/>
              <a:gd name="connsiteX71" fmla="*/ 3407086 w 4527226"/>
              <a:gd name="connsiteY71" fmla="*/ 918648 h 6046908"/>
              <a:gd name="connsiteX72" fmla="*/ 3475666 w 4527226"/>
              <a:gd name="connsiteY72" fmla="*/ 1238688 h 6046908"/>
              <a:gd name="connsiteX73" fmla="*/ 3506146 w 4527226"/>
              <a:gd name="connsiteY73" fmla="*/ 1543488 h 6046908"/>
              <a:gd name="connsiteX74" fmla="*/ 3506146 w 4527226"/>
              <a:gd name="connsiteY74" fmla="*/ 1962588 h 6046908"/>
              <a:gd name="connsiteX75" fmla="*/ 3338506 w 4527226"/>
              <a:gd name="connsiteY75" fmla="*/ 2305488 h 6046908"/>
              <a:gd name="connsiteX76" fmla="*/ 3254686 w 4527226"/>
              <a:gd name="connsiteY76" fmla="*/ 2473128 h 6046908"/>
              <a:gd name="connsiteX77" fmla="*/ 3132766 w 4527226"/>
              <a:gd name="connsiteY77" fmla="*/ 2663628 h 6046908"/>
              <a:gd name="connsiteX78" fmla="*/ 3071806 w 4527226"/>
              <a:gd name="connsiteY78" fmla="*/ 2838888 h 6046908"/>
              <a:gd name="connsiteX79" fmla="*/ 3064186 w 4527226"/>
              <a:gd name="connsiteY79" fmla="*/ 2915088 h 6046908"/>
              <a:gd name="connsiteX80" fmla="*/ 3018466 w 4527226"/>
              <a:gd name="connsiteY80" fmla="*/ 3014148 h 6046908"/>
              <a:gd name="connsiteX81" fmla="*/ 2980366 w 4527226"/>
              <a:gd name="connsiteY81" fmla="*/ 3082728 h 6046908"/>
              <a:gd name="connsiteX82" fmla="*/ 2957506 w 4527226"/>
              <a:gd name="connsiteY82" fmla="*/ 3120828 h 6046908"/>
              <a:gd name="connsiteX83" fmla="*/ 2957506 w 4527226"/>
              <a:gd name="connsiteY83" fmla="*/ 3555168 h 6046908"/>
              <a:gd name="connsiteX84" fmla="*/ 3010846 w 4527226"/>
              <a:gd name="connsiteY84" fmla="*/ 3539928 h 6046908"/>
              <a:gd name="connsiteX85" fmla="*/ 3109906 w 4527226"/>
              <a:gd name="connsiteY85" fmla="*/ 3570408 h 6046908"/>
              <a:gd name="connsiteX86" fmla="*/ 3140386 w 4527226"/>
              <a:gd name="connsiteY86" fmla="*/ 3631368 h 6046908"/>
              <a:gd name="connsiteX87" fmla="*/ 3117526 w 4527226"/>
              <a:gd name="connsiteY87" fmla="*/ 3738048 h 6046908"/>
              <a:gd name="connsiteX88" fmla="*/ 3125146 w 4527226"/>
              <a:gd name="connsiteY88" fmla="*/ 4103808 h 6046908"/>
              <a:gd name="connsiteX89" fmla="*/ 3163246 w 4527226"/>
              <a:gd name="connsiteY89" fmla="*/ 4157148 h 6046908"/>
              <a:gd name="connsiteX90" fmla="*/ 3201346 w 4527226"/>
              <a:gd name="connsiteY90" fmla="*/ 4164768 h 6046908"/>
              <a:gd name="connsiteX91" fmla="*/ 3231826 w 4527226"/>
              <a:gd name="connsiteY91" fmla="*/ 4172388 h 6046908"/>
              <a:gd name="connsiteX92" fmla="*/ 3285166 w 4527226"/>
              <a:gd name="connsiteY92" fmla="*/ 4294308 h 6046908"/>
              <a:gd name="connsiteX93" fmla="*/ 3300406 w 4527226"/>
              <a:gd name="connsiteY93" fmla="*/ 4347648 h 6046908"/>
              <a:gd name="connsiteX94" fmla="*/ 3330886 w 4527226"/>
              <a:gd name="connsiteY94" fmla="*/ 4408608 h 6046908"/>
              <a:gd name="connsiteX95" fmla="*/ 3551866 w 4527226"/>
              <a:gd name="connsiteY95" fmla="*/ 4644828 h 6046908"/>
              <a:gd name="connsiteX96" fmla="*/ 3887146 w 4527226"/>
              <a:gd name="connsiteY96" fmla="*/ 5025828 h 6046908"/>
              <a:gd name="connsiteX97" fmla="*/ 4100506 w 4527226"/>
              <a:gd name="connsiteY97" fmla="*/ 5300148 h 6046908"/>
              <a:gd name="connsiteX98" fmla="*/ 4367206 w 4527226"/>
              <a:gd name="connsiteY98" fmla="*/ 5726868 h 6046908"/>
              <a:gd name="connsiteX99" fmla="*/ 4527226 w 4527226"/>
              <a:gd name="connsiteY99" fmla="*/ 6046908 h 6046908"/>
              <a:gd name="connsiteX0" fmla="*/ 564826 w 4527226"/>
              <a:gd name="connsiteY0" fmla="*/ 5353488 h 6046908"/>
              <a:gd name="connsiteX1" fmla="*/ 602926 w 4527226"/>
              <a:gd name="connsiteY1" fmla="*/ 5223948 h 6046908"/>
              <a:gd name="connsiteX2" fmla="*/ 625786 w 4527226"/>
              <a:gd name="connsiteY2" fmla="*/ 5178228 h 6046908"/>
              <a:gd name="connsiteX3" fmla="*/ 701986 w 4527226"/>
              <a:gd name="connsiteY3" fmla="*/ 5071548 h 6046908"/>
              <a:gd name="connsiteX4" fmla="*/ 717226 w 4527226"/>
              <a:gd name="connsiteY4" fmla="*/ 5063928 h 6046908"/>
              <a:gd name="connsiteX5" fmla="*/ 709606 w 4527226"/>
              <a:gd name="connsiteY5" fmla="*/ 5025828 h 6046908"/>
              <a:gd name="connsiteX6" fmla="*/ 701986 w 4527226"/>
              <a:gd name="connsiteY6" fmla="*/ 5002968 h 6046908"/>
              <a:gd name="connsiteX7" fmla="*/ 968686 w 4527226"/>
              <a:gd name="connsiteY7" fmla="*/ 4682928 h 6046908"/>
              <a:gd name="connsiteX8" fmla="*/ 961066 w 4527226"/>
              <a:gd name="connsiteY8" fmla="*/ 4644828 h 6046908"/>
              <a:gd name="connsiteX9" fmla="*/ 1342066 w 4527226"/>
              <a:gd name="connsiteY9" fmla="*/ 4172388 h 6046908"/>
              <a:gd name="connsiteX10" fmla="*/ 1258246 w 4527226"/>
              <a:gd name="connsiteY10" fmla="*/ 4012368 h 6046908"/>
              <a:gd name="connsiteX11" fmla="*/ 1204906 w 4527226"/>
              <a:gd name="connsiteY11" fmla="*/ 3928548 h 6046908"/>
              <a:gd name="connsiteX12" fmla="*/ 1174426 w 4527226"/>
              <a:gd name="connsiteY12" fmla="*/ 3768528 h 6046908"/>
              <a:gd name="connsiteX13" fmla="*/ 1151566 w 4527226"/>
              <a:gd name="connsiteY13" fmla="*/ 3699948 h 6046908"/>
              <a:gd name="connsiteX14" fmla="*/ 1143946 w 4527226"/>
              <a:gd name="connsiteY14" fmla="*/ 3669468 h 6046908"/>
              <a:gd name="connsiteX15" fmla="*/ 1067746 w 4527226"/>
              <a:gd name="connsiteY15" fmla="*/ 3661848 h 6046908"/>
              <a:gd name="connsiteX16" fmla="*/ 938206 w 4527226"/>
              <a:gd name="connsiteY16" fmla="*/ 3669468 h 6046908"/>
              <a:gd name="connsiteX17" fmla="*/ 831526 w 4527226"/>
              <a:gd name="connsiteY17" fmla="*/ 3692328 h 6046908"/>
              <a:gd name="connsiteX18" fmla="*/ 610546 w 4527226"/>
              <a:gd name="connsiteY18" fmla="*/ 3738048 h 6046908"/>
              <a:gd name="connsiteX19" fmla="*/ 389566 w 4527226"/>
              <a:gd name="connsiteY19" fmla="*/ 3638988 h 6046908"/>
              <a:gd name="connsiteX20" fmla="*/ 381946 w 4527226"/>
              <a:gd name="connsiteY20" fmla="*/ 3326568 h 6046908"/>
              <a:gd name="connsiteX21" fmla="*/ 420046 w 4527226"/>
              <a:gd name="connsiteY21" fmla="*/ 3227508 h 6046908"/>
              <a:gd name="connsiteX22" fmla="*/ 389566 w 4527226"/>
              <a:gd name="connsiteY22" fmla="*/ 3166548 h 6046908"/>
              <a:gd name="connsiteX23" fmla="*/ 351466 w 4527226"/>
              <a:gd name="connsiteY23" fmla="*/ 3105588 h 6046908"/>
              <a:gd name="connsiteX24" fmla="*/ 397186 w 4527226"/>
              <a:gd name="connsiteY24" fmla="*/ 3021768 h 6046908"/>
              <a:gd name="connsiteX25" fmla="*/ 488626 w 4527226"/>
              <a:gd name="connsiteY25" fmla="*/ 2998908 h 6046908"/>
              <a:gd name="connsiteX26" fmla="*/ 471956 w 4527226"/>
              <a:gd name="connsiteY26" fmla="*/ 2942709 h 6046908"/>
              <a:gd name="connsiteX27" fmla="*/ 435286 w 4527226"/>
              <a:gd name="connsiteY27" fmla="*/ 2930328 h 6046908"/>
              <a:gd name="connsiteX28" fmla="*/ 389566 w 4527226"/>
              <a:gd name="connsiteY28" fmla="*/ 2930328 h 6046908"/>
              <a:gd name="connsiteX29" fmla="*/ 314000 w 4527226"/>
              <a:gd name="connsiteY29" fmla="*/ 2893495 h 6046908"/>
              <a:gd name="connsiteX30" fmla="*/ 320986 w 4527226"/>
              <a:gd name="connsiteY30" fmla="*/ 2846508 h 6046908"/>
              <a:gd name="connsiteX31" fmla="*/ 328606 w 4527226"/>
              <a:gd name="connsiteY31" fmla="*/ 2793168 h 6046908"/>
              <a:gd name="connsiteX32" fmla="*/ 313366 w 4527226"/>
              <a:gd name="connsiteY32" fmla="*/ 2732208 h 6046908"/>
              <a:gd name="connsiteX33" fmla="*/ 267646 w 4527226"/>
              <a:gd name="connsiteY33" fmla="*/ 2671248 h 6046908"/>
              <a:gd name="connsiteX34" fmla="*/ 176206 w 4527226"/>
              <a:gd name="connsiteY34" fmla="*/ 2656008 h 6046908"/>
              <a:gd name="connsiteX35" fmla="*/ 54286 w 4527226"/>
              <a:gd name="connsiteY35" fmla="*/ 2610288 h 6046908"/>
              <a:gd name="connsiteX36" fmla="*/ 7931 w 4527226"/>
              <a:gd name="connsiteY36" fmla="*/ 2563298 h 6046908"/>
              <a:gd name="connsiteX37" fmla="*/ 8566 w 4527226"/>
              <a:gd name="connsiteY37" fmla="*/ 2488368 h 6046908"/>
              <a:gd name="connsiteX38" fmla="*/ 92386 w 4527226"/>
              <a:gd name="connsiteY38" fmla="*/ 2335968 h 6046908"/>
              <a:gd name="connsiteX39" fmla="*/ 221926 w 4527226"/>
              <a:gd name="connsiteY39" fmla="*/ 2175948 h 6046908"/>
              <a:gd name="connsiteX40" fmla="*/ 282886 w 4527226"/>
              <a:gd name="connsiteY40" fmla="*/ 2084508 h 6046908"/>
              <a:gd name="connsiteX41" fmla="*/ 328606 w 4527226"/>
              <a:gd name="connsiteY41" fmla="*/ 1977828 h 6046908"/>
              <a:gd name="connsiteX42" fmla="*/ 359086 w 4527226"/>
              <a:gd name="connsiteY42" fmla="*/ 1871148 h 6046908"/>
              <a:gd name="connsiteX43" fmla="*/ 374326 w 4527226"/>
              <a:gd name="connsiteY43" fmla="*/ 1810188 h 6046908"/>
              <a:gd name="connsiteX44" fmla="*/ 343846 w 4527226"/>
              <a:gd name="connsiteY44" fmla="*/ 1756848 h 6046908"/>
              <a:gd name="connsiteX45" fmla="*/ 328606 w 4527226"/>
              <a:gd name="connsiteY45" fmla="*/ 1680648 h 6046908"/>
              <a:gd name="connsiteX46" fmla="*/ 412426 w 4527226"/>
              <a:gd name="connsiteY46" fmla="*/ 1474908 h 6046908"/>
              <a:gd name="connsiteX47" fmla="*/ 442906 w 4527226"/>
              <a:gd name="connsiteY47" fmla="*/ 1307268 h 6046908"/>
              <a:gd name="connsiteX48" fmla="*/ 465766 w 4527226"/>
              <a:gd name="connsiteY48" fmla="*/ 1192968 h 6046908"/>
              <a:gd name="connsiteX49" fmla="*/ 503866 w 4527226"/>
              <a:gd name="connsiteY49" fmla="*/ 1055808 h 6046908"/>
              <a:gd name="connsiteX50" fmla="*/ 557206 w 4527226"/>
              <a:gd name="connsiteY50" fmla="*/ 888168 h 6046908"/>
              <a:gd name="connsiteX51" fmla="*/ 503866 w 4527226"/>
              <a:gd name="connsiteY51" fmla="*/ 888168 h 6046908"/>
              <a:gd name="connsiteX52" fmla="*/ 412426 w 4527226"/>
              <a:gd name="connsiteY52" fmla="*/ 834828 h 6046908"/>
              <a:gd name="connsiteX53" fmla="*/ 328606 w 4527226"/>
              <a:gd name="connsiteY53" fmla="*/ 789108 h 6046908"/>
              <a:gd name="connsiteX54" fmla="*/ 260026 w 4527226"/>
              <a:gd name="connsiteY54" fmla="*/ 773868 h 6046908"/>
              <a:gd name="connsiteX55" fmla="*/ 214306 w 4527226"/>
              <a:gd name="connsiteY55" fmla="*/ 751008 h 6046908"/>
              <a:gd name="connsiteX56" fmla="*/ 260026 w 4527226"/>
              <a:gd name="connsiteY56" fmla="*/ 674808 h 6046908"/>
              <a:gd name="connsiteX57" fmla="*/ 374326 w 4527226"/>
              <a:gd name="connsiteY57" fmla="*/ 606228 h 6046908"/>
              <a:gd name="connsiteX58" fmla="*/ 557206 w 4527226"/>
              <a:gd name="connsiteY58" fmla="*/ 507168 h 6046908"/>
              <a:gd name="connsiteX59" fmla="*/ 656266 w 4527226"/>
              <a:gd name="connsiteY59" fmla="*/ 423348 h 6046908"/>
              <a:gd name="connsiteX60" fmla="*/ 892486 w 4527226"/>
              <a:gd name="connsiteY60" fmla="*/ 232848 h 6046908"/>
              <a:gd name="connsiteX61" fmla="*/ 1174426 w 4527226"/>
              <a:gd name="connsiteY61" fmla="*/ 80448 h 6046908"/>
              <a:gd name="connsiteX62" fmla="*/ 1593526 w 4527226"/>
              <a:gd name="connsiteY62" fmla="*/ 11868 h 6046908"/>
              <a:gd name="connsiteX63" fmla="*/ 1944046 w 4527226"/>
              <a:gd name="connsiteY63" fmla="*/ 4248 h 6046908"/>
              <a:gd name="connsiteX64" fmla="*/ 2172646 w 4527226"/>
              <a:gd name="connsiteY64" fmla="*/ 4248 h 6046908"/>
              <a:gd name="connsiteX65" fmla="*/ 2393626 w 4527226"/>
              <a:gd name="connsiteY65" fmla="*/ 57588 h 6046908"/>
              <a:gd name="connsiteX66" fmla="*/ 2667946 w 4527226"/>
              <a:gd name="connsiteY66" fmla="*/ 133788 h 6046908"/>
              <a:gd name="connsiteX67" fmla="*/ 2820346 w 4527226"/>
              <a:gd name="connsiteY67" fmla="*/ 202368 h 6046908"/>
              <a:gd name="connsiteX68" fmla="*/ 3102286 w 4527226"/>
              <a:gd name="connsiteY68" fmla="*/ 400488 h 6046908"/>
              <a:gd name="connsiteX69" fmla="*/ 3285166 w 4527226"/>
              <a:gd name="connsiteY69" fmla="*/ 651948 h 6046908"/>
              <a:gd name="connsiteX70" fmla="*/ 3407086 w 4527226"/>
              <a:gd name="connsiteY70" fmla="*/ 918648 h 6046908"/>
              <a:gd name="connsiteX71" fmla="*/ 3475666 w 4527226"/>
              <a:gd name="connsiteY71" fmla="*/ 1238688 h 6046908"/>
              <a:gd name="connsiteX72" fmla="*/ 3506146 w 4527226"/>
              <a:gd name="connsiteY72" fmla="*/ 1543488 h 6046908"/>
              <a:gd name="connsiteX73" fmla="*/ 3506146 w 4527226"/>
              <a:gd name="connsiteY73" fmla="*/ 1962588 h 6046908"/>
              <a:gd name="connsiteX74" fmla="*/ 3338506 w 4527226"/>
              <a:gd name="connsiteY74" fmla="*/ 2305488 h 6046908"/>
              <a:gd name="connsiteX75" fmla="*/ 3254686 w 4527226"/>
              <a:gd name="connsiteY75" fmla="*/ 2473128 h 6046908"/>
              <a:gd name="connsiteX76" fmla="*/ 3132766 w 4527226"/>
              <a:gd name="connsiteY76" fmla="*/ 2663628 h 6046908"/>
              <a:gd name="connsiteX77" fmla="*/ 3071806 w 4527226"/>
              <a:gd name="connsiteY77" fmla="*/ 2838888 h 6046908"/>
              <a:gd name="connsiteX78" fmla="*/ 3064186 w 4527226"/>
              <a:gd name="connsiteY78" fmla="*/ 2915088 h 6046908"/>
              <a:gd name="connsiteX79" fmla="*/ 3018466 w 4527226"/>
              <a:gd name="connsiteY79" fmla="*/ 3014148 h 6046908"/>
              <a:gd name="connsiteX80" fmla="*/ 2980366 w 4527226"/>
              <a:gd name="connsiteY80" fmla="*/ 3082728 h 6046908"/>
              <a:gd name="connsiteX81" fmla="*/ 2957506 w 4527226"/>
              <a:gd name="connsiteY81" fmla="*/ 3120828 h 6046908"/>
              <a:gd name="connsiteX82" fmla="*/ 2957506 w 4527226"/>
              <a:gd name="connsiteY82" fmla="*/ 3555168 h 6046908"/>
              <a:gd name="connsiteX83" fmla="*/ 3010846 w 4527226"/>
              <a:gd name="connsiteY83" fmla="*/ 3539928 h 6046908"/>
              <a:gd name="connsiteX84" fmla="*/ 3109906 w 4527226"/>
              <a:gd name="connsiteY84" fmla="*/ 3570408 h 6046908"/>
              <a:gd name="connsiteX85" fmla="*/ 3140386 w 4527226"/>
              <a:gd name="connsiteY85" fmla="*/ 3631368 h 6046908"/>
              <a:gd name="connsiteX86" fmla="*/ 3117526 w 4527226"/>
              <a:gd name="connsiteY86" fmla="*/ 3738048 h 6046908"/>
              <a:gd name="connsiteX87" fmla="*/ 3125146 w 4527226"/>
              <a:gd name="connsiteY87" fmla="*/ 4103808 h 6046908"/>
              <a:gd name="connsiteX88" fmla="*/ 3163246 w 4527226"/>
              <a:gd name="connsiteY88" fmla="*/ 4157148 h 6046908"/>
              <a:gd name="connsiteX89" fmla="*/ 3201346 w 4527226"/>
              <a:gd name="connsiteY89" fmla="*/ 4164768 h 6046908"/>
              <a:gd name="connsiteX90" fmla="*/ 3231826 w 4527226"/>
              <a:gd name="connsiteY90" fmla="*/ 4172388 h 6046908"/>
              <a:gd name="connsiteX91" fmla="*/ 3285166 w 4527226"/>
              <a:gd name="connsiteY91" fmla="*/ 4294308 h 6046908"/>
              <a:gd name="connsiteX92" fmla="*/ 3300406 w 4527226"/>
              <a:gd name="connsiteY92" fmla="*/ 4347648 h 6046908"/>
              <a:gd name="connsiteX93" fmla="*/ 3330886 w 4527226"/>
              <a:gd name="connsiteY93" fmla="*/ 4408608 h 6046908"/>
              <a:gd name="connsiteX94" fmla="*/ 3551866 w 4527226"/>
              <a:gd name="connsiteY94" fmla="*/ 4644828 h 6046908"/>
              <a:gd name="connsiteX95" fmla="*/ 3887146 w 4527226"/>
              <a:gd name="connsiteY95" fmla="*/ 5025828 h 6046908"/>
              <a:gd name="connsiteX96" fmla="*/ 4100506 w 4527226"/>
              <a:gd name="connsiteY96" fmla="*/ 5300148 h 6046908"/>
              <a:gd name="connsiteX97" fmla="*/ 4367206 w 4527226"/>
              <a:gd name="connsiteY97" fmla="*/ 5726868 h 6046908"/>
              <a:gd name="connsiteX98" fmla="*/ 4527226 w 4527226"/>
              <a:gd name="connsiteY98" fmla="*/ 6046908 h 6046908"/>
              <a:gd name="connsiteX0" fmla="*/ 602926 w 4527226"/>
              <a:gd name="connsiteY0" fmla="*/ 5223948 h 6046908"/>
              <a:gd name="connsiteX1" fmla="*/ 625786 w 4527226"/>
              <a:gd name="connsiteY1" fmla="*/ 5178228 h 6046908"/>
              <a:gd name="connsiteX2" fmla="*/ 701986 w 4527226"/>
              <a:gd name="connsiteY2" fmla="*/ 5071548 h 6046908"/>
              <a:gd name="connsiteX3" fmla="*/ 717226 w 4527226"/>
              <a:gd name="connsiteY3" fmla="*/ 5063928 h 6046908"/>
              <a:gd name="connsiteX4" fmla="*/ 709606 w 4527226"/>
              <a:gd name="connsiteY4" fmla="*/ 5025828 h 6046908"/>
              <a:gd name="connsiteX5" fmla="*/ 701986 w 4527226"/>
              <a:gd name="connsiteY5" fmla="*/ 5002968 h 6046908"/>
              <a:gd name="connsiteX6" fmla="*/ 968686 w 4527226"/>
              <a:gd name="connsiteY6" fmla="*/ 4682928 h 6046908"/>
              <a:gd name="connsiteX7" fmla="*/ 961066 w 4527226"/>
              <a:gd name="connsiteY7" fmla="*/ 4644828 h 6046908"/>
              <a:gd name="connsiteX8" fmla="*/ 1342066 w 4527226"/>
              <a:gd name="connsiteY8" fmla="*/ 4172388 h 6046908"/>
              <a:gd name="connsiteX9" fmla="*/ 1258246 w 4527226"/>
              <a:gd name="connsiteY9" fmla="*/ 4012368 h 6046908"/>
              <a:gd name="connsiteX10" fmla="*/ 1204906 w 4527226"/>
              <a:gd name="connsiteY10" fmla="*/ 3928548 h 6046908"/>
              <a:gd name="connsiteX11" fmla="*/ 1174426 w 4527226"/>
              <a:gd name="connsiteY11" fmla="*/ 3768528 h 6046908"/>
              <a:gd name="connsiteX12" fmla="*/ 1151566 w 4527226"/>
              <a:gd name="connsiteY12" fmla="*/ 3699948 h 6046908"/>
              <a:gd name="connsiteX13" fmla="*/ 1143946 w 4527226"/>
              <a:gd name="connsiteY13" fmla="*/ 3669468 h 6046908"/>
              <a:gd name="connsiteX14" fmla="*/ 1067746 w 4527226"/>
              <a:gd name="connsiteY14" fmla="*/ 3661848 h 6046908"/>
              <a:gd name="connsiteX15" fmla="*/ 938206 w 4527226"/>
              <a:gd name="connsiteY15" fmla="*/ 3669468 h 6046908"/>
              <a:gd name="connsiteX16" fmla="*/ 831526 w 4527226"/>
              <a:gd name="connsiteY16" fmla="*/ 3692328 h 6046908"/>
              <a:gd name="connsiteX17" fmla="*/ 610546 w 4527226"/>
              <a:gd name="connsiteY17" fmla="*/ 3738048 h 6046908"/>
              <a:gd name="connsiteX18" fmla="*/ 389566 w 4527226"/>
              <a:gd name="connsiteY18" fmla="*/ 3638988 h 6046908"/>
              <a:gd name="connsiteX19" fmla="*/ 381946 w 4527226"/>
              <a:gd name="connsiteY19" fmla="*/ 3326568 h 6046908"/>
              <a:gd name="connsiteX20" fmla="*/ 420046 w 4527226"/>
              <a:gd name="connsiteY20" fmla="*/ 3227508 h 6046908"/>
              <a:gd name="connsiteX21" fmla="*/ 389566 w 4527226"/>
              <a:gd name="connsiteY21" fmla="*/ 3166548 h 6046908"/>
              <a:gd name="connsiteX22" fmla="*/ 351466 w 4527226"/>
              <a:gd name="connsiteY22" fmla="*/ 3105588 h 6046908"/>
              <a:gd name="connsiteX23" fmla="*/ 397186 w 4527226"/>
              <a:gd name="connsiteY23" fmla="*/ 3021768 h 6046908"/>
              <a:gd name="connsiteX24" fmla="*/ 488626 w 4527226"/>
              <a:gd name="connsiteY24" fmla="*/ 2998908 h 6046908"/>
              <a:gd name="connsiteX25" fmla="*/ 471956 w 4527226"/>
              <a:gd name="connsiteY25" fmla="*/ 2942709 h 6046908"/>
              <a:gd name="connsiteX26" fmla="*/ 435286 w 4527226"/>
              <a:gd name="connsiteY26" fmla="*/ 2930328 h 6046908"/>
              <a:gd name="connsiteX27" fmla="*/ 389566 w 4527226"/>
              <a:gd name="connsiteY27" fmla="*/ 2930328 h 6046908"/>
              <a:gd name="connsiteX28" fmla="*/ 314000 w 4527226"/>
              <a:gd name="connsiteY28" fmla="*/ 2893495 h 6046908"/>
              <a:gd name="connsiteX29" fmla="*/ 320986 w 4527226"/>
              <a:gd name="connsiteY29" fmla="*/ 2846508 h 6046908"/>
              <a:gd name="connsiteX30" fmla="*/ 328606 w 4527226"/>
              <a:gd name="connsiteY30" fmla="*/ 2793168 h 6046908"/>
              <a:gd name="connsiteX31" fmla="*/ 313366 w 4527226"/>
              <a:gd name="connsiteY31" fmla="*/ 2732208 h 6046908"/>
              <a:gd name="connsiteX32" fmla="*/ 267646 w 4527226"/>
              <a:gd name="connsiteY32" fmla="*/ 2671248 h 6046908"/>
              <a:gd name="connsiteX33" fmla="*/ 176206 w 4527226"/>
              <a:gd name="connsiteY33" fmla="*/ 2656008 h 6046908"/>
              <a:gd name="connsiteX34" fmla="*/ 54286 w 4527226"/>
              <a:gd name="connsiteY34" fmla="*/ 2610288 h 6046908"/>
              <a:gd name="connsiteX35" fmla="*/ 7931 w 4527226"/>
              <a:gd name="connsiteY35" fmla="*/ 2563298 h 6046908"/>
              <a:gd name="connsiteX36" fmla="*/ 8566 w 4527226"/>
              <a:gd name="connsiteY36" fmla="*/ 2488368 h 6046908"/>
              <a:gd name="connsiteX37" fmla="*/ 92386 w 4527226"/>
              <a:gd name="connsiteY37" fmla="*/ 2335968 h 6046908"/>
              <a:gd name="connsiteX38" fmla="*/ 221926 w 4527226"/>
              <a:gd name="connsiteY38" fmla="*/ 2175948 h 6046908"/>
              <a:gd name="connsiteX39" fmla="*/ 282886 w 4527226"/>
              <a:gd name="connsiteY39" fmla="*/ 2084508 h 6046908"/>
              <a:gd name="connsiteX40" fmla="*/ 328606 w 4527226"/>
              <a:gd name="connsiteY40" fmla="*/ 1977828 h 6046908"/>
              <a:gd name="connsiteX41" fmla="*/ 359086 w 4527226"/>
              <a:gd name="connsiteY41" fmla="*/ 1871148 h 6046908"/>
              <a:gd name="connsiteX42" fmla="*/ 374326 w 4527226"/>
              <a:gd name="connsiteY42" fmla="*/ 1810188 h 6046908"/>
              <a:gd name="connsiteX43" fmla="*/ 343846 w 4527226"/>
              <a:gd name="connsiteY43" fmla="*/ 1756848 h 6046908"/>
              <a:gd name="connsiteX44" fmla="*/ 328606 w 4527226"/>
              <a:gd name="connsiteY44" fmla="*/ 1680648 h 6046908"/>
              <a:gd name="connsiteX45" fmla="*/ 412426 w 4527226"/>
              <a:gd name="connsiteY45" fmla="*/ 1474908 h 6046908"/>
              <a:gd name="connsiteX46" fmla="*/ 442906 w 4527226"/>
              <a:gd name="connsiteY46" fmla="*/ 1307268 h 6046908"/>
              <a:gd name="connsiteX47" fmla="*/ 465766 w 4527226"/>
              <a:gd name="connsiteY47" fmla="*/ 1192968 h 6046908"/>
              <a:gd name="connsiteX48" fmla="*/ 503866 w 4527226"/>
              <a:gd name="connsiteY48" fmla="*/ 1055808 h 6046908"/>
              <a:gd name="connsiteX49" fmla="*/ 557206 w 4527226"/>
              <a:gd name="connsiteY49" fmla="*/ 888168 h 6046908"/>
              <a:gd name="connsiteX50" fmla="*/ 503866 w 4527226"/>
              <a:gd name="connsiteY50" fmla="*/ 888168 h 6046908"/>
              <a:gd name="connsiteX51" fmla="*/ 412426 w 4527226"/>
              <a:gd name="connsiteY51" fmla="*/ 834828 h 6046908"/>
              <a:gd name="connsiteX52" fmla="*/ 328606 w 4527226"/>
              <a:gd name="connsiteY52" fmla="*/ 789108 h 6046908"/>
              <a:gd name="connsiteX53" fmla="*/ 260026 w 4527226"/>
              <a:gd name="connsiteY53" fmla="*/ 773868 h 6046908"/>
              <a:gd name="connsiteX54" fmla="*/ 214306 w 4527226"/>
              <a:gd name="connsiteY54" fmla="*/ 751008 h 6046908"/>
              <a:gd name="connsiteX55" fmla="*/ 260026 w 4527226"/>
              <a:gd name="connsiteY55" fmla="*/ 674808 h 6046908"/>
              <a:gd name="connsiteX56" fmla="*/ 374326 w 4527226"/>
              <a:gd name="connsiteY56" fmla="*/ 606228 h 6046908"/>
              <a:gd name="connsiteX57" fmla="*/ 557206 w 4527226"/>
              <a:gd name="connsiteY57" fmla="*/ 507168 h 6046908"/>
              <a:gd name="connsiteX58" fmla="*/ 656266 w 4527226"/>
              <a:gd name="connsiteY58" fmla="*/ 423348 h 6046908"/>
              <a:gd name="connsiteX59" fmla="*/ 892486 w 4527226"/>
              <a:gd name="connsiteY59" fmla="*/ 232848 h 6046908"/>
              <a:gd name="connsiteX60" fmla="*/ 1174426 w 4527226"/>
              <a:gd name="connsiteY60" fmla="*/ 80448 h 6046908"/>
              <a:gd name="connsiteX61" fmla="*/ 1593526 w 4527226"/>
              <a:gd name="connsiteY61" fmla="*/ 11868 h 6046908"/>
              <a:gd name="connsiteX62" fmla="*/ 1944046 w 4527226"/>
              <a:gd name="connsiteY62" fmla="*/ 4248 h 6046908"/>
              <a:gd name="connsiteX63" fmla="*/ 2172646 w 4527226"/>
              <a:gd name="connsiteY63" fmla="*/ 4248 h 6046908"/>
              <a:gd name="connsiteX64" fmla="*/ 2393626 w 4527226"/>
              <a:gd name="connsiteY64" fmla="*/ 57588 h 6046908"/>
              <a:gd name="connsiteX65" fmla="*/ 2667946 w 4527226"/>
              <a:gd name="connsiteY65" fmla="*/ 133788 h 6046908"/>
              <a:gd name="connsiteX66" fmla="*/ 2820346 w 4527226"/>
              <a:gd name="connsiteY66" fmla="*/ 202368 h 6046908"/>
              <a:gd name="connsiteX67" fmla="*/ 3102286 w 4527226"/>
              <a:gd name="connsiteY67" fmla="*/ 400488 h 6046908"/>
              <a:gd name="connsiteX68" fmla="*/ 3285166 w 4527226"/>
              <a:gd name="connsiteY68" fmla="*/ 651948 h 6046908"/>
              <a:gd name="connsiteX69" fmla="*/ 3407086 w 4527226"/>
              <a:gd name="connsiteY69" fmla="*/ 918648 h 6046908"/>
              <a:gd name="connsiteX70" fmla="*/ 3475666 w 4527226"/>
              <a:gd name="connsiteY70" fmla="*/ 1238688 h 6046908"/>
              <a:gd name="connsiteX71" fmla="*/ 3506146 w 4527226"/>
              <a:gd name="connsiteY71" fmla="*/ 1543488 h 6046908"/>
              <a:gd name="connsiteX72" fmla="*/ 3506146 w 4527226"/>
              <a:gd name="connsiteY72" fmla="*/ 1962588 h 6046908"/>
              <a:gd name="connsiteX73" fmla="*/ 3338506 w 4527226"/>
              <a:gd name="connsiteY73" fmla="*/ 2305488 h 6046908"/>
              <a:gd name="connsiteX74" fmla="*/ 3254686 w 4527226"/>
              <a:gd name="connsiteY74" fmla="*/ 2473128 h 6046908"/>
              <a:gd name="connsiteX75" fmla="*/ 3132766 w 4527226"/>
              <a:gd name="connsiteY75" fmla="*/ 2663628 h 6046908"/>
              <a:gd name="connsiteX76" fmla="*/ 3071806 w 4527226"/>
              <a:gd name="connsiteY76" fmla="*/ 2838888 h 6046908"/>
              <a:gd name="connsiteX77" fmla="*/ 3064186 w 4527226"/>
              <a:gd name="connsiteY77" fmla="*/ 2915088 h 6046908"/>
              <a:gd name="connsiteX78" fmla="*/ 3018466 w 4527226"/>
              <a:gd name="connsiteY78" fmla="*/ 3014148 h 6046908"/>
              <a:gd name="connsiteX79" fmla="*/ 2980366 w 4527226"/>
              <a:gd name="connsiteY79" fmla="*/ 3082728 h 6046908"/>
              <a:gd name="connsiteX80" fmla="*/ 2957506 w 4527226"/>
              <a:gd name="connsiteY80" fmla="*/ 3120828 h 6046908"/>
              <a:gd name="connsiteX81" fmla="*/ 2957506 w 4527226"/>
              <a:gd name="connsiteY81" fmla="*/ 3555168 h 6046908"/>
              <a:gd name="connsiteX82" fmla="*/ 3010846 w 4527226"/>
              <a:gd name="connsiteY82" fmla="*/ 3539928 h 6046908"/>
              <a:gd name="connsiteX83" fmla="*/ 3109906 w 4527226"/>
              <a:gd name="connsiteY83" fmla="*/ 3570408 h 6046908"/>
              <a:gd name="connsiteX84" fmla="*/ 3140386 w 4527226"/>
              <a:gd name="connsiteY84" fmla="*/ 3631368 h 6046908"/>
              <a:gd name="connsiteX85" fmla="*/ 3117526 w 4527226"/>
              <a:gd name="connsiteY85" fmla="*/ 3738048 h 6046908"/>
              <a:gd name="connsiteX86" fmla="*/ 3125146 w 4527226"/>
              <a:gd name="connsiteY86" fmla="*/ 4103808 h 6046908"/>
              <a:gd name="connsiteX87" fmla="*/ 3163246 w 4527226"/>
              <a:gd name="connsiteY87" fmla="*/ 4157148 h 6046908"/>
              <a:gd name="connsiteX88" fmla="*/ 3201346 w 4527226"/>
              <a:gd name="connsiteY88" fmla="*/ 4164768 h 6046908"/>
              <a:gd name="connsiteX89" fmla="*/ 3231826 w 4527226"/>
              <a:gd name="connsiteY89" fmla="*/ 4172388 h 6046908"/>
              <a:gd name="connsiteX90" fmla="*/ 3285166 w 4527226"/>
              <a:gd name="connsiteY90" fmla="*/ 4294308 h 6046908"/>
              <a:gd name="connsiteX91" fmla="*/ 3300406 w 4527226"/>
              <a:gd name="connsiteY91" fmla="*/ 4347648 h 6046908"/>
              <a:gd name="connsiteX92" fmla="*/ 3330886 w 4527226"/>
              <a:gd name="connsiteY92" fmla="*/ 4408608 h 6046908"/>
              <a:gd name="connsiteX93" fmla="*/ 3551866 w 4527226"/>
              <a:gd name="connsiteY93" fmla="*/ 4644828 h 6046908"/>
              <a:gd name="connsiteX94" fmla="*/ 3887146 w 4527226"/>
              <a:gd name="connsiteY94" fmla="*/ 5025828 h 6046908"/>
              <a:gd name="connsiteX95" fmla="*/ 4100506 w 4527226"/>
              <a:gd name="connsiteY95" fmla="*/ 5300148 h 6046908"/>
              <a:gd name="connsiteX96" fmla="*/ 4367206 w 4527226"/>
              <a:gd name="connsiteY96" fmla="*/ 5726868 h 6046908"/>
              <a:gd name="connsiteX97" fmla="*/ 4527226 w 4527226"/>
              <a:gd name="connsiteY97" fmla="*/ 6046908 h 6046908"/>
              <a:gd name="connsiteX0" fmla="*/ 625786 w 4527226"/>
              <a:gd name="connsiteY0" fmla="*/ 5178228 h 6046908"/>
              <a:gd name="connsiteX1" fmla="*/ 701986 w 4527226"/>
              <a:gd name="connsiteY1" fmla="*/ 5071548 h 6046908"/>
              <a:gd name="connsiteX2" fmla="*/ 717226 w 4527226"/>
              <a:gd name="connsiteY2" fmla="*/ 5063928 h 6046908"/>
              <a:gd name="connsiteX3" fmla="*/ 709606 w 4527226"/>
              <a:gd name="connsiteY3" fmla="*/ 5025828 h 6046908"/>
              <a:gd name="connsiteX4" fmla="*/ 701986 w 4527226"/>
              <a:gd name="connsiteY4" fmla="*/ 5002968 h 6046908"/>
              <a:gd name="connsiteX5" fmla="*/ 968686 w 4527226"/>
              <a:gd name="connsiteY5" fmla="*/ 4682928 h 6046908"/>
              <a:gd name="connsiteX6" fmla="*/ 961066 w 4527226"/>
              <a:gd name="connsiteY6" fmla="*/ 4644828 h 6046908"/>
              <a:gd name="connsiteX7" fmla="*/ 1342066 w 4527226"/>
              <a:gd name="connsiteY7" fmla="*/ 4172388 h 6046908"/>
              <a:gd name="connsiteX8" fmla="*/ 1258246 w 4527226"/>
              <a:gd name="connsiteY8" fmla="*/ 4012368 h 6046908"/>
              <a:gd name="connsiteX9" fmla="*/ 1204906 w 4527226"/>
              <a:gd name="connsiteY9" fmla="*/ 3928548 h 6046908"/>
              <a:gd name="connsiteX10" fmla="*/ 1174426 w 4527226"/>
              <a:gd name="connsiteY10" fmla="*/ 3768528 h 6046908"/>
              <a:gd name="connsiteX11" fmla="*/ 1151566 w 4527226"/>
              <a:gd name="connsiteY11" fmla="*/ 3699948 h 6046908"/>
              <a:gd name="connsiteX12" fmla="*/ 1143946 w 4527226"/>
              <a:gd name="connsiteY12" fmla="*/ 3669468 h 6046908"/>
              <a:gd name="connsiteX13" fmla="*/ 1067746 w 4527226"/>
              <a:gd name="connsiteY13" fmla="*/ 3661848 h 6046908"/>
              <a:gd name="connsiteX14" fmla="*/ 938206 w 4527226"/>
              <a:gd name="connsiteY14" fmla="*/ 3669468 h 6046908"/>
              <a:gd name="connsiteX15" fmla="*/ 831526 w 4527226"/>
              <a:gd name="connsiteY15" fmla="*/ 3692328 h 6046908"/>
              <a:gd name="connsiteX16" fmla="*/ 610546 w 4527226"/>
              <a:gd name="connsiteY16" fmla="*/ 3738048 h 6046908"/>
              <a:gd name="connsiteX17" fmla="*/ 389566 w 4527226"/>
              <a:gd name="connsiteY17" fmla="*/ 3638988 h 6046908"/>
              <a:gd name="connsiteX18" fmla="*/ 381946 w 4527226"/>
              <a:gd name="connsiteY18" fmla="*/ 3326568 h 6046908"/>
              <a:gd name="connsiteX19" fmla="*/ 420046 w 4527226"/>
              <a:gd name="connsiteY19" fmla="*/ 3227508 h 6046908"/>
              <a:gd name="connsiteX20" fmla="*/ 389566 w 4527226"/>
              <a:gd name="connsiteY20" fmla="*/ 3166548 h 6046908"/>
              <a:gd name="connsiteX21" fmla="*/ 351466 w 4527226"/>
              <a:gd name="connsiteY21" fmla="*/ 3105588 h 6046908"/>
              <a:gd name="connsiteX22" fmla="*/ 397186 w 4527226"/>
              <a:gd name="connsiteY22" fmla="*/ 3021768 h 6046908"/>
              <a:gd name="connsiteX23" fmla="*/ 488626 w 4527226"/>
              <a:gd name="connsiteY23" fmla="*/ 2998908 h 6046908"/>
              <a:gd name="connsiteX24" fmla="*/ 471956 w 4527226"/>
              <a:gd name="connsiteY24" fmla="*/ 2942709 h 6046908"/>
              <a:gd name="connsiteX25" fmla="*/ 435286 w 4527226"/>
              <a:gd name="connsiteY25" fmla="*/ 2930328 h 6046908"/>
              <a:gd name="connsiteX26" fmla="*/ 389566 w 4527226"/>
              <a:gd name="connsiteY26" fmla="*/ 2930328 h 6046908"/>
              <a:gd name="connsiteX27" fmla="*/ 314000 w 4527226"/>
              <a:gd name="connsiteY27" fmla="*/ 2893495 h 6046908"/>
              <a:gd name="connsiteX28" fmla="*/ 320986 w 4527226"/>
              <a:gd name="connsiteY28" fmla="*/ 2846508 h 6046908"/>
              <a:gd name="connsiteX29" fmla="*/ 328606 w 4527226"/>
              <a:gd name="connsiteY29" fmla="*/ 2793168 h 6046908"/>
              <a:gd name="connsiteX30" fmla="*/ 313366 w 4527226"/>
              <a:gd name="connsiteY30" fmla="*/ 2732208 h 6046908"/>
              <a:gd name="connsiteX31" fmla="*/ 267646 w 4527226"/>
              <a:gd name="connsiteY31" fmla="*/ 2671248 h 6046908"/>
              <a:gd name="connsiteX32" fmla="*/ 176206 w 4527226"/>
              <a:gd name="connsiteY32" fmla="*/ 2656008 h 6046908"/>
              <a:gd name="connsiteX33" fmla="*/ 54286 w 4527226"/>
              <a:gd name="connsiteY33" fmla="*/ 2610288 h 6046908"/>
              <a:gd name="connsiteX34" fmla="*/ 7931 w 4527226"/>
              <a:gd name="connsiteY34" fmla="*/ 2563298 h 6046908"/>
              <a:gd name="connsiteX35" fmla="*/ 8566 w 4527226"/>
              <a:gd name="connsiteY35" fmla="*/ 2488368 h 6046908"/>
              <a:gd name="connsiteX36" fmla="*/ 92386 w 4527226"/>
              <a:gd name="connsiteY36" fmla="*/ 2335968 h 6046908"/>
              <a:gd name="connsiteX37" fmla="*/ 221926 w 4527226"/>
              <a:gd name="connsiteY37" fmla="*/ 2175948 h 6046908"/>
              <a:gd name="connsiteX38" fmla="*/ 282886 w 4527226"/>
              <a:gd name="connsiteY38" fmla="*/ 2084508 h 6046908"/>
              <a:gd name="connsiteX39" fmla="*/ 328606 w 4527226"/>
              <a:gd name="connsiteY39" fmla="*/ 1977828 h 6046908"/>
              <a:gd name="connsiteX40" fmla="*/ 359086 w 4527226"/>
              <a:gd name="connsiteY40" fmla="*/ 1871148 h 6046908"/>
              <a:gd name="connsiteX41" fmla="*/ 374326 w 4527226"/>
              <a:gd name="connsiteY41" fmla="*/ 1810188 h 6046908"/>
              <a:gd name="connsiteX42" fmla="*/ 343846 w 4527226"/>
              <a:gd name="connsiteY42" fmla="*/ 1756848 h 6046908"/>
              <a:gd name="connsiteX43" fmla="*/ 328606 w 4527226"/>
              <a:gd name="connsiteY43" fmla="*/ 1680648 h 6046908"/>
              <a:gd name="connsiteX44" fmla="*/ 412426 w 4527226"/>
              <a:gd name="connsiteY44" fmla="*/ 1474908 h 6046908"/>
              <a:gd name="connsiteX45" fmla="*/ 442906 w 4527226"/>
              <a:gd name="connsiteY45" fmla="*/ 1307268 h 6046908"/>
              <a:gd name="connsiteX46" fmla="*/ 465766 w 4527226"/>
              <a:gd name="connsiteY46" fmla="*/ 1192968 h 6046908"/>
              <a:gd name="connsiteX47" fmla="*/ 503866 w 4527226"/>
              <a:gd name="connsiteY47" fmla="*/ 1055808 h 6046908"/>
              <a:gd name="connsiteX48" fmla="*/ 557206 w 4527226"/>
              <a:gd name="connsiteY48" fmla="*/ 888168 h 6046908"/>
              <a:gd name="connsiteX49" fmla="*/ 503866 w 4527226"/>
              <a:gd name="connsiteY49" fmla="*/ 888168 h 6046908"/>
              <a:gd name="connsiteX50" fmla="*/ 412426 w 4527226"/>
              <a:gd name="connsiteY50" fmla="*/ 834828 h 6046908"/>
              <a:gd name="connsiteX51" fmla="*/ 328606 w 4527226"/>
              <a:gd name="connsiteY51" fmla="*/ 789108 h 6046908"/>
              <a:gd name="connsiteX52" fmla="*/ 260026 w 4527226"/>
              <a:gd name="connsiteY52" fmla="*/ 773868 h 6046908"/>
              <a:gd name="connsiteX53" fmla="*/ 214306 w 4527226"/>
              <a:gd name="connsiteY53" fmla="*/ 751008 h 6046908"/>
              <a:gd name="connsiteX54" fmla="*/ 260026 w 4527226"/>
              <a:gd name="connsiteY54" fmla="*/ 674808 h 6046908"/>
              <a:gd name="connsiteX55" fmla="*/ 374326 w 4527226"/>
              <a:gd name="connsiteY55" fmla="*/ 606228 h 6046908"/>
              <a:gd name="connsiteX56" fmla="*/ 557206 w 4527226"/>
              <a:gd name="connsiteY56" fmla="*/ 507168 h 6046908"/>
              <a:gd name="connsiteX57" fmla="*/ 656266 w 4527226"/>
              <a:gd name="connsiteY57" fmla="*/ 423348 h 6046908"/>
              <a:gd name="connsiteX58" fmla="*/ 892486 w 4527226"/>
              <a:gd name="connsiteY58" fmla="*/ 232848 h 6046908"/>
              <a:gd name="connsiteX59" fmla="*/ 1174426 w 4527226"/>
              <a:gd name="connsiteY59" fmla="*/ 80448 h 6046908"/>
              <a:gd name="connsiteX60" fmla="*/ 1593526 w 4527226"/>
              <a:gd name="connsiteY60" fmla="*/ 11868 h 6046908"/>
              <a:gd name="connsiteX61" fmla="*/ 1944046 w 4527226"/>
              <a:gd name="connsiteY61" fmla="*/ 4248 h 6046908"/>
              <a:gd name="connsiteX62" fmla="*/ 2172646 w 4527226"/>
              <a:gd name="connsiteY62" fmla="*/ 4248 h 6046908"/>
              <a:gd name="connsiteX63" fmla="*/ 2393626 w 4527226"/>
              <a:gd name="connsiteY63" fmla="*/ 57588 h 6046908"/>
              <a:gd name="connsiteX64" fmla="*/ 2667946 w 4527226"/>
              <a:gd name="connsiteY64" fmla="*/ 133788 h 6046908"/>
              <a:gd name="connsiteX65" fmla="*/ 2820346 w 4527226"/>
              <a:gd name="connsiteY65" fmla="*/ 202368 h 6046908"/>
              <a:gd name="connsiteX66" fmla="*/ 3102286 w 4527226"/>
              <a:gd name="connsiteY66" fmla="*/ 400488 h 6046908"/>
              <a:gd name="connsiteX67" fmla="*/ 3285166 w 4527226"/>
              <a:gd name="connsiteY67" fmla="*/ 651948 h 6046908"/>
              <a:gd name="connsiteX68" fmla="*/ 3407086 w 4527226"/>
              <a:gd name="connsiteY68" fmla="*/ 918648 h 6046908"/>
              <a:gd name="connsiteX69" fmla="*/ 3475666 w 4527226"/>
              <a:gd name="connsiteY69" fmla="*/ 1238688 h 6046908"/>
              <a:gd name="connsiteX70" fmla="*/ 3506146 w 4527226"/>
              <a:gd name="connsiteY70" fmla="*/ 1543488 h 6046908"/>
              <a:gd name="connsiteX71" fmla="*/ 3506146 w 4527226"/>
              <a:gd name="connsiteY71" fmla="*/ 1962588 h 6046908"/>
              <a:gd name="connsiteX72" fmla="*/ 3338506 w 4527226"/>
              <a:gd name="connsiteY72" fmla="*/ 2305488 h 6046908"/>
              <a:gd name="connsiteX73" fmla="*/ 3254686 w 4527226"/>
              <a:gd name="connsiteY73" fmla="*/ 2473128 h 6046908"/>
              <a:gd name="connsiteX74" fmla="*/ 3132766 w 4527226"/>
              <a:gd name="connsiteY74" fmla="*/ 2663628 h 6046908"/>
              <a:gd name="connsiteX75" fmla="*/ 3071806 w 4527226"/>
              <a:gd name="connsiteY75" fmla="*/ 2838888 h 6046908"/>
              <a:gd name="connsiteX76" fmla="*/ 3064186 w 4527226"/>
              <a:gd name="connsiteY76" fmla="*/ 2915088 h 6046908"/>
              <a:gd name="connsiteX77" fmla="*/ 3018466 w 4527226"/>
              <a:gd name="connsiteY77" fmla="*/ 3014148 h 6046908"/>
              <a:gd name="connsiteX78" fmla="*/ 2980366 w 4527226"/>
              <a:gd name="connsiteY78" fmla="*/ 3082728 h 6046908"/>
              <a:gd name="connsiteX79" fmla="*/ 2957506 w 4527226"/>
              <a:gd name="connsiteY79" fmla="*/ 3120828 h 6046908"/>
              <a:gd name="connsiteX80" fmla="*/ 2957506 w 4527226"/>
              <a:gd name="connsiteY80" fmla="*/ 3555168 h 6046908"/>
              <a:gd name="connsiteX81" fmla="*/ 3010846 w 4527226"/>
              <a:gd name="connsiteY81" fmla="*/ 3539928 h 6046908"/>
              <a:gd name="connsiteX82" fmla="*/ 3109906 w 4527226"/>
              <a:gd name="connsiteY82" fmla="*/ 3570408 h 6046908"/>
              <a:gd name="connsiteX83" fmla="*/ 3140386 w 4527226"/>
              <a:gd name="connsiteY83" fmla="*/ 3631368 h 6046908"/>
              <a:gd name="connsiteX84" fmla="*/ 3117526 w 4527226"/>
              <a:gd name="connsiteY84" fmla="*/ 3738048 h 6046908"/>
              <a:gd name="connsiteX85" fmla="*/ 3125146 w 4527226"/>
              <a:gd name="connsiteY85" fmla="*/ 4103808 h 6046908"/>
              <a:gd name="connsiteX86" fmla="*/ 3163246 w 4527226"/>
              <a:gd name="connsiteY86" fmla="*/ 4157148 h 6046908"/>
              <a:gd name="connsiteX87" fmla="*/ 3201346 w 4527226"/>
              <a:gd name="connsiteY87" fmla="*/ 4164768 h 6046908"/>
              <a:gd name="connsiteX88" fmla="*/ 3231826 w 4527226"/>
              <a:gd name="connsiteY88" fmla="*/ 4172388 h 6046908"/>
              <a:gd name="connsiteX89" fmla="*/ 3285166 w 4527226"/>
              <a:gd name="connsiteY89" fmla="*/ 4294308 h 6046908"/>
              <a:gd name="connsiteX90" fmla="*/ 3300406 w 4527226"/>
              <a:gd name="connsiteY90" fmla="*/ 4347648 h 6046908"/>
              <a:gd name="connsiteX91" fmla="*/ 3330886 w 4527226"/>
              <a:gd name="connsiteY91" fmla="*/ 4408608 h 6046908"/>
              <a:gd name="connsiteX92" fmla="*/ 3551866 w 4527226"/>
              <a:gd name="connsiteY92" fmla="*/ 4644828 h 6046908"/>
              <a:gd name="connsiteX93" fmla="*/ 3887146 w 4527226"/>
              <a:gd name="connsiteY93" fmla="*/ 5025828 h 6046908"/>
              <a:gd name="connsiteX94" fmla="*/ 4100506 w 4527226"/>
              <a:gd name="connsiteY94" fmla="*/ 5300148 h 6046908"/>
              <a:gd name="connsiteX95" fmla="*/ 4367206 w 4527226"/>
              <a:gd name="connsiteY95" fmla="*/ 5726868 h 6046908"/>
              <a:gd name="connsiteX96" fmla="*/ 4527226 w 4527226"/>
              <a:gd name="connsiteY96" fmla="*/ 6046908 h 6046908"/>
              <a:gd name="connsiteX0" fmla="*/ 701986 w 4527226"/>
              <a:gd name="connsiteY0" fmla="*/ 5071548 h 6046908"/>
              <a:gd name="connsiteX1" fmla="*/ 717226 w 4527226"/>
              <a:gd name="connsiteY1" fmla="*/ 5063928 h 6046908"/>
              <a:gd name="connsiteX2" fmla="*/ 709606 w 4527226"/>
              <a:gd name="connsiteY2" fmla="*/ 5025828 h 6046908"/>
              <a:gd name="connsiteX3" fmla="*/ 701986 w 4527226"/>
              <a:gd name="connsiteY3" fmla="*/ 5002968 h 6046908"/>
              <a:gd name="connsiteX4" fmla="*/ 968686 w 4527226"/>
              <a:gd name="connsiteY4" fmla="*/ 4682928 h 6046908"/>
              <a:gd name="connsiteX5" fmla="*/ 961066 w 4527226"/>
              <a:gd name="connsiteY5" fmla="*/ 4644828 h 6046908"/>
              <a:gd name="connsiteX6" fmla="*/ 1342066 w 4527226"/>
              <a:gd name="connsiteY6" fmla="*/ 4172388 h 6046908"/>
              <a:gd name="connsiteX7" fmla="*/ 1258246 w 4527226"/>
              <a:gd name="connsiteY7" fmla="*/ 4012368 h 6046908"/>
              <a:gd name="connsiteX8" fmla="*/ 1204906 w 4527226"/>
              <a:gd name="connsiteY8" fmla="*/ 3928548 h 6046908"/>
              <a:gd name="connsiteX9" fmla="*/ 1174426 w 4527226"/>
              <a:gd name="connsiteY9" fmla="*/ 3768528 h 6046908"/>
              <a:gd name="connsiteX10" fmla="*/ 1151566 w 4527226"/>
              <a:gd name="connsiteY10" fmla="*/ 3699948 h 6046908"/>
              <a:gd name="connsiteX11" fmla="*/ 1143946 w 4527226"/>
              <a:gd name="connsiteY11" fmla="*/ 3669468 h 6046908"/>
              <a:gd name="connsiteX12" fmla="*/ 1067746 w 4527226"/>
              <a:gd name="connsiteY12" fmla="*/ 3661848 h 6046908"/>
              <a:gd name="connsiteX13" fmla="*/ 938206 w 4527226"/>
              <a:gd name="connsiteY13" fmla="*/ 3669468 h 6046908"/>
              <a:gd name="connsiteX14" fmla="*/ 831526 w 4527226"/>
              <a:gd name="connsiteY14" fmla="*/ 3692328 h 6046908"/>
              <a:gd name="connsiteX15" fmla="*/ 610546 w 4527226"/>
              <a:gd name="connsiteY15" fmla="*/ 3738048 h 6046908"/>
              <a:gd name="connsiteX16" fmla="*/ 389566 w 4527226"/>
              <a:gd name="connsiteY16" fmla="*/ 3638988 h 6046908"/>
              <a:gd name="connsiteX17" fmla="*/ 381946 w 4527226"/>
              <a:gd name="connsiteY17" fmla="*/ 3326568 h 6046908"/>
              <a:gd name="connsiteX18" fmla="*/ 420046 w 4527226"/>
              <a:gd name="connsiteY18" fmla="*/ 3227508 h 6046908"/>
              <a:gd name="connsiteX19" fmla="*/ 389566 w 4527226"/>
              <a:gd name="connsiteY19" fmla="*/ 3166548 h 6046908"/>
              <a:gd name="connsiteX20" fmla="*/ 351466 w 4527226"/>
              <a:gd name="connsiteY20" fmla="*/ 3105588 h 6046908"/>
              <a:gd name="connsiteX21" fmla="*/ 397186 w 4527226"/>
              <a:gd name="connsiteY21" fmla="*/ 3021768 h 6046908"/>
              <a:gd name="connsiteX22" fmla="*/ 488626 w 4527226"/>
              <a:gd name="connsiteY22" fmla="*/ 2998908 h 6046908"/>
              <a:gd name="connsiteX23" fmla="*/ 471956 w 4527226"/>
              <a:gd name="connsiteY23" fmla="*/ 2942709 h 6046908"/>
              <a:gd name="connsiteX24" fmla="*/ 435286 w 4527226"/>
              <a:gd name="connsiteY24" fmla="*/ 2930328 h 6046908"/>
              <a:gd name="connsiteX25" fmla="*/ 389566 w 4527226"/>
              <a:gd name="connsiteY25" fmla="*/ 2930328 h 6046908"/>
              <a:gd name="connsiteX26" fmla="*/ 314000 w 4527226"/>
              <a:gd name="connsiteY26" fmla="*/ 2893495 h 6046908"/>
              <a:gd name="connsiteX27" fmla="*/ 320986 w 4527226"/>
              <a:gd name="connsiteY27" fmla="*/ 2846508 h 6046908"/>
              <a:gd name="connsiteX28" fmla="*/ 328606 w 4527226"/>
              <a:gd name="connsiteY28" fmla="*/ 2793168 h 6046908"/>
              <a:gd name="connsiteX29" fmla="*/ 313366 w 4527226"/>
              <a:gd name="connsiteY29" fmla="*/ 2732208 h 6046908"/>
              <a:gd name="connsiteX30" fmla="*/ 267646 w 4527226"/>
              <a:gd name="connsiteY30" fmla="*/ 2671248 h 6046908"/>
              <a:gd name="connsiteX31" fmla="*/ 176206 w 4527226"/>
              <a:gd name="connsiteY31" fmla="*/ 2656008 h 6046908"/>
              <a:gd name="connsiteX32" fmla="*/ 54286 w 4527226"/>
              <a:gd name="connsiteY32" fmla="*/ 2610288 h 6046908"/>
              <a:gd name="connsiteX33" fmla="*/ 7931 w 4527226"/>
              <a:gd name="connsiteY33" fmla="*/ 2563298 h 6046908"/>
              <a:gd name="connsiteX34" fmla="*/ 8566 w 4527226"/>
              <a:gd name="connsiteY34" fmla="*/ 2488368 h 6046908"/>
              <a:gd name="connsiteX35" fmla="*/ 92386 w 4527226"/>
              <a:gd name="connsiteY35" fmla="*/ 2335968 h 6046908"/>
              <a:gd name="connsiteX36" fmla="*/ 221926 w 4527226"/>
              <a:gd name="connsiteY36" fmla="*/ 2175948 h 6046908"/>
              <a:gd name="connsiteX37" fmla="*/ 282886 w 4527226"/>
              <a:gd name="connsiteY37" fmla="*/ 2084508 h 6046908"/>
              <a:gd name="connsiteX38" fmla="*/ 328606 w 4527226"/>
              <a:gd name="connsiteY38" fmla="*/ 1977828 h 6046908"/>
              <a:gd name="connsiteX39" fmla="*/ 359086 w 4527226"/>
              <a:gd name="connsiteY39" fmla="*/ 1871148 h 6046908"/>
              <a:gd name="connsiteX40" fmla="*/ 374326 w 4527226"/>
              <a:gd name="connsiteY40" fmla="*/ 1810188 h 6046908"/>
              <a:gd name="connsiteX41" fmla="*/ 343846 w 4527226"/>
              <a:gd name="connsiteY41" fmla="*/ 1756848 h 6046908"/>
              <a:gd name="connsiteX42" fmla="*/ 328606 w 4527226"/>
              <a:gd name="connsiteY42" fmla="*/ 1680648 h 6046908"/>
              <a:gd name="connsiteX43" fmla="*/ 412426 w 4527226"/>
              <a:gd name="connsiteY43" fmla="*/ 1474908 h 6046908"/>
              <a:gd name="connsiteX44" fmla="*/ 442906 w 4527226"/>
              <a:gd name="connsiteY44" fmla="*/ 1307268 h 6046908"/>
              <a:gd name="connsiteX45" fmla="*/ 465766 w 4527226"/>
              <a:gd name="connsiteY45" fmla="*/ 1192968 h 6046908"/>
              <a:gd name="connsiteX46" fmla="*/ 503866 w 4527226"/>
              <a:gd name="connsiteY46" fmla="*/ 1055808 h 6046908"/>
              <a:gd name="connsiteX47" fmla="*/ 557206 w 4527226"/>
              <a:gd name="connsiteY47" fmla="*/ 888168 h 6046908"/>
              <a:gd name="connsiteX48" fmla="*/ 503866 w 4527226"/>
              <a:gd name="connsiteY48" fmla="*/ 888168 h 6046908"/>
              <a:gd name="connsiteX49" fmla="*/ 412426 w 4527226"/>
              <a:gd name="connsiteY49" fmla="*/ 834828 h 6046908"/>
              <a:gd name="connsiteX50" fmla="*/ 328606 w 4527226"/>
              <a:gd name="connsiteY50" fmla="*/ 789108 h 6046908"/>
              <a:gd name="connsiteX51" fmla="*/ 260026 w 4527226"/>
              <a:gd name="connsiteY51" fmla="*/ 773868 h 6046908"/>
              <a:gd name="connsiteX52" fmla="*/ 214306 w 4527226"/>
              <a:gd name="connsiteY52" fmla="*/ 751008 h 6046908"/>
              <a:gd name="connsiteX53" fmla="*/ 260026 w 4527226"/>
              <a:gd name="connsiteY53" fmla="*/ 674808 h 6046908"/>
              <a:gd name="connsiteX54" fmla="*/ 374326 w 4527226"/>
              <a:gd name="connsiteY54" fmla="*/ 606228 h 6046908"/>
              <a:gd name="connsiteX55" fmla="*/ 557206 w 4527226"/>
              <a:gd name="connsiteY55" fmla="*/ 507168 h 6046908"/>
              <a:gd name="connsiteX56" fmla="*/ 656266 w 4527226"/>
              <a:gd name="connsiteY56" fmla="*/ 423348 h 6046908"/>
              <a:gd name="connsiteX57" fmla="*/ 892486 w 4527226"/>
              <a:gd name="connsiteY57" fmla="*/ 232848 h 6046908"/>
              <a:gd name="connsiteX58" fmla="*/ 1174426 w 4527226"/>
              <a:gd name="connsiteY58" fmla="*/ 80448 h 6046908"/>
              <a:gd name="connsiteX59" fmla="*/ 1593526 w 4527226"/>
              <a:gd name="connsiteY59" fmla="*/ 11868 h 6046908"/>
              <a:gd name="connsiteX60" fmla="*/ 1944046 w 4527226"/>
              <a:gd name="connsiteY60" fmla="*/ 4248 h 6046908"/>
              <a:gd name="connsiteX61" fmla="*/ 2172646 w 4527226"/>
              <a:gd name="connsiteY61" fmla="*/ 4248 h 6046908"/>
              <a:gd name="connsiteX62" fmla="*/ 2393626 w 4527226"/>
              <a:gd name="connsiteY62" fmla="*/ 57588 h 6046908"/>
              <a:gd name="connsiteX63" fmla="*/ 2667946 w 4527226"/>
              <a:gd name="connsiteY63" fmla="*/ 133788 h 6046908"/>
              <a:gd name="connsiteX64" fmla="*/ 2820346 w 4527226"/>
              <a:gd name="connsiteY64" fmla="*/ 202368 h 6046908"/>
              <a:gd name="connsiteX65" fmla="*/ 3102286 w 4527226"/>
              <a:gd name="connsiteY65" fmla="*/ 400488 h 6046908"/>
              <a:gd name="connsiteX66" fmla="*/ 3285166 w 4527226"/>
              <a:gd name="connsiteY66" fmla="*/ 651948 h 6046908"/>
              <a:gd name="connsiteX67" fmla="*/ 3407086 w 4527226"/>
              <a:gd name="connsiteY67" fmla="*/ 918648 h 6046908"/>
              <a:gd name="connsiteX68" fmla="*/ 3475666 w 4527226"/>
              <a:gd name="connsiteY68" fmla="*/ 1238688 h 6046908"/>
              <a:gd name="connsiteX69" fmla="*/ 3506146 w 4527226"/>
              <a:gd name="connsiteY69" fmla="*/ 1543488 h 6046908"/>
              <a:gd name="connsiteX70" fmla="*/ 3506146 w 4527226"/>
              <a:gd name="connsiteY70" fmla="*/ 1962588 h 6046908"/>
              <a:gd name="connsiteX71" fmla="*/ 3338506 w 4527226"/>
              <a:gd name="connsiteY71" fmla="*/ 2305488 h 6046908"/>
              <a:gd name="connsiteX72" fmla="*/ 3254686 w 4527226"/>
              <a:gd name="connsiteY72" fmla="*/ 2473128 h 6046908"/>
              <a:gd name="connsiteX73" fmla="*/ 3132766 w 4527226"/>
              <a:gd name="connsiteY73" fmla="*/ 2663628 h 6046908"/>
              <a:gd name="connsiteX74" fmla="*/ 3071806 w 4527226"/>
              <a:gd name="connsiteY74" fmla="*/ 2838888 h 6046908"/>
              <a:gd name="connsiteX75" fmla="*/ 3064186 w 4527226"/>
              <a:gd name="connsiteY75" fmla="*/ 2915088 h 6046908"/>
              <a:gd name="connsiteX76" fmla="*/ 3018466 w 4527226"/>
              <a:gd name="connsiteY76" fmla="*/ 3014148 h 6046908"/>
              <a:gd name="connsiteX77" fmla="*/ 2980366 w 4527226"/>
              <a:gd name="connsiteY77" fmla="*/ 3082728 h 6046908"/>
              <a:gd name="connsiteX78" fmla="*/ 2957506 w 4527226"/>
              <a:gd name="connsiteY78" fmla="*/ 3120828 h 6046908"/>
              <a:gd name="connsiteX79" fmla="*/ 2957506 w 4527226"/>
              <a:gd name="connsiteY79" fmla="*/ 3555168 h 6046908"/>
              <a:gd name="connsiteX80" fmla="*/ 3010846 w 4527226"/>
              <a:gd name="connsiteY80" fmla="*/ 3539928 h 6046908"/>
              <a:gd name="connsiteX81" fmla="*/ 3109906 w 4527226"/>
              <a:gd name="connsiteY81" fmla="*/ 3570408 h 6046908"/>
              <a:gd name="connsiteX82" fmla="*/ 3140386 w 4527226"/>
              <a:gd name="connsiteY82" fmla="*/ 3631368 h 6046908"/>
              <a:gd name="connsiteX83" fmla="*/ 3117526 w 4527226"/>
              <a:gd name="connsiteY83" fmla="*/ 3738048 h 6046908"/>
              <a:gd name="connsiteX84" fmla="*/ 3125146 w 4527226"/>
              <a:gd name="connsiteY84" fmla="*/ 4103808 h 6046908"/>
              <a:gd name="connsiteX85" fmla="*/ 3163246 w 4527226"/>
              <a:gd name="connsiteY85" fmla="*/ 4157148 h 6046908"/>
              <a:gd name="connsiteX86" fmla="*/ 3201346 w 4527226"/>
              <a:gd name="connsiteY86" fmla="*/ 4164768 h 6046908"/>
              <a:gd name="connsiteX87" fmla="*/ 3231826 w 4527226"/>
              <a:gd name="connsiteY87" fmla="*/ 4172388 h 6046908"/>
              <a:gd name="connsiteX88" fmla="*/ 3285166 w 4527226"/>
              <a:gd name="connsiteY88" fmla="*/ 4294308 h 6046908"/>
              <a:gd name="connsiteX89" fmla="*/ 3300406 w 4527226"/>
              <a:gd name="connsiteY89" fmla="*/ 4347648 h 6046908"/>
              <a:gd name="connsiteX90" fmla="*/ 3330886 w 4527226"/>
              <a:gd name="connsiteY90" fmla="*/ 4408608 h 6046908"/>
              <a:gd name="connsiteX91" fmla="*/ 3551866 w 4527226"/>
              <a:gd name="connsiteY91" fmla="*/ 4644828 h 6046908"/>
              <a:gd name="connsiteX92" fmla="*/ 3887146 w 4527226"/>
              <a:gd name="connsiteY92" fmla="*/ 5025828 h 6046908"/>
              <a:gd name="connsiteX93" fmla="*/ 4100506 w 4527226"/>
              <a:gd name="connsiteY93" fmla="*/ 5300148 h 6046908"/>
              <a:gd name="connsiteX94" fmla="*/ 4367206 w 4527226"/>
              <a:gd name="connsiteY94" fmla="*/ 5726868 h 6046908"/>
              <a:gd name="connsiteX95" fmla="*/ 4527226 w 4527226"/>
              <a:gd name="connsiteY95" fmla="*/ 6046908 h 6046908"/>
              <a:gd name="connsiteX0" fmla="*/ 717226 w 4527226"/>
              <a:gd name="connsiteY0" fmla="*/ 5063928 h 6046908"/>
              <a:gd name="connsiteX1" fmla="*/ 709606 w 4527226"/>
              <a:gd name="connsiteY1" fmla="*/ 5025828 h 6046908"/>
              <a:gd name="connsiteX2" fmla="*/ 701986 w 4527226"/>
              <a:gd name="connsiteY2" fmla="*/ 5002968 h 6046908"/>
              <a:gd name="connsiteX3" fmla="*/ 968686 w 4527226"/>
              <a:gd name="connsiteY3" fmla="*/ 4682928 h 6046908"/>
              <a:gd name="connsiteX4" fmla="*/ 961066 w 4527226"/>
              <a:gd name="connsiteY4" fmla="*/ 4644828 h 6046908"/>
              <a:gd name="connsiteX5" fmla="*/ 1342066 w 4527226"/>
              <a:gd name="connsiteY5" fmla="*/ 4172388 h 6046908"/>
              <a:gd name="connsiteX6" fmla="*/ 1258246 w 4527226"/>
              <a:gd name="connsiteY6" fmla="*/ 4012368 h 6046908"/>
              <a:gd name="connsiteX7" fmla="*/ 1204906 w 4527226"/>
              <a:gd name="connsiteY7" fmla="*/ 3928548 h 6046908"/>
              <a:gd name="connsiteX8" fmla="*/ 1174426 w 4527226"/>
              <a:gd name="connsiteY8" fmla="*/ 3768528 h 6046908"/>
              <a:gd name="connsiteX9" fmla="*/ 1151566 w 4527226"/>
              <a:gd name="connsiteY9" fmla="*/ 3699948 h 6046908"/>
              <a:gd name="connsiteX10" fmla="*/ 1143946 w 4527226"/>
              <a:gd name="connsiteY10" fmla="*/ 3669468 h 6046908"/>
              <a:gd name="connsiteX11" fmla="*/ 1067746 w 4527226"/>
              <a:gd name="connsiteY11" fmla="*/ 3661848 h 6046908"/>
              <a:gd name="connsiteX12" fmla="*/ 938206 w 4527226"/>
              <a:gd name="connsiteY12" fmla="*/ 3669468 h 6046908"/>
              <a:gd name="connsiteX13" fmla="*/ 831526 w 4527226"/>
              <a:gd name="connsiteY13" fmla="*/ 3692328 h 6046908"/>
              <a:gd name="connsiteX14" fmla="*/ 610546 w 4527226"/>
              <a:gd name="connsiteY14" fmla="*/ 3738048 h 6046908"/>
              <a:gd name="connsiteX15" fmla="*/ 389566 w 4527226"/>
              <a:gd name="connsiteY15" fmla="*/ 3638988 h 6046908"/>
              <a:gd name="connsiteX16" fmla="*/ 381946 w 4527226"/>
              <a:gd name="connsiteY16" fmla="*/ 3326568 h 6046908"/>
              <a:gd name="connsiteX17" fmla="*/ 420046 w 4527226"/>
              <a:gd name="connsiteY17" fmla="*/ 3227508 h 6046908"/>
              <a:gd name="connsiteX18" fmla="*/ 389566 w 4527226"/>
              <a:gd name="connsiteY18" fmla="*/ 3166548 h 6046908"/>
              <a:gd name="connsiteX19" fmla="*/ 351466 w 4527226"/>
              <a:gd name="connsiteY19" fmla="*/ 3105588 h 6046908"/>
              <a:gd name="connsiteX20" fmla="*/ 397186 w 4527226"/>
              <a:gd name="connsiteY20" fmla="*/ 3021768 h 6046908"/>
              <a:gd name="connsiteX21" fmla="*/ 488626 w 4527226"/>
              <a:gd name="connsiteY21" fmla="*/ 2998908 h 6046908"/>
              <a:gd name="connsiteX22" fmla="*/ 471956 w 4527226"/>
              <a:gd name="connsiteY22" fmla="*/ 2942709 h 6046908"/>
              <a:gd name="connsiteX23" fmla="*/ 435286 w 4527226"/>
              <a:gd name="connsiteY23" fmla="*/ 2930328 h 6046908"/>
              <a:gd name="connsiteX24" fmla="*/ 389566 w 4527226"/>
              <a:gd name="connsiteY24" fmla="*/ 2930328 h 6046908"/>
              <a:gd name="connsiteX25" fmla="*/ 314000 w 4527226"/>
              <a:gd name="connsiteY25" fmla="*/ 2893495 h 6046908"/>
              <a:gd name="connsiteX26" fmla="*/ 320986 w 4527226"/>
              <a:gd name="connsiteY26" fmla="*/ 2846508 h 6046908"/>
              <a:gd name="connsiteX27" fmla="*/ 328606 w 4527226"/>
              <a:gd name="connsiteY27" fmla="*/ 2793168 h 6046908"/>
              <a:gd name="connsiteX28" fmla="*/ 313366 w 4527226"/>
              <a:gd name="connsiteY28" fmla="*/ 2732208 h 6046908"/>
              <a:gd name="connsiteX29" fmla="*/ 267646 w 4527226"/>
              <a:gd name="connsiteY29" fmla="*/ 2671248 h 6046908"/>
              <a:gd name="connsiteX30" fmla="*/ 176206 w 4527226"/>
              <a:gd name="connsiteY30" fmla="*/ 2656008 h 6046908"/>
              <a:gd name="connsiteX31" fmla="*/ 54286 w 4527226"/>
              <a:gd name="connsiteY31" fmla="*/ 2610288 h 6046908"/>
              <a:gd name="connsiteX32" fmla="*/ 7931 w 4527226"/>
              <a:gd name="connsiteY32" fmla="*/ 2563298 h 6046908"/>
              <a:gd name="connsiteX33" fmla="*/ 8566 w 4527226"/>
              <a:gd name="connsiteY33" fmla="*/ 2488368 h 6046908"/>
              <a:gd name="connsiteX34" fmla="*/ 92386 w 4527226"/>
              <a:gd name="connsiteY34" fmla="*/ 2335968 h 6046908"/>
              <a:gd name="connsiteX35" fmla="*/ 221926 w 4527226"/>
              <a:gd name="connsiteY35" fmla="*/ 2175948 h 6046908"/>
              <a:gd name="connsiteX36" fmla="*/ 282886 w 4527226"/>
              <a:gd name="connsiteY36" fmla="*/ 2084508 h 6046908"/>
              <a:gd name="connsiteX37" fmla="*/ 328606 w 4527226"/>
              <a:gd name="connsiteY37" fmla="*/ 1977828 h 6046908"/>
              <a:gd name="connsiteX38" fmla="*/ 359086 w 4527226"/>
              <a:gd name="connsiteY38" fmla="*/ 1871148 h 6046908"/>
              <a:gd name="connsiteX39" fmla="*/ 374326 w 4527226"/>
              <a:gd name="connsiteY39" fmla="*/ 1810188 h 6046908"/>
              <a:gd name="connsiteX40" fmla="*/ 343846 w 4527226"/>
              <a:gd name="connsiteY40" fmla="*/ 1756848 h 6046908"/>
              <a:gd name="connsiteX41" fmla="*/ 328606 w 4527226"/>
              <a:gd name="connsiteY41" fmla="*/ 1680648 h 6046908"/>
              <a:gd name="connsiteX42" fmla="*/ 412426 w 4527226"/>
              <a:gd name="connsiteY42" fmla="*/ 1474908 h 6046908"/>
              <a:gd name="connsiteX43" fmla="*/ 442906 w 4527226"/>
              <a:gd name="connsiteY43" fmla="*/ 1307268 h 6046908"/>
              <a:gd name="connsiteX44" fmla="*/ 465766 w 4527226"/>
              <a:gd name="connsiteY44" fmla="*/ 1192968 h 6046908"/>
              <a:gd name="connsiteX45" fmla="*/ 503866 w 4527226"/>
              <a:gd name="connsiteY45" fmla="*/ 1055808 h 6046908"/>
              <a:gd name="connsiteX46" fmla="*/ 557206 w 4527226"/>
              <a:gd name="connsiteY46" fmla="*/ 888168 h 6046908"/>
              <a:gd name="connsiteX47" fmla="*/ 503866 w 4527226"/>
              <a:gd name="connsiteY47" fmla="*/ 888168 h 6046908"/>
              <a:gd name="connsiteX48" fmla="*/ 412426 w 4527226"/>
              <a:gd name="connsiteY48" fmla="*/ 834828 h 6046908"/>
              <a:gd name="connsiteX49" fmla="*/ 328606 w 4527226"/>
              <a:gd name="connsiteY49" fmla="*/ 789108 h 6046908"/>
              <a:gd name="connsiteX50" fmla="*/ 260026 w 4527226"/>
              <a:gd name="connsiteY50" fmla="*/ 773868 h 6046908"/>
              <a:gd name="connsiteX51" fmla="*/ 214306 w 4527226"/>
              <a:gd name="connsiteY51" fmla="*/ 751008 h 6046908"/>
              <a:gd name="connsiteX52" fmla="*/ 260026 w 4527226"/>
              <a:gd name="connsiteY52" fmla="*/ 674808 h 6046908"/>
              <a:gd name="connsiteX53" fmla="*/ 374326 w 4527226"/>
              <a:gd name="connsiteY53" fmla="*/ 606228 h 6046908"/>
              <a:gd name="connsiteX54" fmla="*/ 557206 w 4527226"/>
              <a:gd name="connsiteY54" fmla="*/ 507168 h 6046908"/>
              <a:gd name="connsiteX55" fmla="*/ 656266 w 4527226"/>
              <a:gd name="connsiteY55" fmla="*/ 423348 h 6046908"/>
              <a:gd name="connsiteX56" fmla="*/ 892486 w 4527226"/>
              <a:gd name="connsiteY56" fmla="*/ 232848 h 6046908"/>
              <a:gd name="connsiteX57" fmla="*/ 1174426 w 4527226"/>
              <a:gd name="connsiteY57" fmla="*/ 80448 h 6046908"/>
              <a:gd name="connsiteX58" fmla="*/ 1593526 w 4527226"/>
              <a:gd name="connsiteY58" fmla="*/ 11868 h 6046908"/>
              <a:gd name="connsiteX59" fmla="*/ 1944046 w 4527226"/>
              <a:gd name="connsiteY59" fmla="*/ 4248 h 6046908"/>
              <a:gd name="connsiteX60" fmla="*/ 2172646 w 4527226"/>
              <a:gd name="connsiteY60" fmla="*/ 4248 h 6046908"/>
              <a:gd name="connsiteX61" fmla="*/ 2393626 w 4527226"/>
              <a:gd name="connsiteY61" fmla="*/ 57588 h 6046908"/>
              <a:gd name="connsiteX62" fmla="*/ 2667946 w 4527226"/>
              <a:gd name="connsiteY62" fmla="*/ 133788 h 6046908"/>
              <a:gd name="connsiteX63" fmla="*/ 2820346 w 4527226"/>
              <a:gd name="connsiteY63" fmla="*/ 202368 h 6046908"/>
              <a:gd name="connsiteX64" fmla="*/ 3102286 w 4527226"/>
              <a:gd name="connsiteY64" fmla="*/ 400488 h 6046908"/>
              <a:gd name="connsiteX65" fmla="*/ 3285166 w 4527226"/>
              <a:gd name="connsiteY65" fmla="*/ 651948 h 6046908"/>
              <a:gd name="connsiteX66" fmla="*/ 3407086 w 4527226"/>
              <a:gd name="connsiteY66" fmla="*/ 918648 h 6046908"/>
              <a:gd name="connsiteX67" fmla="*/ 3475666 w 4527226"/>
              <a:gd name="connsiteY67" fmla="*/ 1238688 h 6046908"/>
              <a:gd name="connsiteX68" fmla="*/ 3506146 w 4527226"/>
              <a:gd name="connsiteY68" fmla="*/ 1543488 h 6046908"/>
              <a:gd name="connsiteX69" fmla="*/ 3506146 w 4527226"/>
              <a:gd name="connsiteY69" fmla="*/ 1962588 h 6046908"/>
              <a:gd name="connsiteX70" fmla="*/ 3338506 w 4527226"/>
              <a:gd name="connsiteY70" fmla="*/ 2305488 h 6046908"/>
              <a:gd name="connsiteX71" fmla="*/ 3254686 w 4527226"/>
              <a:gd name="connsiteY71" fmla="*/ 2473128 h 6046908"/>
              <a:gd name="connsiteX72" fmla="*/ 3132766 w 4527226"/>
              <a:gd name="connsiteY72" fmla="*/ 2663628 h 6046908"/>
              <a:gd name="connsiteX73" fmla="*/ 3071806 w 4527226"/>
              <a:gd name="connsiteY73" fmla="*/ 2838888 h 6046908"/>
              <a:gd name="connsiteX74" fmla="*/ 3064186 w 4527226"/>
              <a:gd name="connsiteY74" fmla="*/ 2915088 h 6046908"/>
              <a:gd name="connsiteX75" fmla="*/ 3018466 w 4527226"/>
              <a:gd name="connsiteY75" fmla="*/ 3014148 h 6046908"/>
              <a:gd name="connsiteX76" fmla="*/ 2980366 w 4527226"/>
              <a:gd name="connsiteY76" fmla="*/ 3082728 h 6046908"/>
              <a:gd name="connsiteX77" fmla="*/ 2957506 w 4527226"/>
              <a:gd name="connsiteY77" fmla="*/ 3120828 h 6046908"/>
              <a:gd name="connsiteX78" fmla="*/ 2957506 w 4527226"/>
              <a:gd name="connsiteY78" fmla="*/ 3555168 h 6046908"/>
              <a:gd name="connsiteX79" fmla="*/ 3010846 w 4527226"/>
              <a:gd name="connsiteY79" fmla="*/ 3539928 h 6046908"/>
              <a:gd name="connsiteX80" fmla="*/ 3109906 w 4527226"/>
              <a:gd name="connsiteY80" fmla="*/ 3570408 h 6046908"/>
              <a:gd name="connsiteX81" fmla="*/ 3140386 w 4527226"/>
              <a:gd name="connsiteY81" fmla="*/ 3631368 h 6046908"/>
              <a:gd name="connsiteX82" fmla="*/ 3117526 w 4527226"/>
              <a:gd name="connsiteY82" fmla="*/ 3738048 h 6046908"/>
              <a:gd name="connsiteX83" fmla="*/ 3125146 w 4527226"/>
              <a:gd name="connsiteY83" fmla="*/ 4103808 h 6046908"/>
              <a:gd name="connsiteX84" fmla="*/ 3163246 w 4527226"/>
              <a:gd name="connsiteY84" fmla="*/ 4157148 h 6046908"/>
              <a:gd name="connsiteX85" fmla="*/ 3201346 w 4527226"/>
              <a:gd name="connsiteY85" fmla="*/ 4164768 h 6046908"/>
              <a:gd name="connsiteX86" fmla="*/ 3231826 w 4527226"/>
              <a:gd name="connsiteY86" fmla="*/ 4172388 h 6046908"/>
              <a:gd name="connsiteX87" fmla="*/ 3285166 w 4527226"/>
              <a:gd name="connsiteY87" fmla="*/ 4294308 h 6046908"/>
              <a:gd name="connsiteX88" fmla="*/ 3300406 w 4527226"/>
              <a:gd name="connsiteY88" fmla="*/ 4347648 h 6046908"/>
              <a:gd name="connsiteX89" fmla="*/ 3330886 w 4527226"/>
              <a:gd name="connsiteY89" fmla="*/ 4408608 h 6046908"/>
              <a:gd name="connsiteX90" fmla="*/ 3551866 w 4527226"/>
              <a:gd name="connsiteY90" fmla="*/ 4644828 h 6046908"/>
              <a:gd name="connsiteX91" fmla="*/ 3887146 w 4527226"/>
              <a:gd name="connsiteY91" fmla="*/ 5025828 h 6046908"/>
              <a:gd name="connsiteX92" fmla="*/ 4100506 w 4527226"/>
              <a:gd name="connsiteY92" fmla="*/ 5300148 h 6046908"/>
              <a:gd name="connsiteX93" fmla="*/ 4367206 w 4527226"/>
              <a:gd name="connsiteY93" fmla="*/ 5726868 h 6046908"/>
              <a:gd name="connsiteX94" fmla="*/ 4527226 w 4527226"/>
              <a:gd name="connsiteY94" fmla="*/ 6046908 h 6046908"/>
              <a:gd name="connsiteX0" fmla="*/ 709606 w 4527226"/>
              <a:gd name="connsiteY0" fmla="*/ 5025828 h 6046908"/>
              <a:gd name="connsiteX1" fmla="*/ 701986 w 4527226"/>
              <a:gd name="connsiteY1" fmla="*/ 5002968 h 6046908"/>
              <a:gd name="connsiteX2" fmla="*/ 968686 w 4527226"/>
              <a:gd name="connsiteY2" fmla="*/ 4682928 h 6046908"/>
              <a:gd name="connsiteX3" fmla="*/ 961066 w 4527226"/>
              <a:gd name="connsiteY3" fmla="*/ 4644828 h 6046908"/>
              <a:gd name="connsiteX4" fmla="*/ 1342066 w 4527226"/>
              <a:gd name="connsiteY4" fmla="*/ 4172388 h 6046908"/>
              <a:gd name="connsiteX5" fmla="*/ 1258246 w 4527226"/>
              <a:gd name="connsiteY5" fmla="*/ 4012368 h 6046908"/>
              <a:gd name="connsiteX6" fmla="*/ 1204906 w 4527226"/>
              <a:gd name="connsiteY6" fmla="*/ 3928548 h 6046908"/>
              <a:gd name="connsiteX7" fmla="*/ 1174426 w 4527226"/>
              <a:gd name="connsiteY7" fmla="*/ 3768528 h 6046908"/>
              <a:gd name="connsiteX8" fmla="*/ 1151566 w 4527226"/>
              <a:gd name="connsiteY8" fmla="*/ 3699948 h 6046908"/>
              <a:gd name="connsiteX9" fmla="*/ 1143946 w 4527226"/>
              <a:gd name="connsiteY9" fmla="*/ 3669468 h 6046908"/>
              <a:gd name="connsiteX10" fmla="*/ 1067746 w 4527226"/>
              <a:gd name="connsiteY10" fmla="*/ 3661848 h 6046908"/>
              <a:gd name="connsiteX11" fmla="*/ 938206 w 4527226"/>
              <a:gd name="connsiteY11" fmla="*/ 3669468 h 6046908"/>
              <a:gd name="connsiteX12" fmla="*/ 831526 w 4527226"/>
              <a:gd name="connsiteY12" fmla="*/ 3692328 h 6046908"/>
              <a:gd name="connsiteX13" fmla="*/ 610546 w 4527226"/>
              <a:gd name="connsiteY13" fmla="*/ 3738048 h 6046908"/>
              <a:gd name="connsiteX14" fmla="*/ 389566 w 4527226"/>
              <a:gd name="connsiteY14" fmla="*/ 3638988 h 6046908"/>
              <a:gd name="connsiteX15" fmla="*/ 381946 w 4527226"/>
              <a:gd name="connsiteY15" fmla="*/ 3326568 h 6046908"/>
              <a:gd name="connsiteX16" fmla="*/ 420046 w 4527226"/>
              <a:gd name="connsiteY16" fmla="*/ 3227508 h 6046908"/>
              <a:gd name="connsiteX17" fmla="*/ 389566 w 4527226"/>
              <a:gd name="connsiteY17" fmla="*/ 3166548 h 6046908"/>
              <a:gd name="connsiteX18" fmla="*/ 351466 w 4527226"/>
              <a:gd name="connsiteY18" fmla="*/ 3105588 h 6046908"/>
              <a:gd name="connsiteX19" fmla="*/ 397186 w 4527226"/>
              <a:gd name="connsiteY19" fmla="*/ 3021768 h 6046908"/>
              <a:gd name="connsiteX20" fmla="*/ 488626 w 4527226"/>
              <a:gd name="connsiteY20" fmla="*/ 2998908 h 6046908"/>
              <a:gd name="connsiteX21" fmla="*/ 471956 w 4527226"/>
              <a:gd name="connsiteY21" fmla="*/ 2942709 h 6046908"/>
              <a:gd name="connsiteX22" fmla="*/ 435286 w 4527226"/>
              <a:gd name="connsiteY22" fmla="*/ 2930328 h 6046908"/>
              <a:gd name="connsiteX23" fmla="*/ 389566 w 4527226"/>
              <a:gd name="connsiteY23" fmla="*/ 2930328 h 6046908"/>
              <a:gd name="connsiteX24" fmla="*/ 314000 w 4527226"/>
              <a:gd name="connsiteY24" fmla="*/ 2893495 h 6046908"/>
              <a:gd name="connsiteX25" fmla="*/ 320986 w 4527226"/>
              <a:gd name="connsiteY25" fmla="*/ 2846508 h 6046908"/>
              <a:gd name="connsiteX26" fmla="*/ 328606 w 4527226"/>
              <a:gd name="connsiteY26" fmla="*/ 2793168 h 6046908"/>
              <a:gd name="connsiteX27" fmla="*/ 313366 w 4527226"/>
              <a:gd name="connsiteY27" fmla="*/ 2732208 h 6046908"/>
              <a:gd name="connsiteX28" fmla="*/ 267646 w 4527226"/>
              <a:gd name="connsiteY28" fmla="*/ 2671248 h 6046908"/>
              <a:gd name="connsiteX29" fmla="*/ 176206 w 4527226"/>
              <a:gd name="connsiteY29" fmla="*/ 2656008 h 6046908"/>
              <a:gd name="connsiteX30" fmla="*/ 54286 w 4527226"/>
              <a:gd name="connsiteY30" fmla="*/ 2610288 h 6046908"/>
              <a:gd name="connsiteX31" fmla="*/ 7931 w 4527226"/>
              <a:gd name="connsiteY31" fmla="*/ 2563298 h 6046908"/>
              <a:gd name="connsiteX32" fmla="*/ 8566 w 4527226"/>
              <a:gd name="connsiteY32" fmla="*/ 2488368 h 6046908"/>
              <a:gd name="connsiteX33" fmla="*/ 92386 w 4527226"/>
              <a:gd name="connsiteY33" fmla="*/ 2335968 h 6046908"/>
              <a:gd name="connsiteX34" fmla="*/ 221926 w 4527226"/>
              <a:gd name="connsiteY34" fmla="*/ 2175948 h 6046908"/>
              <a:gd name="connsiteX35" fmla="*/ 282886 w 4527226"/>
              <a:gd name="connsiteY35" fmla="*/ 2084508 h 6046908"/>
              <a:gd name="connsiteX36" fmla="*/ 328606 w 4527226"/>
              <a:gd name="connsiteY36" fmla="*/ 1977828 h 6046908"/>
              <a:gd name="connsiteX37" fmla="*/ 359086 w 4527226"/>
              <a:gd name="connsiteY37" fmla="*/ 1871148 h 6046908"/>
              <a:gd name="connsiteX38" fmla="*/ 374326 w 4527226"/>
              <a:gd name="connsiteY38" fmla="*/ 1810188 h 6046908"/>
              <a:gd name="connsiteX39" fmla="*/ 343846 w 4527226"/>
              <a:gd name="connsiteY39" fmla="*/ 1756848 h 6046908"/>
              <a:gd name="connsiteX40" fmla="*/ 328606 w 4527226"/>
              <a:gd name="connsiteY40" fmla="*/ 1680648 h 6046908"/>
              <a:gd name="connsiteX41" fmla="*/ 412426 w 4527226"/>
              <a:gd name="connsiteY41" fmla="*/ 1474908 h 6046908"/>
              <a:gd name="connsiteX42" fmla="*/ 442906 w 4527226"/>
              <a:gd name="connsiteY42" fmla="*/ 1307268 h 6046908"/>
              <a:gd name="connsiteX43" fmla="*/ 465766 w 4527226"/>
              <a:gd name="connsiteY43" fmla="*/ 1192968 h 6046908"/>
              <a:gd name="connsiteX44" fmla="*/ 503866 w 4527226"/>
              <a:gd name="connsiteY44" fmla="*/ 1055808 h 6046908"/>
              <a:gd name="connsiteX45" fmla="*/ 557206 w 4527226"/>
              <a:gd name="connsiteY45" fmla="*/ 888168 h 6046908"/>
              <a:gd name="connsiteX46" fmla="*/ 503866 w 4527226"/>
              <a:gd name="connsiteY46" fmla="*/ 888168 h 6046908"/>
              <a:gd name="connsiteX47" fmla="*/ 412426 w 4527226"/>
              <a:gd name="connsiteY47" fmla="*/ 834828 h 6046908"/>
              <a:gd name="connsiteX48" fmla="*/ 328606 w 4527226"/>
              <a:gd name="connsiteY48" fmla="*/ 789108 h 6046908"/>
              <a:gd name="connsiteX49" fmla="*/ 260026 w 4527226"/>
              <a:gd name="connsiteY49" fmla="*/ 773868 h 6046908"/>
              <a:gd name="connsiteX50" fmla="*/ 214306 w 4527226"/>
              <a:gd name="connsiteY50" fmla="*/ 751008 h 6046908"/>
              <a:gd name="connsiteX51" fmla="*/ 260026 w 4527226"/>
              <a:gd name="connsiteY51" fmla="*/ 674808 h 6046908"/>
              <a:gd name="connsiteX52" fmla="*/ 374326 w 4527226"/>
              <a:gd name="connsiteY52" fmla="*/ 606228 h 6046908"/>
              <a:gd name="connsiteX53" fmla="*/ 557206 w 4527226"/>
              <a:gd name="connsiteY53" fmla="*/ 507168 h 6046908"/>
              <a:gd name="connsiteX54" fmla="*/ 656266 w 4527226"/>
              <a:gd name="connsiteY54" fmla="*/ 423348 h 6046908"/>
              <a:gd name="connsiteX55" fmla="*/ 892486 w 4527226"/>
              <a:gd name="connsiteY55" fmla="*/ 232848 h 6046908"/>
              <a:gd name="connsiteX56" fmla="*/ 1174426 w 4527226"/>
              <a:gd name="connsiteY56" fmla="*/ 80448 h 6046908"/>
              <a:gd name="connsiteX57" fmla="*/ 1593526 w 4527226"/>
              <a:gd name="connsiteY57" fmla="*/ 11868 h 6046908"/>
              <a:gd name="connsiteX58" fmla="*/ 1944046 w 4527226"/>
              <a:gd name="connsiteY58" fmla="*/ 4248 h 6046908"/>
              <a:gd name="connsiteX59" fmla="*/ 2172646 w 4527226"/>
              <a:gd name="connsiteY59" fmla="*/ 4248 h 6046908"/>
              <a:gd name="connsiteX60" fmla="*/ 2393626 w 4527226"/>
              <a:gd name="connsiteY60" fmla="*/ 57588 h 6046908"/>
              <a:gd name="connsiteX61" fmla="*/ 2667946 w 4527226"/>
              <a:gd name="connsiteY61" fmla="*/ 133788 h 6046908"/>
              <a:gd name="connsiteX62" fmla="*/ 2820346 w 4527226"/>
              <a:gd name="connsiteY62" fmla="*/ 202368 h 6046908"/>
              <a:gd name="connsiteX63" fmla="*/ 3102286 w 4527226"/>
              <a:gd name="connsiteY63" fmla="*/ 400488 h 6046908"/>
              <a:gd name="connsiteX64" fmla="*/ 3285166 w 4527226"/>
              <a:gd name="connsiteY64" fmla="*/ 651948 h 6046908"/>
              <a:gd name="connsiteX65" fmla="*/ 3407086 w 4527226"/>
              <a:gd name="connsiteY65" fmla="*/ 918648 h 6046908"/>
              <a:gd name="connsiteX66" fmla="*/ 3475666 w 4527226"/>
              <a:gd name="connsiteY66" fmla="*/ 1238688 h 6046908"/>
              <a:gd name="connsiteX67" fmla="*/ 3506146 w 4527226"/>
              <a:gd name="connsiteY67" fmla="*/ 1543488 h 6046908"/>
              <a:gd name="connsiteX68" fmla="*/ 3506146 w 4527226"/>
              <a:gd name="connsiteY68" fmla="*/ 1962588 h 6046908"/>
              <a:gd name="connsiteX69" fmla="*/ 3338506 w 4527226"/>
              <a:gd name="connsiteY69" fmla="*/ 2305488 h 6046908"/>
              <a:gd name="connsiteX70" fmla="*/ 3254686 w 4527226"/>
              <a:gd name="connsiteY70" fmla="*/ 2473128 h 6046908"/>
              <a:gd name="connsiteX71" fmla="*/ 3132766 w 4527226"/>
              <a:gd name="connsiteY71" fmla="*/ 2663628 h 6046908"/>
              <a:gd name="connsiteX72" fmla="*/ 3071806 w 4527226"/>
              <a:gd name="connsiteY72" fmla="*/ 2838888 h 6046908"/>
              <a:gd name="connsiteX73" fmla="*/ 3064186 w 4527226"/>
              <a:gd name="connsiteY73" fmla="*/ 2915088 h 6046908"/>
              <a:gd name="connsiteX74" fmla="*/ 3018466 w 4527226"/>
              <a:gd name="connsiteY74" fmla="*/ 3014148 h 6046908"/>
              <a:gd name="connsiteX75" fmla="*/ 2980366 w 4527226"/>
              <a:gd name="connsiteY75" fmla="*/ 3082728 h 6046908"/>
              <a:gd name="connsiteX76" fmla="*/ 2957506 w 4527226"/>
              <a:gd name="connsiteY76" fmla="*/ 3120828 h 6046908"/>
              <a:gd name="connsiteX77" fmla="*/ 2957506 w 4527226"/>
              <a:gd name="connsiteY77" fmla="*/ 3555168 h 6046908"/>
              <a:gd name="connsiteX78" fmla="*/ 3010846 w 4527226"/>
              <a:gd name="connsiteY78" fmla="*/ 3539928 h 6046908"/>
              <a:gd name="connsiteX79" fmla="*/ 3109906 w 4527226"/>
              <a:gd name="connsiteY79" fmla="*/ 3570408 h 6046908"/>
              <a:gd name="connsiteX80" fmla="*/ 3140386 w 4527226"/>
              <a:gd name="connsiteY80" fmla="*/ 3631368 h 6046908"/>
              <a:gd name="connsiteX81" fmla="*/ 3117526 w 4527226"/>
              <a:gd name="connsiteY81" fmla="*/ 3738048 h 6046908"/>
              <a:gd name="connsiteX82" fmla="*/ 3125146 w 4527226"/>
              <a:gd name="connsiteY82" fmla="*/ 4103808 h 6046908"/>
              <a:gd name="connsiteX83" fmla="*/ 3163246 w 4527226"/>
              <a:gd name="connsiteY83" fmla="*/ 4157148 h 6046908"/>
              <a:gd name="connsiteX84" fmla="*/ 3201346 w 4527226"/>
              <a:gd name="connsiteY84" fmla="*/ 4164768 h 6046908"/>
              <a:gd name="connsiteX85" fmla="*/ 3231826 w 4527226"/>
              <a:gd name="connsiteY85" fmla="*/ 4172388 h 6046908"/>
              <a:gd name="connsiteX86" fmla="*/ 3285166 w 4527226"/>
              <a:gd name="connsiteY86" fmla="*/ 4294308 h 6046908"/>
              <a:gd name="connsiteX87" fmla="*/ 3300406 w 4527226"/>
              <a:gd name="connsiteY87" fmla="*/ 4347648 h 6046908"/>
              <a:gd name="connsiteX88" fmla="*/ 3330886 w 4527226"/>
              <a:gd name="connsiteY88" fmla="*/ 4408608 h 6046908"/>
              <a:gd name="connsiteX89" fmla="*/ 3551866 w 4527226"/>
              <a:gd name="connsiteY89" fmla="*/ 4644828 h 6046908"/>
              <a:gd name="connsiteX90" fmla="*/ 3887146 w 4527226"/>
              <a:gd name="connsiteY90" fmla="*/ 5025828 h 6046908"/>
              <a:gd name="connsiteX91" fmla="*/ 4100506 w 4527226"/>
              <a:gd name="connsiteY91" fmla="*/ 5300148 h 6046908"/>
              <a:gd name="connsiteX92" fmla="*/ 4367206 w 4527226"/>
              <a:gd name="connsiteY92" fmla="*/ 5726868 h 6046908"/>
              <a:gd name="connsiteX93" fmla="*/ 4527226 w 4527226"/>
              <a:gd name="connsiteY93" fmla="*/ 6046908 h 6046908"/>
              <a:gd name="connsiteX0" fmla="*/ 701986 w 4527226"/>
              <a:gd name="connsiteY0" fmla="*/ 5002968 h 6046908"/>
              <a:gd name="connsiteX1" fmla="*/ 968686 w 4527226"/>
              <a:gd name="connsiteY1" fmla="*/ 4682928 h 6046908"/>
              <a:gd name="connsiteX2" fmla="*/ 961066 w 4527226"/>
              <a:gd name="connsiteY2" fmla="*/ 4644828 h 6046908"/>
              <a:gd name="connsiteX3" fmla="*/ 1342066 w 4527226"/>
              <a:gd name="connsiteY3" fmla="*/ 4172388 h 6046908"/>
              <a:gd name="connsiteX4" fmla="*/ 1258246 w 4527226"/>
              <a:gd name="connsiteY4" fmla="*/ 4012368 h 6046908"/>
              <a:gd name="connsiteX5" fmla="*/ 1204906 w 4527226"/>
              <a:gd name="connsiteY5" fmla="*/ 3928548 h 6046908"/>
              <a:gd name="connsiteX6" fmla="*/ 1174426 w 4527226"/>
              <a:gd name="connsiteY6" fmla="*/ 3768528 h 6046908"/>
              <a:gd name="connsiteX7" fmla="*/ 1151566 w 4527226"/>
              <a:gd name="connsiteY7" fmla="*/ 3699948 h 6046908"/>
              <a:gd name="connsiteX8" fmla="*/ 1143946 w 4527226"/>
              <a:gd name="connsiteY8" fmla="*/ 3669468 h 6046908"/>
              <a:gd name="connsiteX9" fmla="*/ 1067746 w 4527226"/>
              <a:gd name="connsiteY9" fmla="*/ 3661848 h 6046908"/>
              <a:gd name="connsiteX10" fmla="*/ 938206 w 4527226"/>
              <a:gd name="connsiteY10" fmla="*/ 3669468 h 6046908"/>
              <a:gd name="connsiteX11" fmla="*/ 831526 w 4527226"/>
              <a:gd name="connsiteY11" fmla="*/ 3692328 h 6046908"/>
              <a:gd name="connsiteX12" fmla="*/ 610546 w 4527226"/>
              <a:gd name="connsiteY12" fmla="*/ 3738048 h 6046908"/>
              <a:gd name="connsiteX13" fmla="*/ 389566 w 4527226"/>
              <a:gd name="connsiteY13" fmla="*/ 3638988 h 6046908"/>
              <a:gd name="connsiteX14" fmla="*/ 381946 w 4527226"/>
              <a:gd name="connsiteY14" fmla="*/ 3326568 h 6046908"/>
              <a:gd name="connsiteX15" fmla="*/ 420046 w 4527226"/>
              <a:gd name="connsiteY15" fmla="*/ 3227508 h 6046908"/>
              <a:gd name="connsiteX16" fmla="*/ 389566 w 4527226"/>
              <a:gd name="connsiteY16" fmla="*/ 3166548 h 6046908"/>
              <a:gd name="connsiteX17" fmla="*/ 351466 w 4527226"/>
              <a:gd name="connsiteY17" fmla="*/ 3105588 h 6046908"/>
              <a:gd name="connsiteX18" fmla="*/ 397186 w 4527226"/>
              <a:gd name="connsiteY18" fmla="*/ 3021768 h 6046908"/>
              <a:gd name="connsiteX19" fmla="*/ 488626 w 4527226"/>
              <a:gd name="connsiteY19" fmla="*/ 2998908 h 6046908"/>
              <a:gd name="connsiteX20" fmla="*/ 471956 w 4527226"/>
              <a:gd name="connsiteY20" fmla="*/ 2942709 h 6046908"/>
              <a:gd name="connsiteX21" fmla="*/ 435286 w 4527226"/>
              <a:gd name="connsiteY21" fmla="*/ 2930328 h 6046908"/>
              <a:gd name="connsiteX22" fmla="*/ 389566 w 4527226"/>
              <a:gd name="connsiteY22" fmla="*/ 2930328 h 6046908"/>
              <a:gd name="connsiteX23" fmla="*/ 314000 w 4527226"/>
              <a:gd name="connsiteY23" fmla="*/ 2893495 h 6046908"/>
              <a:gd name="connsiteX24" fmla="*/ 320986 w 4527226"/>
              <a:gd name="connsiteY24" fmla="*/ 2846508 h 6046908"/>
              <a:gd name="connsiteX25" fmla="*/ 328606 w 4527226"/>
              <a:gd name="connsiteY25" fmla="*/ 2793168 h 6046908"/>
              <a:gd name="connsiteX26" fmla="*/ 313366 w 4527226"/>
              <a:gd name="connsiteY26" fmla="*/ 2732208 h 6046908"/>
              <a:gd name="connsiteX27" fmla="*/ 267646 w 4527226"/>
              <a:gd name="connsiteY27" fmla="*/ 2671248 h 6046908"/>
              <a:gd name="connsiteX28" fmla="*/ 176206 w 4527226"/>
              <a:gd name="connsiteY28" fmla="*/ 2656008 h 6046908"/>
              <a:gd name="connsiteX29" fmla="*/ 54286 w 4527226"/>
              <a:gd name="connsiteY29" fmla="*/ 2610288 h 6046908"/>
              <a:gd name="connsiteX30" fmla="*/ 7931 w 4527226"/>
              <a:gd name="connsiteY30" fmla="*/ 2563298 h 6046908"/>
              <a:gd name="connsiteX31" fmla="*/ 8566 w 4527226"/>
              <a:gd name="connsiteY31" fmla="*/ 2488368 h 6046908"/>
              <a:gd name="connsiteX32" fmla="*/ 92386 w 4527226"/>
              <a:gd name="connsiteY32" fmla="*/ 2335968 h 6046908"/>
              <a:gd name="connsiteX33" fmla="*/ 221926 w 4527226"/>
              <a:gd name="connsiteY33" fmla="*/ 2175948 h 6046908"/>
              <a:gd name="connsiteX34" fmla="*/ 282886 w 4527226"/>
              <a:gd name="connsiteY34" fmla="*/ 2084508 h 6046908"/>
              <a:gd name="connsiteX35" fmla="*/ 328606 w 4527226"/>
              <a:gd name="connsiteY35" fmla="*/ 1977828 h 6046908"/>
              <a:gd name="connsiteX36" fmla="*/ 359086 w 4527226"/>
              <a:gd name="connsiteY36" fmla="*/ 1871148 h 6046908"/>
              <a:gd name="connsiteX37" fmla="*/ 374326 w 4527226"/>
              <a:gd name="connsiteY37" fmla="*/ 1810188 h 6046908"/>
              <a:gd name="connsiteX38" fmla="*/ 343846 w 4527226"/>
              <a:gd name="connsiteY38" fmla="*/ 1756848 h 6046908"/>
              <a:gd name="connsiteX39" fmla="*/ 328606 w 4527226"/>
              <a:gd name="connsiteY39" fmla="*/ 1680648 h 6046908"/>
              <a:gd name="connsiteX40" fmla="*/ 412426 w 4527226"/>
              <a:gd name="connsiteY40" fmla="*/ 1474908 h 6046908"/>
              <a:gd name="connsiteX41" fmla="*/ 442906 w 4527226"/>
              <a:gd name="connsiteY41" fmla="*/ 1307268 h 6046908"/>
              <a:gd name="connsiteX42" fmla="*/ 465766 w 4527226"/>
              <a:gd name="connsiteY42" fmla="*/ 1192968 h 6046908"/>
              <a:gd name="connsiteX43" fmla="*/ 503866 w 4527226"/>
              <a:gd name="connsiteY43" fmla="*/ 1055808 h 6046908"/>
              <a:gd name="connsiteX44" fmla="*/ 557206 w 4527226"/>
              <a:gd name="connsiteY44" fmla="*/ 888168 h 6046908"/>
              <a:gd name="connsiteX45" fmla="*/ 503866 w 4527226"/>
              <a:gd name="connsiteY45" fmla="*/ 888168 h 6046908"/>
              <a:gd name="connsiteX46" fmla="*/ 412426 w 4527226"/>
              <a:gd name="connsiteY46" fmla="*/ 834828 h 6046908"/>
              <a:gd name="connsiteX47" fmla="*/ 328606 w 4527226"/>
              <a:gd name="connsiteY47" fmla="*/ 789108 h 6046908"/>
              <a:gd name="connsiteX48" fmla="*/ 260026 w 4527226"/>
              <a:gd name="connsiteY48" fmla="*/ 773868 h 6046908"/>
              <a:gd name="connsiteX49" fmla="*/ 214306 w 4527226"/>
              <a:gd name="connsiteY49" fmla="*/ 751008 h 6046908"/>
              <a:gd name="connsiteX50" fmla="*/ 260026 w 4527226"/>
              <a:gd name="connsiteY50" fmla="*/ 674808 h 6046908"/>
              <a:gd name="connsiteX51" fmla="*/ 374326 w 4527226"/>
              <a:gd name="connsiteY51" fmla="*/ 606228 h 6046908"/>
              <a:gd name="connsiteX52" fmla="*/ 557206 w 4527226"/>
              <a:gd name="connsiteY52" fmla="*/ 507168 h 6046908"/>
              <a:gd name="connsiteX53" fmla="*/ 656266 w 4527226"/>
              <a:gd name="connsiteY53" fmla="*/ 423348 h 6046908"/>
              <a:gd name="connsiteX54" fmla="*/ 892486 w 4527226"/>
              <a:gd name="connsiteY54" fmla="*/ 232848 h 6046908"/>
              <a:gd name="connsiteX55" fmla="*/ 1174426 w 4527226"/>
              <a:gd name="connsiteY55" fmla="*/ 80448 h 6046908"/>
              <a:gd name="connsiteX56" fmla="*/ 1593526 w 4527226"/>
              <a:gd name="connsiteY56" fmla="*/ 11868 h 6046908"/>
              <a:gd name="connsiteX57" fmla="*/ 1944046 w 4527226"/>
              <a:gd name="connsiteY57" fmla="*/ 4248 h 6046908"/>
              <a:gd name="connsiteX58" fmla="*/ 2172646 w 4527226"/>
              <a:gd name="connsiteY58" fmla="*/ 4248 h 6046908"/>
              <a:gd name="connsiteX59" fmla="*/ 2393626 w 4527226"/>
              <a:gd name="connsiteY59" fmla="*/ 57588 h 6046908"/>
              <a:gd name="connsiteX60" fmla="*/ 2667946 w 4527226"/>
              <a:gd name="connsiteY60" fmla="*/ 133788 h 6046908"/>
              <a:gd name="connsiteX61" fmla="*/ 2820346 w 4527226"/>
              <a:gd name="connsiteY61" fmla="*/ 202368 h 6046908"/>
              <a:gd name="connsiteX62" fmla="*/ 3102286 w 4527226"/>
              <a:gd name="connsiteY62" fmla="*/ 400488 h 6046908"/>
              <a:gd name="connsiteX63" fmla="*/ 3285166 w 4527226"/>
              <a:gd name="connsiteY63" fmla="*/ 651948 h 6046908"/>
              <a:gd name="connsiteX64" fmla="*/ 3407086 w 4527226"/>
              <a:gd name="connsiteY64" fmla="*/ 918648 h 6046908"/>
              <a:gd name="connsiteX65" fmla="*/ 3475666 w 4527226"/>
              <a:gd name="connsiteY65" fmla="*/ 1238688 h 6046908"/>
              <a:gd name="connsiteX66" fmla="*/ 3506146 w 4527226"/>
              <a:gd name="connsiteY66" fmla="*/ 1543488 h 6046908"/>
              <a:gd name="connsiteX67" fmla="*/ 3506146 w 4527226"/>
              <a:gd name="connsiteY67" fmla="*/ 1962588 h 6046908"/>
              <a:gd name="connsiteX68" fmla="*/ 3338506 w 4527226"/>
              <a:gd name="connsiteY68" fmla="*/ 2305488 h 6046908"/>
              <a:gd name="connsiteX69" fmla="*/ 3254686 w 4527226"/>
              <a:gd name="connsiteY69" fmla="*/ 2473128 h 6046908"/>
              <a:gd name="connsiteX70" fmla="*/ 3132766 w 4527226"/>
              <a:gd name="connsiteY70" fmla="*/ 2663628 h 6046908"/>
              <a:gd name="connsiteX71" fmla="*/ 3071806 w 4527226"/>
              <a:gd name="connsiteY71" fmla="*/ 2838888 h 6046908"/>
              <a:gd name="connsiteX72" fmla="*/ 3064186 w 4527226"/>
              <a:gd name="connsiteY72" fmla="*/ 2915088 h 6046908"/>
              <a:gd name="connsiteX73" fmla="*/ 3018466 w 4527226"/>
              <a:gd name="connsiteY73" fmla="*/ 3014148 h 6046908"/>
              <a:gd name="connsiteX74" fmla="*/ 2980366 w 4527226"/>
              <a:gd name="connsiteY74" fmla="*/ 3082728 h 6046908"/>
              <a:gd name="connsiteX75" fmla="*/ 2957506 w 4527226"/>
              <a:gd name="connsiteY75" fmla="*/ 3120828 h 6046908"/>
              <a:gd name="connsiteX76" fmla="*/ 2957506 w 4527226"/>
              <a:gd name="connsiteY76" fmla="*/ 3555168 h 6046908"/>
              <a:gd name="connsiteX77" fmla="*/ 3010846 w 4527226"/>
              <a:gd name="connsiteY77" fmla="*/ 3539928 h 6046908"/>
              <a:gd name="connsiteX78" fmla="*/ 3109906 w 4527226"/>
              <a:gd name="connsiteY78" fmla="*/ 3570408 h 6046908"/>
              <a:gd name="connsiteX79" fmla="*/ 3140386 w 4527226"/>
              <a:gd name="connsiteY79" fmla="*/ 3631368 h 6046908"/>
              <a:gd name="connsiteX80" fmla="*/ 3117526 w 4527226"/>
              <a:gd name="connsiteY80" fmla="*/ 3738048 h 6046908"/>
              <a:gd name="connsiteX81" fmla="*/ 3125146 w 4527226"/>
              <a:gd name="connsiteY81" fmla="*/ 4103808 h 6046908"/>
              <a:gd name="connsiteX82" fmla="*/ 3163246 w 4527226"/>
              <a:gd name="connsiteY82" fmla="*/ 4157148 h 6046908"/>
              <a:gd name="connsiteX83" fmla="*/ 3201346 w 4527226"/>
              <a:gd name="connsiteY83" fmla="*/ 4164768 h 6046908"/>
              <a:gd name="connsiteX84" fmla="*/ 3231826 w 4527226"/>
              <a:gd name="connsiteY84" fmla="*/ 4172388 h 6046908"/>
              <a:gd name="connsiteX85" fmla="*/ 3285166 w 4527226"/>
              <a:gd name="connsiteY85" fmla="*/ 4294308 h 6046908"/>
              <a:gd name="connsiteX86" fmla="*/ 3300406 w 4527226"/>
              <a:gd name="connsiteY86" fmla="*/ 4347648 h 6046908"/>
              <a:gd name="connsiteX87" fmla="*/ 3330886 w 4527226"/>
              <a:gd name="connsiteY87" fmla="*/ 4408608 h 6046908"/>
              <a:gd name="connsiteX88" fmla="*/ 3551866 w 4527226"/>
              <a:gd name="connsiteY88" fmla="*/ 4644828 h 6046908"/>
              <a:gd name="connsiteX89" fmla="*/ 3887146 w 4527226"/>
              <a:gd name="connsiteY89" fmla="*/ 5025828 h 6046908"/>
              <a:gd name="connsiteX90" fmla="*/ 4100506 w 4527226"/>
              <a:gd name="connsiteY90" fmla="*/ 5300148 h 6046908"/>
              <a:gd name="connsiteX91" fmla="*/ 4367206 w 4527226"/>
              <a:gd name="connsiteY91" fmla="*/ 5726868 h 6046908"/>
              <a:gd name="connsiteX92" fmla="*/ 4527226 w 4527226"/>
              <a:gd name="connsiteY92" fmla="*/ 6046908 h 6046908"/>
              <a:gd name="connsiteX0" fmla="*/ 701986 w 4527226"/>
              <a:gd name="connsiteY0" fmla="*/ 5002968 h 6046908"/>
              <a:gd name="connsiteX1" fmla="*/ 961066 w 4527226"/>
              <a:gd name="connsiteY1" fmla="*/ 4644828 h 6046908"/>
              <a:gd name="connsiteX2" fmla="*/ 1342066 w 4527226"/>
              <a:gd name="connsiteY2" fmla="*/ 4172388 h 6046908"/>
              <a:gd name="connsiteX3" fmla="*/ 1258246 w 4527226"/>
              <a:gd name="connsiteY3" fmla="*/ 4012368 h 6046908"/>
              <a:gd name="connsiteX4" fmla="*/ 1204906 w 4527226"/>
              <a:gd name="connsiteY4" fmla="*/ 3928548 h 6046908"/>
              <a:gd name="connsiteX5" fmla="*/ 1174426 w 4527226"/>
              <a:gd name="connsiteY5" fmla="*/ 3768528 h 6046908"/>
              <a:gd name="connsiteX6" fmla="*/ 1151566 w 4527226"/>
              <a:gd name="connsiteY6" fmla="*/ 3699948 h 6046908"/>
              <a:gd name="connsiteX7" fmla="*/ 1143946 w 4527226"/>
              <a:gd name="connsiteY7" fmla="*/ 3669468 h 6046908"/>
              <a:gd name="connsiteX8" fmla="*/ 1067746 w 4527226"/>
              <a:gd name="connsiteY8" fmla="*/ 3661848 h 6046908"/>
              <a:gd name="connsiteX9" fmla="*/ 938206 w 4527226"/>
              <a:gd name="connsiteY9" fmla="*/ 3669468 h 6046908"/>
              <a:gd name="connsiteX10" fmla="*/ 831526 w 4527226"/>
              <a:gd name="connsiteY10" fmla="*/ 3692328 h 6046908"/>
              <a:gd name="connsiteX11" fmla="*/ 610546 w 4527226"/>
              <a:gd name="connsiteY11" fmla="*/ 3738048 h 6046908"/>
              <a:gd name="connsiteX12" fmla="*/ 389566 w 4527226"/>
              <a:gd name="connsiteY12" fmla="*/ 3638988 h 6046908"/>
              <a:gd name="connsiteX13" fmla="*/ 381946 w 4527226"/>
              <a:gd name="connsiteY13" fmla="*/ 3326568 h 6046908"/>
              <a:gd name="connsiteX14" fmla="*/ 420046 w 4527226"/>
              <a:gd name="connsiteY14" fmla="*/ 3227508 h 6046908"/>
              <a:gd name="connsiteX15" fmla="*/ 389566 w 4527226"/>
              <a:gd name="connsiteY15" fmla="*/ 3166548 h 6046908"/>
              <a:gd name="connsiteX16" fmla="*/ 351466 w 4527226"/>
              <a:gd name="connsiteY16" fmla="*/ 3105588 h 6046908"/>
              <a:gd name="connsiteX17" fmla="*/ 397186 w 4527226"/>
              <a:gd name="connsiteY17" fmla="*/ 3021768 h 6046908"/>
              <a:gd name="connsiteX18" fmla="*/ 488626 w 4527226"/>
              <a:gd name="connsiteY18" fmla="*/ 2998908 h 6046908"/>
              <a:gd name="connsiteX19" fmla="*/ 471956 w 4527226"/>
              <a:gd name="connsiteY19" fmla="*/ 2942709 h 6046908"/>
              <a:gd name="connsiteX20" fmla="*/ 435286 w 4527226"/>
              <a:gd name="connsiteY20" fmla="*/ 2930328 h 6046908"/>
              <a:gd name="connsiteX21" fmla="*/ 389566 w 4527226"/>
              <a:gd name="connsiteY21" fmla="*/ 2930328 h 6046908"/>
              <a:gd name="connsiteX22" fmla="*/ 314000 w 4527226"/>
              <a:gd name="connsiteY22" fmla="*/ 2893495 h 6046908"/>
              <a:gd name="connsiteX23" fmla="*/ 320986 w 4527226"/>
              <a:gd name="connsiteY23" fmla="*/ 2846508 h 6046908"/>
              <a:gd name="connsiteX24" fmla="*/ 328606 w 4527226"/>
              <a:gd name="connsiteY24" fmla="*/ 2793168 h 6046908"/>
              <a:gd name="connsiteX25" fmla="*/ 313366 w 4527226"/>
              <a:gd name="connsiteY25" fmla="*/ 2732208 h 6046908"/>
              <a:gd name="connsiteX26" fmla="*/ 267646 w 4527226"/>
              <a:gd name="connsiteY26" fmla="*/ 2671248 h 6046908"/>
              <a:gd name="connsiteX27" fmla="*/ 176206 w 4527226"/>
              <a:gd name="connsiteY27" fmla="*/ 2656008 h 6046908"/>
              <a:gd name="connsiteX28" fmla="*/ 54286 w 4527226"/>
              <a:gd name="connsiteY28" fmla="*/ 2610288 h 6046908"/>
              <a:gd name="connsiteX29" fmla="*/ 7931 w 4527226"/>
              <a:gd name="connsiteY29" fmla="*/ 2563298 h 6046908"/>
              <a:gd name="connsiteX30" fmla="*/ 8566 w 4527226"/>
              <a:gd name="connsiteY30" fmla="*/ 2488368 h 6046908"/>
              <a:gd name="connsiteX31" fmla="*/ 92386 w 4527226"/>
              <a:gd name="connsiteY31" fmla="*/ 2335968 h 6046908"/>
              <a:gd name="connsiteX32" fmla="*/ 221926 w 4527226"/>
              <a:gd name="connsiteY32" fmla="*/ 2175948 h 6046908"/>
              <a:gd name="connsiteX33" fmla="*/ 282886 w 4527226"/>
              <a:gd name="connsiteY33" fmla="*/ 2084508 h 6046908"/>
              <a:gd name="connsiteX34" fmla="*/ 328606 w 4527226"/>
              <a:gd name="connsiteY34" fmla="*/ 1977828 h 6046908"/>
              <a:gd name="connsiteX35" fmla="*/ 359086 w 4527226"/>
              <a:gd name="connsiteY35" fmla="*/ 1871148 h 6046908"/>
              <a:gd name="connsiteX36" fmla="*/ 374326 w 4527226"/>
              <a:gd name="connsiteY36" fmla="*/ 1810188 h 6046908"/>
              <a:gd name="connsiteX37" fmla="*/ 343846 w 4527226"/>
              <a:gd name="connsiteY37" fmla="*/ 1756848 h 6046908"/>
              <a:gd name="connsiteX38" fmla="*/ 328606 w 4527226"/>
              <a:gd name="connsiteY38" fmla="*/ 1680648 h 6046908"/>
              <a:gd name="connsiteX39" fmla="*/ 412426 w 4527226"/>
              <a:gd name="connsiteY39" fmla="*/ 1474908 h 6046908"/>
              <a:gd name="connsiteX40" fmla="*/ 442906 w 4527226"/>
              <a:gd name="connsiteY40" fmla="*/ 1307268 h 6046908"/>
              <a:gd name="connsiteX41" fmla="*/ 465766 w 4527226"/>
              <a:gd name="connsiteY41" fmla="*/ 1192968 h 6046908"/>
              <a:gd name="connsiteX42" fmla="*/ 503866 w 4527226"/>
              <a:gd name="connsiteY42" fmla="*/ 1055808 h 6046908"/>
              <a:gd name="connsiteX43" fmla="*/ 557206 w 4527226"/>
              <a:gd name="connsiteY43" fmla="*/ 888168 h 6046908"/>
              <a:gd name="connsiteX44" fmla="*/ 503866 w 4527226"/>
              <a:gd name="connsiteY44" fmla="*/ 888168 h 6046908"/>
              <a:gd name="connsiteX45" fmla="*/ 412426 w 4527226"/>
              <a:gd name="connsiteY45" fmla="*/ 834828 h 6046908"/>
              <a:gd name="connsiteX46" fmla="*/ 328606 w 4527226"/>
              <a:gd name="connsiteY46" fmla="*/ 789108 h 6046908"/>
              <a:gd name="connsiteX47" fmla="*/ 260026 w 4527226"/>
              <a:gd name="connsiteY47" fmla="*/ 773868 h 6046908"/>
              <a:gd name="connsiteX48" fmla="*/ 214306 w 4527226"/>
              <a:gd name="connsiteY48" fmla="*/ 751008 h 6046908"/>
              <a:gd name="connsiteX49" fmla="*/ 260026 w 4527226"/>
              <a:gd name="connsiteY49" fmla="*/ 674808 h 6046908"/>
              <a:gd name="connsiteX50" fmla="*/ 374326 w 4527226"/>
              <a:gd name="connsiteY50" fmla="*/ 606228 h 6046908"/>
              <a:gd name="connsiteX51" fmla="*/ 557206 w 4527226"/>
              <a:gd name="connsiteY51" fmla="*/ 507168 h 6046908"/>
              <a:gd name="connsiteX52" fmla="*/ 656266 w 4527226"/>
              <a:gd name="connsiteY52" fmla="*/ 423348 h 6046908"/>
              <a:gd name="connsiteX53" fmla="*/ 892486 w 4527226"/>
              <a:gd name="connsiteY53" fmla="*/ 232848 h 6046908"/>
              <a:gd name="connsiteX54" fmla="*/ 1174426 w 4527226"/>
              <a:gd name="connsiteY54" fmla="*/ 80448 h 6046908"/>
              <a:gd name="connsiteX55" fmla="*/ 1593526 w 4527226"/>
              <a:gd name="connsiteY55" fmla="*/ 11868 h 6046908"/>
              <a:gd name="connsiteX56" fmla="*/ 1944046 w 4527226"/>
              <a:gd name="connsiteY56" fmla="*/ 4248 h 6046908"/>
              <a:gd name="connsiteX57" fmla="*/ 2172646 w 4527226"/>
              <a:gd name="connsiteY57" fmla="*/ 4248 h 6046908"/>
              <a:gd name="connsiteX58" fmla="*/ 2393626 w 4527226"/>
              <a:gd name="connsiteY58" fmla="*/ 57588 h 6046908"/>
              <a:gd name="connsiteX59" fmla="*/ 2667946 w 4527226"/>
              <a:gd name="connsiteY59" fmla="*/ 133788 h 6046908"/>
              <a:gd name="connsiteX60" fmla="*/ 2820346 w 4527226"/>
              <a:gd name="connsiteY60" fmla="*/ 202368 h 6046908"/>
              <a:gd name="connsiteX61" fmla="*/ 3102286 w 4527226"/>
              <a:gd name="connsiteY61" fmla="*/ 400488 h 6046908"/>
              <a:gd name="connsiteX62" fmla="*/ 3285166 w 4527226"/>
              <a:gd name="connsiteY62" fmla="*/ 651948 h 6046908"/>
              <a:gd name="connsiteX63" fmla="*/ 3407086 w 4527226"/>
              <a:gd name="connsiteY63" fmla="*/ 918648 h 6046908"/>
              <a:gd name="connsiteX64" fmla="*/ 3475666 w 4527226"/>
              <a:gd name="connsiteY64" fmla="*/ 1238688 h 6046908"/>
              <a:gd name="connsiteX65" fmla="*/ 3506146 w 4527226"/>
              <a:gd name="connsiteY65" fmla="*/ 1543488 h 6046908"/>
              <a:gd name="connsiteX66" fmla="*/ 3506146 w 4527226"/>
              <a:gd name="connsiteY66" fmla="*/ 1962588 h 6046908"/>
              <a:gd name="connsiteX67" fmla="*/ 3338506 w 4527226"/>
              <a:gd name="connsiteY67" fmla="*/ 2305488 h 6046908"/>
              <a:gd name="connsiteX68" fmla="*/ 3254686 w 4527226"/>
              <a:gd name="connsiteY68" fmla="*/ 2473128 h 6046908"/>
              <a:gd name="connsiteX69" fmla="*/ 3132766 w 4527226"/>
              <a:gd name="connsiteY69" fmla="*/ 2663628 h 6046908"/>
              <a:gd name="connsiteX70" fmla="*/ 3071806 w 4527226"/>
              <a:gd name="connsiteY70" fmla="*/ 2838888 h 6046908"/>
              <a:gd name="connsiteX71" fmla="*/ 3064186 w 4527226"/>
              <a:gd name="connsiteY71" fmla="*/ 2915088 h 6046908"/>
              <a:gd name="connsiteX72" fmla="*/ 3018466 w 4527226"/>
              <a:gd name="connsiteY72" fmla="*/ 3014148 h 6046908"/>
              <a:gd name="connsiteX73" fmla="*/ 2980366 w 4527226"/>
              <a:gd name="connsiteY73" fmla="*/ 3082728 h 6046908"/>
              <a:gd name="connsiteX74" fmla="*/ 2957506 w 4527226"/>
              <a:gd name="connsiteY74" fmla="*/ 3120828 h 6046908"/>
              <a:gd name="connsiteX75" fmla="*/ 2957506 w 4527226"/>
              <a:gd name="connsiteY75" fmla="*/ 3555168 h 6046908"/>
              <a:gd name="connsiteX76" fmla="*/ 3010846 w 4527226"/>
              <a:gd name="connsiteY76" fmla="*/ 3539928 h 6046908"/>
              <a:gd name="connsiteX77" fmla="*/ 3109906 w 4527226"/>
              <a:gd name="connsiteY77" fmla="*/ 3570408 h 6046908"/>
              <a:gd name="connsiteX78" fmla="*/ 3140386 w 4527226"/>
              <a:gd name="connsiteY78" fmla="*/ 3631368 h 6046908"/>
              <a:gd name="connsiteX79" fmla="*/ 3117526 w 4527226"/>
              <a:gd name="connsiteY79" fmla="*/ 3738048 h 6046908"/>
              <a:gd name="connsiteX80" fmla="*/ 3125146 w 4527226"/>
              <a:gd name="connsiteY80" fmla="*/ 4103808 h 6046908"/>
              <a:gd name="connsiteX81" fmla="*/ 3163246 w 4527226"/>
              <a:gd name="connsiteY81" fmla="*/ 4157148 h 6046908"/>
              <a:gd name="connsiteX82" fmla="*/ 3201346 w 4527226"/>
              <a:gd name="connsiteY82" fmla="*/ 4164768 h 6046908"/>
              <a:gd name="connsiteX83" fmla="*/ 3231826 w 4527226"/>
              <a:gd name="connsiteY83" fmla="*/ 4172388 h 6046908"/>
              <a:gd name="connsiteX84" fmla="*/ 3285166 w 4527226"/>
              <a:gd name="connsiteY84" fmla="*/ 4294308 h 6046908"/>
              <a:gd name="connsiteX85" fmla="*/ 3300406 w 4527226"/>
              <a:gd name="connsiteY85" fmla="*/ 4347648 h 6046908"/>
              <a:gd name="connsiteX86" fmla="*/ 3330886 w 4527226"/>
              <a:gd name="connsiteY86" fmla="*/ 4408608 h 6046908"/>
              <a:gd name="connsiteX87" fmla="*/ 3551866 w 4527226"/>
              <a:gd name="connsiteY87" fmla="*/ 4644828 h 6046908"/>
              <a:gd name="connsiteX88" fmla="*/ 3887146 w 4527226"/>
              <a:gd name="connsiteY88" fmla="*/ 5025828 h 6046908"/>
              <a:gd name="connsiteX89" fmla="*/ 4100506 w 4527226"/>
              <a:gd name="connsiteY89" fmla="*/ 5300148 h 6046908"/>
              <a:gd name="connsiteX90" fmla="*/ 4367206 w 4527226"/>
              <a:gd name="connsiteY90" fmla="*/ 5726868 h 6046908"/>
              <a:gd name="connsiteX91" fmla="*/ 4527226 w 4527226"/>
              <a:gd name="connsiteY91" fmla="*/ 6046908 h 6046908"/>
              <a:gd name="connsiteX0" fmla="*/ 707488 w 4527226"/>
              <a:gd name="connsiteY0" fmla="*/ 5008470 h 6046908"/>
              <a:gd name="connsiteX1" fmla="*/ 961066 w 4527226"/>
              <a:gd name="connsiteY1" fmla="*/ 4644828 h 6046908"/>
              <a:gd name="connsiteX2" fmla="*/ 1342066 w 4527226"/>
              <a:gd name="connsiteY2" fmla="*/ 4172388 h 6046908"/>
              <a:gd name="connsiteX3" fmla="*/ 1258246 w 4527226"/>
              <a:gd name="connsiteY3" fmla="*/ 4012368 h 6046908"/>
              <a:gd name="connsiteX4" fmla="*/ 1204906 w 4527226"/>
              <a:gd name="connsiteY4" fmla="*/ 3928548 h 6046908"/>
              <a:gd name="connsiteX5" fmla="*/ 1174426 w 4527226"/>
              <a:gd name="connsiteY5" fmla="*/ 3768528 h 6046908"/>
              <a:gd name="connsiteX6" fmla="*/ 1151566 w 4527226"/>
              <a:gd name="connsiteY6" fmla="*/ 3699948 h 6046908"/>
              <a:gd name="connsiteX7" fmla="*/ 1143946 w 4527226"/>
              <a:gd name="connsiteY7" fmla="*/ 3669468 h 6046908"/>
              <a:gd name="connsiteX8" fmla="*/ 1067746 w 4527226"/>
              <a:gd name="connsiteY8" fmla="*/ 3661848 h 6046908"/>
              <a:gd name="connsiteX9" fmla="*/ 938206 w 4527226"/>
              <a:gd name="connsiteY9" fmla="*/ 3669468 h 6046908"/>
              <a:gd name="connsiteX10" fmla="*/ 831526 w 4527226"/>
              <a:gd name="connsiteY10" fmla="*/ 3692328 h 6046908"/>
              <a:gd name="connsiteX11" fmla="*/ 610546 w 4527226"/>
              <a:gd name="connsiteY11" fmla="*/ 3738048 h 6046908"/>
              <a:gd name="connsiteX12" fmla="*/ 389566 w 4527226"/>
              <a:gd name="connsiteY12" fmla="*/ 3638988 h 6046908"/>
              <a:gd name="connsiteX13" fmla="*/ 381946 w 4527226"/>
              <a:gd name="connsiteY13" fmla="*/ 3326568 h 6046908"/>
              <a:gd name="connsiteX14" fmla="*/ 420046 w 4527226"/>
              <a:gd name="connsiteY14" fmla="*/ 3227508 h 6046908"/>
              <a:gd name="connsiteX15" fmla="*/ 389566 w 4527226"/>
              <a:gd name="connsiteY15" fmla="*/ 3166548 h 6046908"/>
              <a:gd name="connsiteX16" fmla="*/ 351466 w 4527226"/>
              <a:gd name="connsiteY16" fmla="*/ 3105588 h 6046908"/>
              <a:gd name="connsiteX17" fmla="*/ 397186 w 4527226"/>
              <a:gd name="connsiteY17" fmla="*/ 3021768 h 6046908"/>
              <a:gd name="connsiteX18" fmla="*/ 488626 w 4527226"/>
              <a:gd name="connsiteY18" fmla="*/ 2998908 h 6046908"/>
              <a:gd name="connsiteX19" fmla="*/ 471956 w 4527226"/>
              <a:gd name="connsiteY19" fmla="*/ 2942709 h 6046908"/>
              <a:gd name="connsiteX20" fmla="*/ 435286 w 4527226"/>
              <a:gd name="connsiteY20" fmla="*/ 2930328 h 6046908"/>
              <a:gd name="connsiteX21" fmla="*/ 389566 w 4527226"/>
              <a:gd name="connsiteY21" fmla="*/ 2930328 h 6046908"/>
              <a:gd name="connsiteX22" fmla="*/ 314000 w 4527226"/>
              <a:gd name="connsiteY22" fmla="*/ 2893495 h 6046908"/>
              <a:gd name="connsiteX23" fmla="*/ 320986 w 4527226"/>
              <a:gd name="connsiteY23" fmla="*/ 2846508 h 6046908"/>
              <a:gd name="connsiteX24" fmla="*/ 328606 w 4527226"/>
              <a:gd name="connsiteY24" fmla="*/ 2793168 h 6046908"/>
              <a:gd name="connsiteX25" fmla="*/ 313366 w 4527226"/>
              <a:gd name="connsiteY25" fmla="*/ 2732208 h 6046908"/>
              <a:gd name="connsiteX26" fmla="*/ 267646 w 4527226"/>
              <a:gd name="connsiteY26" fmla="*/ 2671248 h 6046908"/>
              <a:gd name="connsiteX27" fmla="*/ 176206 w 4527226"/>
              <a:gd name="connsiteY27" fmla="*/ 2656008 h 6046908"/>
              <a:gd name="connsiteX28" fmla="*/ 54286 w 4527226"/>
              <a:gd name="connsiteY28" fmla="*/ 2610288 h 6046908"/>
              <a:gd name="connsiteX29" fmla="*/ 7931 w 4527226"/>
              <a:gd name="connsiteY29" fmla="*/ 2563298 h 6046908"/>
              <a:gd name="connsiteX30" fmla="*/ 8566 w 4527226"/>
              <a:gd name="connsiteY30" fmla="*/ 2488368 h 6046908"/>
              <a:gd name="connsiteX31" fmla="*/ 92386 w 4527226"/>
              <a:gd name="connsiteY31" fmla="*/ 2335968 h 6046908"/>
              <a:gd name="connsiteX32" fmla="*/ 221926 w 4527226"/>
              <a:gd name="connsiteY32" fmla="*/ 2175948 h 6046908"/>
              <a:gd name="connsiteX33" fmla="*/ 282886 w 4527226"/>
              <a:gd name="connsiteY33" fmla="*/ 2084508 h 6046908"/>
              <a:gd name="connsiteX34" fmla="*/ 328606 w 4527226"/>
              <a:gd name="connsiteY34" fmla="*/ 1977828 h 6046908"/>
              <a:gd name="connsiteX35" fmla="*/ 359086 w 4527226"/>
              <a:gd name="connsiteY35" fmla="*/ 1871148 h 6046908"/>
              <a:gd name="connsiteX36" fmla="*/ 374326 w 4527226"/>
              <a:gd name="connsiteY36" fmla="*/ 1810188 h 6046908"/>
              <a:gd name="connsiteX37" fmla="*/ 343846 w 4527226"/>
              <a:gd name="connsiteY37" fmla="*/ 1756848 h 6046908"/>
              <a:gd name="connsiteX38" fmla="*/ 328606 w 4527226"/>
              <a:gd name="connsiteY38" fmla="*/ 1680648 h 6046908"/>
              <a:gd name="connsiteX39" fmla="*/ 412426 w 4527226"/>
              <a:gd name="connsiteY39" fmla="*/ 1474908 h 6046908"/>
              <a:gd name="connsiteX40" fmla="*/ 442906 w 4527226"/>
              <a:gd name="connsiteY40" fmla="*/ 1307268 h 6046908"/>
              <a:gd name="connsiteX41" fmla="*/ 465766 w 4527226"/>
              <a:gd name="connsiteY41" fmla="*/ 1192968 h 6046908"/>
              <a:gd name="connsiteX42" fmla="*/ 503866 w 4527226"/>
              <a:gd name="connsiteY42" fmla="*/ 1055808 h 6046908"/>
              <a:gd name="connsiteX43" fmla="*/ 557206 w 4527226"/>
              <a:gd name="connsiteY43" fmla="*/ 888168 h 6046908"/>
              <a:gd name="connsiteX44" fmla="*/ 503866 w 4527226"/>
              <a:gd name="connsiteY44" fmla="*/ 888168 h 6046908"/>
              <a:gd name="connsiteX45" fmla="*/ 412426 w 4527226"/>
              <a:gd name="connsiteY45" fmla="*/ 834828 h 6046908"/>
              <a:gd name="connsiteX46" fmla="*/ 328606 w 4527226"/>
              <a:gd name="connsiteY46" fmla="*/ 789108 h 6046908"/>
              <a:gd name="connsiteX47" fmla="*/ 260026 w 4527226"/>
              <a:gd name="connsiteY47" fmla="*/ 773868 h 6046908"/>
              <a:gd name="connsiteX48" fmla="*/ 214306 w 4527226"/>
              <a:gd name="connsiteY48" fmla="*/ 751008 h 6046908"/>
              <a:gd name="connsiteX49" fmla="*/ 260026 w 4527226"/>
              <a:gd name="connsiteY49" fmla="*/ 674808 h 6046908"/>
              <a:gd name="connsiteX50" fmla="*/ 374326 w 4527226"/>
              <a:gd name="connsiteY50" fmla="*/ 606228 h 6046908"/>
              <a:gd name="connsiteX51" fmla="*/ 557206 w 4527226"/>
              <a:gd name="connsiteY51" fmla="*/ 507168 h 6046908"/>
              <a:gd name="connsiteX52" fmla="*/ 656266 w 4527226"/>
              <a:gd name="connsiteY52" fmla="*/ 423348 h 6046908"/>
              <a:gd name="connsiteX53" fmla="*/ 892486 w 4527226"/>
              <a:gd name="connsiteY53" fmla="*/ 232848 h 6046908"/>
              <a:gd name="connsiteX54" fmla="*/ 1174426 w 4527226"/>
              <a:gd name="connsiteY54" fmla="*/ 80448 h 6046908"/>
              <a:gd name="connsiteX55" fmla="*/ 1593526 w 4527226"/>
              <a:gd name="connsiteY55" fmla="*/ 11868 h 6046908"/>
              <a:gd name="connsiteX56" fmla="*/ 1944046 w 4527226"/>
              <a:gd name="connsiteY56" fmla="*/ 4248 h 6046908"/>
              <a:gd name="connsiteX57" fmla="*/ 2172646 w 4527226"/>
              <a:gd name="connsiteY57" fmla="*/ 4248 h 6046908"/>
              <a:gd name="connsiteX58" fmla="*/ 2393626 w 4527226"/>
              <a:gd name="connsiteY58" fmla="*/ 57588 h 6046908"/>
              <a:gd name="connsiteX59" fmla="*/ 2667946 w 4527226"/>
              <a:gd name="connsiteY59" fmla="*/ 133788 h 6046908"/>
              <a:gd name="connsiteX60" fmla="*/ 2820346 w 4527226"/>
              <a:gd name="connsiteY60" fmla="*/ 202368 h 6046908"/>
              <a:gd name="connsiteX61" fmla="*/ 3102286 w 4527226"/>
              <a:gd name="connsiteY61" fmla="*/ 400488 h 6046908"/>
              <a:gd name="connsiteX62" fmla="*/ 3285166 w 4527226"/>
              <a:gd name="connsiteY62" fmla="*/ 651948 h 6046908"/>
              <a:gd name="connsiteX63" fmla="*/ 3407086 w 4527226"/>
              <a:gd name="connsiteY63" fmla="*/ 918648 h 6046908"/>
              <a:gd name="connsiteX64" fmla="*/ 3475666 w 4527226"/>
              <a:gd name="connsiteY64" fmla="*/ 1238688 h 6046908"/>
              <a:gd name="connsiteX65" fmla="*/ 3506146 w 4527226"/>
              <a:gd name="connsiteY65" fmla="*/ 1543488 h 6046908"/>
              <a:gd name="connsiteX66" fmla="*/ 3506146 w 4527226"/>
              <a:gd name="connsiteY66" fmla="*/ 1962588 h 6046908"/>
              <a:gd name="connsiteX67" fmla="*/ 3338506 w 4527226"/>
              <a:gd name="connsiteY67" fmla="*/ 2305488 h 6046908"/>
              <a:gd name="connsiteX68" fmla="*/ 3254686 w 4527226"/>
              <a:gd name="connsiteY68" fmla="*/ 2473128 h 6046908"/>
              <a:gd name="connsiteX69" fmla="*/ 3132766 w 4527226"/>
              <a:gd name="connsiteY69" fmla="*/ 2663628 h 6046908"/>
              <a:gd name="connsiteX70" fmla="*/ 3071806 w 4527226"/>
              <a:gd name="connsiteY70" fmla="*/ 2838888 h 6046908"/>
              <a:gd name="connsiteX71" fmla="*/ 3064186 w 4527226"/>
              <a:gd name="connsiteY71" fmla="*/ 2915088 h 6046908"/>
              <a:gd name="connsiteX72" fmla="*/ 3018466 w 4527226"/>
              <a:gd name="connsiteY72" fmla="*/ 3014148 h 6046908"/>
              <a:gd name="connsiteX73" fmla="*/ 2980366 w 4527226"/>
              <a:gd name="connsiteY73" fmla="*/ 3082728 h 6046908"/>
              <a:gd name="connsiteX74" fmla="*/ 2957506 w 4527226"/>
              <a:gd name="connsiteY74" fmla="*/ 3120828 h 6046908"/>
              <a:gd name="connsiteX75" fmla="*/ 2957506 w 4527226"/>
              <a:gd name="connsiteY75" fmla="*/ 3555168 h 6046908"/>
              <a:gd name="connsiteX76" fmla="*/ 3010846 w 4527226"/>
              <a:gd name="connsiteY76" fmla="*/ 3539928 h 6046908"/>
              <a:gd name="connsiteX77" fmla="*/ 3109906 w 4527226"/>
              <a:gd name="connsiteY77" fmla="*/ 3570408 h 6046908"/>
              <a:gd name="connsiteX78" fmla="*/ 3140386 w 4527226"/>
              <a:gd name="connsiteY78" fmla="*/ 3631368 h 6046908"/>
              <a:gd name="connsiteX79" fmla="*/ 3117526 w 4527226"/>
              <a:gd name="connsiteY79" fmla="*/ 3738048 h 6046908"/>
              <a:gd name="connsiteX80" fmla="*/ 3125146 w 4527226"/>
              <a:gd name="connsiteY80" fmla="*/ 4103808 h 6046908"/>
              <a:gd name="connsiteX81" fmla="*/ 3163246 w 4527226"/>
              <a:gd name="connsiteY81" fmla="*/ 4157148 h 6046908"/>
              <a:gd name="connsiteX82" fmla="*/ 3201346 w 4527226"/>
              <a:gd name="connsiteY82" fmla="*/ 4164768 h 6046908"/>
              <a:gd name="connsiteX83" fmla="*/ 3231826 w 4527226"/>
              <a:gd name="connsiteY83" fmla="*/ 4172388 h 6046908"/>
              <a:gd name="connsiteX84" fmla="*/ 3285166 w 4527226"/>
              <a:gd name="connsiteY84" fmla="*/ 4294308 h 6046908"/>
              <a:gd name="connsiteX85" fmla="*/ 3300406 w 4527226"/>
              <a:gd name="connsiteY85" fmla="*/ 4347648 h 6046908"/>
              <a:gd name="connsiteX86" fmla="*/ 3330886 w 4527226"/>
              <a:gd name="connsiteY86" fmla="*/ 4408608 h 6046908"/>
              <a:gd name="connsiteX87" fmla="*/ 3551866 w 4527226"/>
              <a:gd name="connsiteY87" fmla="*/ 4644828 h 6046908"/>
              <a:gd name="connsiteX88" fmla="*/ 3887146 w 4527226"/>
              <a:gd name="connsiteY88" fmla="*/ 5025828 h 6046908"/>
              <a:gd name="connsiteX89" fmla="*/ 4100506 w 4527226"/>
              <a:gd name="connsiteY89" fmla="*/ 5300148 h 6046908"/>
              <a:gd name="connsiteX90" fmla="*/ 4367206 w 4527226"/>
              <a:gd name="connsiteY90" fmla="*/ 5726868 h 6046908"/>
              <a:gd name="connsiteX91" fmla="*/ 4527226 w 4527226"/>
              <a:gd name="connsiteY91" fmla="*/ 6046908 h 6046908"/>
              <a:gd name="connsiteX0" fmla="*/ 707488 w 4367206"/>
              <a:gd name="connsiteY0" fmla="*/ 5008470 h 5726868"/>
              <a:gd name="connsiteX1" fmla="*/ 961066 w 4367206"/>
              <a:gd name="connsiteY1" fmla="*/ 4644828 h 5726868"/>
              <a:gd name="connsiteX2" fmla="*/ 1342066 w 4367206"/>
              <a:gd name="connsiteY2" fmla="*/ 4172388 h 5726868"/>
              <a:gd name="connsiteX3" fmla="*/ 1258246 w 4367206"/>
              <a:gd name="connsiteY3" fmla="*/ 4012368 h 5726868"/>
              <a:gd name="connsiteX4" fmla="*/ 1204906 w 4367206"/>
              <a:gd name="connsiteY4" fmla="*/ 3928548 h 5726868"/>
              <a:gd name="connsiteX5" fmla="*/ 1174426 w 4367206"/>
              <a:gd name="connsiteY5" fmla="*/ 3768528 h 5726868"/>
              <a:gd name="connsiteX6" fmla="*/ 1151566 w 4367206"/>
              <a:gd name="connsiteY6" fmla="*/ 3699948 h 5726868"/>
              <a:gd name="connsiteX7" fmla="*/ 1143946 w 4367206"/>
              <a:gd name="connsiteY7" fmla="*/ 3669468 h 5726868"/>
              <a:gd name="connsiteX8" fmla="*/ 1067746 w 4367206"/>
              <a:gd name="connsiteY8" fmla="*/ 3661848 h 5726868"/>
              <a:gd name="connsiteX9" fmla="*/ 938206 w 4367206"/>
              <a:gd name="connsiteY9" fmla="*/ 3669468 h 5726868"/>
              <a:gd name="connsiteX10" fmla="*/ 831526 w 4367206"/>
              <a:gd name="connsiteY10" fmla="*/ 3692328 h 5726868"/>
              <a:gd name="connsiteX11" fmla="*/ 610546 w 4367206"/>
              <a:gd name="connsiteY11" fmla="*/ 3738048 h 5726868"/>
              <a:gd name="connsiteX12" fmla="*/ 389566 w 4367206"/>
              <a:gd name="connsiteY12" fmla="*/ 3638988 h 5726868"/>
              <a:gd name="connsiteX13" fmla="*/ 381946 w 4367206"/>
              <a:gd name="connsiteY13" fmla="*/ 3326568 h 5726868"/>
              <a:gd name="connsiteX14" fmla="*/ 420046 w 4367206"/>
              <a:gd name="connsiteY14" fmla="*/ 3227508 h 5726868"/>
              <a:gd name="connsiteX15" fmla="*/ 389566 w 4367206"/>
              <a:gd name="connsiteY15" fmla="*/ 3166548 h 5726868"/>
              <a:gd name="connsiteX16" fmla="*/ 351466 w 4367206"/>
              <a:gd name="connsiteY16" fmla="*/ 3105588 h 5726868"/>
              <a:gd name="connsiteX17" fmla="*/ 397186 w 4367206"/>
              <a:gd name="connsiteY17" fmla="*/ 3021768 h 5726868"/>
              <a:gd name="connsiteX18" fmla="*/ 488626 w 4367206"/>
              <a:gd name="connsiteY18" fmla="*/ 2998908 h 5726868"/>
              <a:gd name="connsiteX19" fmla="*/ 471956 w 4367206"/>
              <a:gd name="connsiteY19" fmla="*/ 2942709 h 5726868"/>
              <a:gd name="connsiteX20" fmla="*/ 435286 w 4367206"/>
              <a:gd name="connsiteY20" fmla="*/ 2930328 h 5726868"/>
              <a:gd name="connsiteX21" fmla="*/ 389566 w 4367206"/>
              <a:gd name="connsiteY21" fmla="*/ 2930328 h 5726868"/>
              <a:gd name="connsiteX22" fmla="*/ 314000 w 4367206"/>
              <a:gd name="connsiteY22" fmla="*/ 2893495 h 5726868"/>
              <a:gd name="connsiteX23" fmla="*/ 320986 w 4367206"/>
              <a:gd name="connsiteY23" fmla="*/ 2846508 h 5726868"/>
              <a:gd name="connsiteX24" fmla="*/ 328606 w 4367206"/>
              <a:gd name="connsiteY24" fmla="*/ 2793168 h 5726868"/>
              <a:gd name="connsiteX25" fmla="*/ 313366 w 4367206"/>
              <a:gd name="connsiteY25" fmla="*/ 2732208 h 5726868"/>
              <a:gd name="connsiteX26" fmla="*/ 267646 w 4367206"/>
              <a:gd name="connsiteY26" fmla="*/ 2671248 h 5726868"/>
              <a:gd name="connsiteX27" fmla="*/ 176206 w 4367206"/>
              <a:gd name="connsiteY27" fmla="*/ 2656008 h 5726868"/>
              <a:gd name="connsiteX28" fmla="*/ 54286 w 4367206"/>
              <a:gd name="connsiteY28" fmla="*/ 2610288 h 5726868"/>
              <a:gd name="connsiteX29" fmla="*/ 7931 w 4367206"/>
              <a:gd name="connsiteY29" fmla="*/ 2563298 h 5726868"/>
              <a:gd name="connsiteX30" fmla="*/ 8566 w 4367206"/>
              <a:gd name="connsiteY30" fmla="*/ 2488368 h 5726868"/>
              <a:gd name="connsiteX31" fmla="*/ 92386 w 4367206"/>
              <a:gd name="connsiteY31" fmla="*/ 2335968 h 5726868"/>
              <a:gd name="connsiteX32" fmla="*/ 221926 w 4367206"/>
              <a:gd name="connsiteY32" fmla="*/ 2175948 h 5726868"/>
              <a:gd name="connsiteX33" fmla="*/ 282886 w 4367206"/>
              <a:gd name="connsiteY33" fmla="*/ 2084508 h 5726868"/>
              <a:gd name="connsiteX34" fmla="*/ 328606 w 4367206"/>
              <a:gd name="connsiteY34" fmla="*/ 1977828 h 5726868"/>
              <a:gd name="connsiteX35" fmla="*/ 359086 w 4367206"/>
              <a:gd name="connsiteY35" fmla="*/ 1871148 h 5726868"/>
              <a:gd name="connsiteX36" fmla="*/ 374326 w 4367206"/>
              <a:gd name="connsiteY36" fmla="*/ 1810188 h 5726868"/>
              <a:gd name="connsiteX37" fmla="*/ 343846 w 4367206"/>
              <a:gd name="connsiteY37" fmla="*/ 1756848 h 5726868"/>
              <a:gd name="connsiteX38" fmla="*/ 328606 w 4367206"/>
              <a:gd name="connsiteY38" fmla="*/ 1680648 h 5726868"/>
              <a:gd name="connsiteX39" fmla="*/ 412426 w 4367206"/>
              <a:gd name="connsiteY39" fmla="*/ 1474908 h 5726868"/>
              <a:gd name="connsiteX40" fmla="*/ 442906 w 4367206"/>
              <a:gd name="connsiteY40" fmla="*/ 1307268 h 5726868"/>
              <a:gd name="connsiteX41" fmla="*/ 465766 w 4367206"/>
              <a:gd name="connsiteY41" fmla="*/ 1192968 h 5726868"/>
              <a:gd name="connsiteX42" fmla="*/ 503866 w 4367206"/>
              <a:gd name="connsiteY42" fmla="*/ 1055808 h 5726868"/>
              <a:gd name="connsiteX43" fmla="*/ 557206 w 4367206"/>
              <a:gd name="connsiteY43" fmla="*/ 888168 h 5726868"/>
              <a:gd name="connsiteX44" fmla="*/ 503866 w 4367206"/>
              <a:gd name="connsiteY44" fmla="*/ 888168 h 5726868"/>
              <a:gd name="connsiteX45" fmla="*/ 412426 w 4367206"/>
              <a:gd name="connsiteY45" fmla="*/ 834828 h 5726868"/>
              <a:gd name="connsiteX46" fmla="*/ 328606 w 4367206"/>
              <a:gd name="connsiteY46" fmla="*/ 789108 h 5726868"/>
              <a:gd name="connsiteX47" fmla="*/ 260026 w 4367206"/>
              <a:gd name="connsiteY47" fmla="*/ 773868 h 5726868"/>
              <a:gd name="connsiteX48" fmla="*/ 214306 w 4367206"/>
              <a:gd name="connsiteY48" fmla="*/ 751008 h 5726868"/>
              <a:gd name="connsiteX49" fmla="*/ 260026 w 4367206"/>
              <a:gd name="connsiteY49" fmla="*/ 674808 h 5726868"/>
              <a:gd name="connsiteX50" fmla="*/ 374326 w 4367206"/>
              <a:gd name="connsiteY50" fmla="*/ 606228 h 5726868"/>
              <a:gd name="connsiteX51" fmla="*/ 557206 w 4367206"/>
              <a:gd name="connsiteY51" fmla="*/ 507168 h 5726868"/>
              <a:gd name="connsiteX52" fmla="*/ 656266 w 4367206"/>
              <a:gd name="connsiteY52" fmla="*/ 423348 h 5726868"/>
              <a:gd name="connsiteX53" fmla="*/ 892486 w 4367206"/>
              <a:gd name="connsiteY53" fmla="*/ 232848 h 5726868"/>
              <a:gd name="connsiteX54" fmla="*/ 1174426 w 4367206"/>
              <a:gd name="connsiteY54" fmla="*/ 80448 h 5726868"/>
              <a:gd name="connsiteX55" fmla="*/ 1593526 w 4367206"/>
              <a:gd name="connsiteY55" fmla="*/ 11868 h 5726868"/>
              <a:gd name="connsiteX56" fmla="*/ 1944046 w 4367206"/>
              <a:gd name="connsiteY56" fmla="*/ 4248 h 5726868"/>
              <a:gd name="connsiteX57" fmla="*/ 2172646 w 4367206"/>
              <a:gd name="connsiteY57" fmla="*/ 4248 h 5726868"/>
              <a:gd name="connsiteX58" fmla="*/ 2393626 w 4367206"/>
              <a:gd name="connsiteY58" fmla="*/ 57588 h 5726868"/>
              <a:gd name="connsiteX59" fmla="*/ 2667946 w 4367206"/>
              <a:gd name="connsiteY59" fmla="*/ 133788 h 5726868"/>
              <a:gd name="connsiteX60" fmla="*/ 2820346 w 4367206"/>
              <a:gd name="connsiteY60" fmla="*/ 202368 h 5726868"/>
              <a:gd name="connsiteX61" fmla="*/ 3102286 w 4367206"/>
              <a:gd name="connsiteY61" fmla="*/ 400488 h 5726868"/>
              <a:gd name="connsiteX62" fmla="*/ 3285166 w 4367206"/>
              <a:gd name="connsiteY62" fmla="*/ 651948 h 5726868"/>
              <a:gd name="connsiteX63" fmla="*/ 3407086 w 4367206"/>
              <a:gd name="connsiteY63" fmla="*/ 918648 h 5726868"/>
              <a:gd name="connsiteX64" fmla="*/ 3475666 w 4367206"/>
              <a:gd name="connsiteY64" fmla="*/ 1238688 h 5726868"/>
              <a:gd name="connsiteX65" fmla="*/ 3506146 w 4367206"/>
              <a:gd name="connsiteY65" fmla="*/ 1543488 h 5726868"/>
              <a:gd name="connsiteX66" fmla="*/ 3506146 w 4367206"/>
              <a:gd name="connsiteY66" fmla="*/ 1962588 h 5726868"/>
              <a:gd name="connsiteX67" fmla="*/ 3338506 w 4367206"/>
              <a:gd name="connsiteY67" fmla="*/ 2305488 h 5726868"/>
              <a:gd name="connsiteX68" fmla="*/ 3254686 w 4367206"/>
              <a:gd name="connsiteY68" fmla="*/ 2473128 h 5726868"/>
              <a:gd name="connsiteX69" fmla="*/ 3132766 w 4367206"/>
              <a:gd name="connsiteY69" fmla="*/ 2663628 h 5726868"/>
              <a:gd name="connsiteX70" fmla="*/ 3071806 w 4367206"/>
              <a:gd name="connsiteY70" fmla="*/ 2838888 h 5726868"/>
              <a:gd name="connsiteX71" fmla="*/ 3064186 w 4367206"/>
              <a:gd name="connsiteY71" fmla="*/ 2915088 h 5726868"/>
              <a:gd name="connsiteX72" fmla="*/ 3018466 w 4367206"/>
              <a:gd name="connsiteY72" fmla="*/ 3014148 h 5726868"/>
              <a:gd name="connsiteX73" fmla="*/ 2980366 w 4367206"/>
              <a:gd name="connsiteY73" fmla="*/ 3082728 h 5726868"/>
              <a:gd name="connsiteX74" fmla="*/ 2957506 w 4367206"/>
              <a:gd name="connsiteY74" fmla="*/ 3120828 h 5726868"/>
              <a:gd name="connsiteX75" fmla="*/ 2957506 w 4367206"/>
              <a:gd name="connsiteY75" fmla="*/ 3555168 h 5726868"/>
              <a:gd name="connsiteX76" fmla="*/ 3010846 w 4367206"/>
              <a:gd name="connsiteY76" fmla="*/ 3539928 h 5726868"/>
              <a:gd name="connsiteX77" fmla="*/ 3109906 w 4367206"/>
              <a:gd name="connsiteY77" fmla="*/ 3570408 h 5726868"/>
              <a:gd name="connsiteX78" fmla="*/ 3140386 w 4367206"/>
              <a:gd name="connsiteY78" fmla="*/ 3631368 h 5726868"/>
              <a:gd name="connsiteX79" fmla="*/ 3117526 w 4367206"/>
              <a:gd name="connsiteY79" fmla="*/ 3738048 h 5726868"/>
              <a:gd name="connsiteX80" fmla="*/ 3125146 w 4367206"/>
              <a:gd name="connsiteY80" fmla="*/ 4103808 h 5726868"/>
              <a:gd name="connsiteX81" fmla="*/ 3163246 w 4367206"/>
              <a:gd name="connsiteY81" fmla="*/ 4157148 h 5726868"/>
              <a:gd name="connsiteX82" fmla="*/ 3201346 w 4367206"/>
              <a:gd name="connsiteY82" fmla="*/ 4164768 h 5726868"/>
              <a:gd name="connsiteX83" fmla="*/ 3231826 w 4367206"/>
              <a:gd name="connsiteY83" fmla="*/ 4172388 h 5726868"/>
              <a:gd name="connsiteX84" fmla="*/ 3285166 w 4367206"/>
              <a:gd name="connsiteY84" fmla="*/ 4294308 h 5726868"/>
              <a:gd name="connsiteX85" fmla="*/ 3300406 w 4367206"/>
              <a:gd name="connsiteY85" fmla="*/ 4347648 h 5726868"/>
              <a:gd name="connsiteX86" fmla="*/ 3330886 w 4367206"/>
              <a:gd name="connsiteY86" fmla="*/ 4408608 h 5726868"/>
              <a:gd name="connsiteX87" fmla="*/ 3551866 w 4367206"/>
              <a:gd name="connsiteY87" fmla="*/ 4644828 h 5726868"/>
              <a:gd name="connsiteX88" fmla="*/ 3887146 w 4367206"/>
              <a:gd name="connsiteY88" fmla="*/ 5025828 h 5726868"/>
              <a:gd name="connsiteX89" fmla="*/ 4100506 w 4367206"/>
              <a:gd name="connsiteY89" fmla="*/ 5300148 h 5726868"/>
              <a:gd name="connsiteX90" fmla="*/ 4367206 w 4367206"/>
              <a:gd name="connsiteY90" fmla="*/ 5726868 h 5726868"/>
              <a:gd name="connsiteX0" fmla="*/ 707488 w 4100506"/>
              <a:gd name="connsiteY0" fmla="*/ 5008470 h 5300148"/>
              <a:gd name="connsiteX1" fmla="*/ 961066 w 4100506"/>
              <a:gd name="connsiteY1" fmla="*/ 4644828 h 5300148"/>
              <a:gd name="connsiteX2" fmla="*/ 1342066 w 4100506"/>
              <a:gd name="connsiteY2" fmla="*/ 4172388 h 5300148"/>
              <a:gd name="connsiteX3" fmla="*/ 1258246 w 4100506"/>
              <a:gd name="connsiteY3" fmla="*/ 4012368 h 5300148"/>
              <a:gd name="connsiteX4" fmla="*/ 1204906 w 4100506"/>
              <a:gd name="connsiteY4" fmla="*/ 3928548 h 5300148"/>
              <a:gd name="connsiteX5" fmla="*/ 1174426 w 4100506"/>
              <a:gd name="connsiteY5" fmla="*/ 3768528 h 5300148"/>
              <a:gd name="connsiteX6" fmla="*/ 1151566 w 4100506"/>
              <a:gd name="connsiteY6" fmla="*/ 3699948 h 5300148"/>
              <a:gd name="connsiteX7" fmla="*/ 1143946 w 4100506"/>
              <a:gd name="connsiteY7" fmla="*/ 3669468 h 5300148"/>
              <a:gd name="connsiteX8" fmla="*/ 1067746 w 4100506"/>
              <a:gd name="connsiteY8" fmla="*/ 3661848 h 5300148"/>
              <a:gd name="connsiteX9" fmla="*/ 938206 w 4100506"/>
              <a:gd name="connsiteY9" fmla="*/ 3669468 h 5300148"/>
              <a:gd name="connsiteX10" fmla="*/ 831526 w 4100506"/>
              <a:gd name="connsiteY10" fmla="*/ 3692328 h 5300148"/>
              <a:gd name="connsiteX11" fmla="*/ 610546 w 4100506"/>
              <a:gd name="connsiteY11" fmla="*/ 3738048 h 5300148"/>
              <a:gd name="connsiteX12" fmla="*/ 389566 w 4100506"/>
              <a:gd name="connsiteY12" fmla="*/ 3638988 h 5300148"/>
              <a:gd name="connsiteX13" fmla="*/ 381946 w 4100506"/>
              <a:gd name="connsiteY13" fmla="*/ 3326568 h 5300148"/>
              <a:gd name="connsiteX14" fmla="*/ 420046 w 4100506"/>
              <a:gd name="connsiteY14" fmla="*/ 3227508 h 5300148"/>
              <a:gd name="connsiteX15" fmla="*/ 389566 w 4100506"/>
              <a:gd name="connsiteY15" fmla="*/ 3166548 h 5300148"/>
              <a:gd name="connsiteX16" fmla="*/ 351466 w 4100506"/>
              <a:gd name="connsiteY16" fmla="*/ 3105588 h 5300148"/>
              <a:gd name="connsiteX17" fmla="*/ 397186 w 4100506"/>
              <a:gd name="connsiteY17" fmla="*/ 3021768 h 5300148"/>
              <a:gd name="connsiteX18" fmla="*/ 488626 w 4100506"/>
              <a:gd name="connsiteY18" fmla="*/ 2998908 h 5300148"/>
              <a:gd name="connsiteX19" fmla="*/ 471956 w 4100506"/>
              <a:gd name="connsiteY19" fmla="*/ 2942709 h 5300148"/>
              <a:gd name="connsiteX20" fmla="*/ 435286 w 4100506"/>
              <a:gd name="connsiteY20" fmla="*/ 2930328 h 5300148"/>
              <a:gd name="connsiteX21" fmla="*/ 389566 w 4100506"/>
              <a:gd name="connsiteY21" fmla="*/ 2930328 h 5300148"/>
              <a:gd name="connsiteX22" fmla="*/ 314000 w 4100506"/>
              <a:gd name="connsiteY22" fmla="*/ 2893495 h 5300148"/>
              <a:gd name="connsiteX23" fmla="*/ 320986 w 4100506"/>
              <a:gd name="connsiteY23" fmla="*/ 2846508 h 5300148"/>
              <a:gd name="connsiteX24" fmla="*/ 328606 w 4100506"/>
              <a:gd name="connsiteY24" fmla="*/ 2793168 h 5300148"/>
              <a:gd name="connsiteX25" fmla="*/ 313366 w 4100506"/>
              <a:gd name="connsiteY25" fmla="*/ 2732208 h 5300148"/>
              <a:gd name="connsiteX26" fmla="*/ 267646 w 4100506"/>
              <a:gd name="connsiteY26" fmla="*/ 2671248 h 5300148"/>
              <a:gd name="connsiteX27" fmla="*/ 176206 w 4100506"/>
              <a:gd name="connsiteY27" fmla="*/ 2656008 h 5300148"/>
              <a:gd name="connsiteX28" fmla="*/ 54286 w 4100506"/>
              <a:gd name="connsiteY28" fmla="*/ 2610288 h 5300148"/>
              <a:gd name="connsiteX29" fmla="*/ 7931 w 4100506"/>
              <a:gd name="connsiteY29" fmla="*/ 2563298 h 5300148"/>
              <a:gd name="connsiteX30" fmla="*/ 8566 w 4100506"/>
              <a:gd name="connsiteY30" fmla="*/ 2488368 h 5300148"/>
              <a:gd name="connsiteX31" fmla="*/ 92386 w 4100506"/>
              <a:gd name="connsiteY31" fmla="*/ 2335968 h 5300148"/>
              <a:gd name="connsiteX32" fmla="*/ 221926 w 4100506"/>
              <a:gd name="connsiteY32" fmla="*/ 2175948 h 5300148"/>
              <a:gd name="connsiteX33" fmla="*/ 282886 w 4100506"/>
              <a:gd name="connsiteY33" fmla="*/ 2084508 h 5300148"/>
              <a:gd name="connsiteX34" fmla="*/ 328606 w 4100506"/>
              <a:gd name="connsiteY34" fmla="*/ 1977828 h 5300148"/>
              <a:gd name="connsiteX35" fmla="*/ 359086 w 4100506"/>
              <a:gd name="connsiteY35" fmla="*/ 1871148 h 5300148"/>
              <a:gd name="connsiteX36" fmla="*/ 374326 w 4100506"/>
              <a:gd name="connsiteY36" fmla="*/ 1810188 h 5300148"/>
              <a:gd name="connsiteX37" fmla="*/ 343846 w 4100506"/>
              <a:gd name="connsiteY37" fmla="*/ 1756848 h 5300148"/>
              <a:gd name="connsiteX38" fmla="*/ 328606 w 4100506"/>
              <a:gd name="connsiteY38" fmla="*/ 1680648 h 5300148"/>
              <a:gd name="connsiteX39" fmla="*/ 412426 w 4100506"/>
              <a:gd name="connsiteY39" fmla="*/ 1474908 h 5300148"/>
              <a:gd name="connsiteX40" fmla="*/ 442906 w 4100506"/>
              <a:gd name="connsiteY40" fmla="*/ 1307268 h 5300148"/>
              <a:gd name="connsiteX41" fmla="*/ 465766 w 4100506"/>
              <a:gd name="connsiteY41" fmla="*/ 1192968 h 5300148"/>
              <a:gd name="connsiteX42" fmla="*/ 503866 w 4100506"/>
              <a:gd name="connsiteY42" fmla="*/ 1055808 h 5300148"/>
              <a:gd name="connsiteX43" fmla="*/ 557206 w 4100506"/>
              <a:gd name="connsiteY43" fmla="*/ 888168 h 5300148"/>
              <a:gd name="connsiteX44" fmla="*/ 503866 w 4100506"/>
              <a:gd name="connsiteY44" fmla="*/ 888168 h 5300148"/>
              <a:gd name="connsiteX45" fmla="*/ 412426 w 4100506"/>
              <a:gd name="connsiteY45" fmla="*/ 834828 h 5300148"/>
              <a:gd name="connsiteX46" fmla="*/ 328606 w 4100506"/>
              <a:gd name="connsiteY46" fmla="*/ 789108 h 5300148"/>
              <a:gd name="connsiteX47" fmla="*/ 260026 w 4100506"/>
              <a:gd name="connsiteY47" fmla="*/ 773868 h 5300148"/>
              <a:gd name="connsiteX48" fmla="*/ 214306 w 4100506"/>
              <a:gd name="connsiteY48" fmla="*/ 751008 h 5300148"/>
              <a:gd name="connsiteX49" fmla="*/ 260026 w 4100506"/>
              <a:gd name="connsiteY49" fmla="*/ 674808 h 5300148"/>
              <a:gd name="connsiteX50" fmla="*/ 374326 w 4100506"/>
              <a:gd name="connsiteY50" fmla="*/ 606228 h 5300148"/>
              <a:gd name="connsiteX51" fmla="*/ 557206 w 4100506"/>
              <a:gd name="connsiteY51" fmla="*/ 507168 h 5300148"/>
              <a:gd name="connsiteX52" fmla="*/ 656266 w 4100506"/>
              <a:gd name="connsiteY52" fmla="*/ 423348 h 5300148"/>
              <a:gd name="connsiteX53" fmla="*/ 892486 w 4100506"/>
              <a:gd name="connsiteY53" fmla="*/ 232848 h 5300148"/>
              <a:gd name="connsiteX54" fmla="*/ 1174426 w 4100506"/>
              <a:gd name="connsiteY54" fmla="*/ 80448 h 5300148"/>
              <a:gd name="connsiteX55" fmla="*/ 1593526 w 4100506"/>
              <a:gd name="connsiteY55" fmla="*/ 11868 h 5300148"/>
              <a:gd name="connsiteX56" fmla="*/ 1944046 w 4100506"/>
              <a:gd name="connsiteY56" fmla="*/ 4248 h 5300148"/>
              <a:gd name="connsiteX57" fmla="*/ 2172646 w 4100506"/>
              <a:gd name="connsiteY57" fmla="*/ 4248 h 5300148"/>
              <a:gd name="connsiteX58" fmla="*/ 2393626 w 4100506"/>
              <a:gd name="connsiteY58" fmla="*/ 57588 h 5300148"/>
              <a:gd name="connsiteX59" fmla="*/ 2667946 w 4100506"/>
              <a:gd name="connsiteY59" fmla="*/ 133788 h 5300148"/>
              <a:gd name="connsiteX60" fmla="*/ 2820346 w 4100506"/>
              <a:gd name="connsiteY60" fmla="*/ 202368 h 5300148"/>
              <a:gd name="connsiteX61" fmla="*/ 3102286 w 4100506"/>
              <a:gd name="connsiteY61" fmla="*/ 400488 h 5300148"/>
              <a:gd name="connsiteX62" fmla="*/ 3285166 w 4100506"/>
              <a:gd name="connsiteY62" fmla="*/ 651948 h 5300148"/>
              <a:gd name="connsiteX63" fmla="*/ 3407086 w 4100506"/>
              <a:gd name="connsiteY63" fmla="*/ 918648 h 5300148"/>
              <a:gd name="connsiteX64" fmla="*/ 3475666 w 4100506"/>
              <a:gd name="connsiteY64" fmla="*/ 1238688 h 5300148"/>
              <a:gd name="connsiteX65" fmla="*/ 3506146 w 4100506"/>
              <a:gd name="connsiteY65" fmla="*/ 1543488 h 5300148"/>
              <a:gd name="connsiteX66" fmla="*/ 3506146 w 4100506"/>
              <a:gd name="connsiteY66" fmla="*/ 1962588 h 5300148"/>
              <a:gd name="connsiteX67" fmla="*/ 3338506 w 4100506"/>
              <a:gd name="connsiteY67" fmla="*/ 2305488 h 5300148"/>
              <a:gd name="connsiteX68" fmla="*/ 3254686 w 4100506"/>
              <a:gd name="connsiteY68" fmla="*/ 2473128 h 5300148"/>
              <a:gd name="connsiteX69" fmla="*/ 3132766 w 4100506"/>
              <a:gd name="connsiteY69" fmla="*/ 2663628 h 5300148"/>
              <a:gd name="connsiteX70" fmla="*/ 3071806 w 4100506"/>
              <a:gd name="connsiteY70" fmla="*/ 2838888 h 5300148"/>
              <a:gd name="connsiteX71" fmla="*/ 3064186 w 4100506"/>
              <a:gd name="connsiteY71" fmla="*/ 2915088 h 5300148"/>
              <a:gd name="connsiteX72" fmla="*/ 3018466 w 4100506"/>
              <a:gd name="connsiteY72" fmla="*/ 3014148 h 5300148"/>
              <a:gd name="connsiteX73" fmla="*/ 2980366 w 4100506"/>
              <a:gd name="connsiteY73" fmla="*/ 3082728 h 5300148"/>
              <a:gd name="connsiteX74" fmla="*/ 2957506 w 4100506"/>
              <a:gd name="connsiteY74" fmla="*/ 3120828 h 5300148"/>
              <a:gd name="connsiteX75" fmla="*/ 2957506 w 4100506"/>
              <a:gd name="connsiteY75" fmla="*/ 3555168 h 5300148"/>
              <a:gd name="connsiteX76" fmla="*/ 3010846 w 4100506"/>
              <a:gd name="connsiteY76" fmla="*/ 3539928 h 5300148"/>
              <a:gd name="connsiteX77" fmla="*/ 3109906 w 4100506"/>
              <a:gd name="connsiteY77" fmla="*/ 3570408 h 5300148"/>
              <a:gd name="connsiteX78" fmla="*/ 3140386 w 4100506"/>
              <a:gd name="connsiteY78" fmla="*/ 3631368 h 5300148"/>
              <a:gd name="connsiteX79" fmla="*/ 3117526 w 4100506"/>
              <a:gd name="connsiteY79" fmla="*/ 3738048 h 5300148"/>
              <a:gd name="connsiteX80" fmla="*/ 3125146 w 4100506"/>
              <a:gd name="connsiteY80" fmla="*/ 4103808 h 5300148"/>
              <a:gd name="connsiteX81" fmla="*/ 3163246 w 4100506"/>
              <a:gd name="connsiteY81" fmla="*/ 4157148 h 5300148"/>
              <a:gd name="connsiteX82" fmla="*/ 3201346 w 4100506"/>
              <a:gd name="connsiteY82" fmla="*/ 4164768 h 5300148"/>
              <a:gd name="connsiteX83" fmla="*/ 3231826 w 4100506"/>
              <a:gd name="connsiteY83" fmla="*/ 4172388 h 5300148"/>
              <a:gd name="connsiteX84" fmla="*/ 3285166 w 4100506"/>
              <a:gd name="connsiteY84" fmla="*/ 4294308 h 5300148"/>
              <a:gd name="connsiteX85" fmla="*/ 3300406 w 4100506"/>
              <a:gd name="connsiteY85" fmla="*/ 4347648 h 5300148"/>
              <a:gd name="connsiteX86" fmla="*/ 3330886 w 4100506"/>
              <a:gd name="connsiteY86" fmla="*/ 4408608 h 5300148"/>
              <a:gd name="connsiteX87" fmla="*/ 3551866 w 4100506"/>
              <a:gd name="connsiteY87" fmla="*/ 4644828 h 5300148"/>
              <a:gd name="connsiteX88" fmla="*/ 3887146 w 4100506"/>
              <a:gd name="connsiteY88" fmla="*/ 5025828 h 5300148"/>
              <a:gd name="connsiteX89" fmla="*/ 4100506 w 4100506"/>
              <a:gd name="connsiteY89" fmla="*/ 5300148 h 5300148"/>
              <a:gd name="connsiteX0" fmla="*/ 707488 w 3887146"/>
              <a:gd name="connsiteY0" fmla="*/ 5008470 h 5025828"/>
              <a:gd name="connsiteX1" fmla="*/ 961066 w 3887146"/>
              <a:gd name="connsiteY1" fmla="*/ 4644828 h 5025828"/>
              <a:gd name="connsiteX2" fmla="*/ 1342066 w 3887146"/>
              <a:gd name="connsiteY2" fmla="*/ 4172388 h 5025828"/>
              <a:gd name="connsiteX3" fmla="*/ 1258246 w 3887146"/>
              <a:gd name="connsiteY3" fmla="*/ 4012368 h 5025828"/>
              <a:gd name="connsiteX4" fmla="*/ 1204906 w 3887146"/>
              <a:gd name="connsiteY4" fmla="*/ 3928548 h 5025828"/>
              <a:gd name="connsiteX5" fmla="*/ 1174426 w 3887146"/>
              <a:gd name="connsiteY5" fmla="*/ 3768528 h 5025828"/>
              <a:gd name="connsiteX6" fmla="*/ 1151566 w 3887146"/>
              <a:gd name="connsiteY6" fmla="*/ 3699948 h 5025828"/>
              <a:gd name="connsiteX7" fmla="*/ 1143946 w 3887146"/>
              <a:gd name="connsiteY7" fmla="*/ 3669468 h 5025828"/>
              <a:gd name="connsiteX8" fmla="*/ 1067746 w 3887146"/>
              <a:gd name="connsiteY8" fmla="*/ 3661848 h 5025828"/>
              <a:gd name="connsiteX9" fmla="*/ 938206 w 3887146"/>
              <a:gd name="connsiteY9" fmla="*/ 3669468 h 5025828"/>
              <a:gd name="connsiteX10" fmla="*/ 831526 w 3887146"/>
              <a:gd name="connsiteY10" fmla="*/ 3692328 h 5025828"/>
              <a:gd name="connsiteX11" fmla="*/ 610546 w 3887146"/>
              <a:gd name="connsiteY11" fmla="*/ 3738048 h 5025828"/>
              <a:gd name="connsiteX12" fmla="*/ 389566 w 3887146"/>
              <a:gd name="connsiteY12" fmla="*/ 3638988 h 5025828"/>
              <a:gd name="connsiteX13" fmla="*/ 381946 w 3887146"/>
              <a:gd name="connsiteY13" fmla="*/ 3326568 h 5025828"/>
              <a:gd name="connsiteX14" fmla="*/ 420046 w 3887146"/>
              <a:gd name="connsiteY14" fmla="*/ 3227508 h 5025828"/>
              <a:gd name="connsiteX15" fmla="*/ 389566 w 3887146"/>
              <a:gd name="connsiteY15" fmla="*/ 3166548 h 5025828"/>
              <a:gd name="connsiteX16" fmla="*/ 351466 w 3887146"/>
              <a:gd name="connsiteY16" fmla="*/ 3105588 h 5025828"/>
              <a:gd name="connsiteX17" fmla="*/ 397186 w 3887146"/>
              <a:gd name="connsiteY17" fmla="*/ 3021768 h 5025828"/>
              <a:gd name="connsiteX18" fmla="*/ 488626 w 3887146"/>
              <a:gd name="connsiteY18" fmla="*/ 2998908 h 5025828"/>
              <a:gd name="connsiteX19" fmla="*/ 471956 w 3887146"/>
              <a:gd name="connsiteY19" fmla="*/ 2942709 h 5025828"/>
              <a:gd name="connsiteX20" fmla="*/ 435286 w 3887146"/>
              <a:gd name="connsiteY20" fmla="*/ 2930328 h 5025828"/>
              <a:gd name="connsiteX21" fmla="*/ 389566 w 3887146"/>
              <a:gd name="connsiteY21" fmla="*/ 2930328 h 5025828"/>
              <a:gd name="connsiteX22" fmla="*/ 314000 w 3887146"/>
              <a:gd name="connsiteY22" fmla="*/ 2893495 h 5025828"/>
              <a:gd name="connsiteX23" fmla="*/ 320986 w 3887146"/>
              <a:gd name="connsiteY23" fmla="*/ 2846508 h 5025828"/>
              <a:gd name="connsiteX24" fmla="*/ 328606 w 3887146"/>
              <a:gd name="connsiteY24" fmla="*/ 2793168 h 5025828"/>
              <a:gd name="connsiteX25" fmla="*/ 313366 w 3887146"/>
              <a:gd name="connsiteY25" fmla="*/ 2732208 h 5025828"/>
              <a:gd name="connsiteX26" fmla="*/ 267646 w 3887146"/>
              <a:gd name="connsiteY26" fmla="*/ 2671248 h 5025828"/>
              <a:gd name="connsiteX27" fmla="*/ 176206 w 3887146"/>
              <a:gd name="connsiteY27" fmla="*/ 2656008 h 5025828"/>
              <a:gd name="connsiteX28" fmla="*/ 54286 w 3887146"/>
              <a:gd name="connsiteY28" fmla="*/ 2610288 h 5025828"/>
              <a:gd name="connsiteX29" fmla="*/ 7931 w 3887146"/>
              <a:gd name="connsiteY29" fmla="*/ 2563298 h 5025828"/>
              <a:gd name="connsiteX30" fmla="*/ 8566 w 3887146"/>
              <a:gd name="connsiteY30" fmla="*/ 2488368 h 5025828"/>
              <a:gd name="connsiteX31" fmla="*/ 92386 w 3887146"/>
              <a:gd name="connsiteY31" fmla="*/ 2335968 h 5025828"/>
              <a:gd name="connsiteX32" fmla="*/ 221926 w 3887146"/>
              <a:gd name="connsiteY32" fmla="*/ 2175948 h 5025828"/>
              <a:gd name="connsiteX33" fmla="*/ 282886 w 3887146"/>
              <a:gd name="connsiteY33" fmla="*/ 2084508 h 5025828"/>
              <a:gd name="connsiteX34" fmla="*/ 328606 w 3887146"/>
              <a:gd name="connsiteY34" fmla="*/ 1977828 h 5025828"/>
              <a:gd name="connsiteX35" fmla="*/ 359086 w 3887146"/>
              <a:gd name="connsiteY35" fmla="*/ 1871148 h 5025828"/>
              <a:gd name="connsiteX36" fmla="*/ 374326 w 3887146"/>
              <a:gd name="connsiteY36" fmla="*/ 1810188 h 5025828"/>
              <a:gd name="connsiteX37" fmla="*/ 343846 w 3887146"/>
              <a:gd name="connsiteY37" fmla="*/ 1756848 h 5025828"/>
              <a:gd name="connsiteX38" fmla="*/ 328606 w 3887146"/>
              <a:gd name="connsiteY38" fmla="*/ 1680648 h 5025828"/>
              <a:gd name="connsiteX39" fmla="*/ 412426 w 3887146"/>
              <a:gd name="connsiteY39" fmla="*/ 1474908 h 5025828"/>
              <a:gd name="connsiteX40" fmla="*/ 442906 w 3887146"/>
              <a:gd name="connsiteY40" fmla="*/ 1307268 h 5025828"/>
              <a:gd name="connsiteX41" fmla="*/ 465766 w 3887146"/>
              <a:gd name="connsiteY41" fmla="*/ 1192968 h 5025828"/>
              <a:gd name="connsiteX42" fmla="*/ 503866 w 3887146"/>
              <a:gd name="connsiteY42" fmla="*/ 1055808 h 5025828"/>
              <a:gd name="connsiteX43" fmla="*/ 557206 w 3887146"/>
              <a:gd name="connsiteY43" fmla="*/ 888168 h 5025828"/>
              <a:gd name="connsiteX44" fmla="*/ 503866 w 3887146"/>
              <a:gd name="connsiteY44" fmla="*/ 888168 h 5025828"/>
              <a:gd name="connsiteX45" fmla="*/ 412426 w 3887146"/>
              <a:gd name="connsiteY45" fmla="*/ 834828 h 5025828"/>
              <a:gd name="connsiteX46" fmla="*/ 328606 w 3887146"/>
              <a:gd name="connsiteY46" fmla="*/ 789108 h 5025828"/>
              <a:gd name="connsiteX47" fmla="*/ 260026 w 3887146"/>
              <a:gd name="connsiteY47" fmla="*/ 773868 h 5025828"/>
              <a:gd name="connsiteX48" fmla="*/ 214306 w 3887146"/>
              <a:gd name="connsiteY48" fmla="*/ 751008 h 5025828"/>
              <a:gd name="connsiteX49" fmla="*/ 260026 w 3887146"/>
              <a:gd name="connsiteY49" fmla="*/ 674808 h 5025828"/>
              <a:gd name="connsiteX50" fmla="*/ 374326 w 3887146"/>
              <a:gd name="connsiteY50" fmla="*/ 606228 h 5025828"/>
              <a:gd name="connsiteX51" fmla="*/ 557206 w 3887146"/>
              <a:gd name="connsiteY51" fmla="*/ 507168 h 5025828"/>
              <a:gd name="connsiteX52" fmla="*/ 656266 w 3887146"/>
              <a:gd name="connsiteY52" fmla="*/ 423348 h 5025828"/>
              <a:gd name="connsiteX53" fmla="*/ 892486 w 3887146"/>
              <a:gd name="connsiteY53" fmla="*/ 232848 h 5025828"/>
              <a:gd name="connsiteX54" fmla="*/ 1174426 w 3887146"/>
              <a:gd name="connsiteY54" fmla="*/ 80448 h 5025828"/>
              <a:gd name="connsiteX55" fmla="*/ 1593526 w 3887146"/>
              <a:gd name="connsiteY55" fmla="*/ 11868 h 5025828"/>
              <a:gd name="connsiteX56" fmla="*/ 1944046 w 3887146"/>
              <a:gd name="connsiteY56" fmla="*/ 4248 h 5025828"/>
              <a:gd name="connsiteX57" fmla="*/ 2172646 w 3887146"/>
              <a:gd name="connsiteY57" fmla="*/ 4248 h 5025828"/>
              <a:gd name="connsiteX58" fmla="*/ 2393626 w 3887146"/>
              <a:gd name="connsiteY58" fmla="*/ 57588 h 5025828"/>
              <a:gd name="connsiteX59" fmla="*/ 2667946 w 3887146"/>
              <a:gd name="connsiteY59" fmla="*/ 133788 h 5025828"/>
              <a:gd name="connsiteX60" fmla="*/ 2820346 w 3887146"/>
              <a:gd name="connsiteY60" fmla="*/ 202368 h 5025828"/>
              <a:gd name="connsiteX61" fmla="*/ 3102286 w 3887146"/>
              <a:gd name="connsiteY61" fmla="*/ 400488 h 5025828"/>
              <a:gd name="connsiteX62" fmla="*/ 3285166 w 3887146"/>
              <a:gd name="connsiteY62" fmla="*/ 651948 h 5025828"/>
              <a:gd name="connsiteX63" fmla="*/ 3407086 w 3887146"/>
              <a:gd name="connsiteY63" fmla="*/ 918648 h 5025828"/>
              <a:gd name="connsiteX64" fmla="*/ 3475666 w 3887146"/>
              <a:gd name="connsiteY64" fmla="*/ 1238688 h 5025828"/>
              <a:gd name="connsiteX65" fmla="*/ 3506146 w 3887146"/>
              <a:gd name="connsiteY65" fmla="*/ 1543488 h 5025828"/>
              <a:gd name="connsiteX66" fmla="*/ 3506146 w 3887146"/>
              <a:gd name="connsiteY66" fmla="*/ 1962588 h 5025828"/>
              <a:gd name="connsiteX67" fmla="*/ 3338506 w 3887146"/>
              <a:gd name="connsiteY67" fmla="*/ 2305488 h 5025828"/>
              <a:gd name="connsiteX68" fmla="*/ 3254686 w 3887146"/>
              <a:gd name="connsiteY68" fmla="*/ 2473128 h 5025828"/>
              <a:gd name="connsiteX69" fmla="*/ 3132766 w 3887146"/>
              <a:gd name="connsiteY69" fmla="*/ 2663628 h 5025828"/>
              <a:gd name="connsiteX70" fmla="*/ 3071806 w 3887146"/>
              <a:gd name="connsiteY70" fmla="*/ 2838888 h 5025828"/>
              <a:gd name="connsiteX71" fmla="*/ 3064186 w 3887146"/>
              <a:gd name="connsiteY71" fmla="*/ 2915088 h 5025828"/>
              <a:gd name="connsiteX72" fmla="*/ 3018466 w 3887146"/>
              <a:gd name="connsiteY72" fmla="*/ 3014148 h 5025828"/>
              <a:gd name="connsiteX73" fmla="*/ 2980366 w 3887146"/>
              <a:gd name="connsiteY73" fmla="*/ 3082728 h 5025828"/>
              <a:gd name="connsiteX74" fmla="*/ 2957506 w 3887146"/>
              <a:gd name="connsiteY74" fmla="*/ 3120828 h 5025828"/>
              <a:gd name="connsiteX75" fmla="*/ 2957506 w 3887146"/>
              <a:gd name="connsiteY75" fmla="*/ 3555168 h 5025828"/>
              <a:gd name="connsiteX76" fmla="*/ 3010846 w 3887146"/>
              <a:gd name="connsiteY76" fmla="*/ 3539928 h 5025828"/>
              <a:gd name="connsiteX77" fmla="*/ 3109906 w 3887146"/>
              <a:gd name="connsiteY77" fmla="*/ 3570408 h 5025828"/>
              <a:gd name="connsiteX78" fmla="*/ 3140386 w 3887146"/>
              <a:gd name="connsiteY78" fmla="*/ 3631368 h 5025828"/>
              <a:gd name="connsiteX79" fmla="*/ 3117526 w 3887146"/>
              <a:gd name="connsiteY79" fmla="*/ 3738048 h 5025828"/>
              <a:gd name="connsiteX80" fmla="*/ 3125146 w 3887146"/>
              <a:gd name="connsiteY80" fmla="*/ 4103808 h 5025828"/>
              <a:gd name="connsiteX81" fmla="*/ 3163246 w 3887146"/>
              <a:gd name="connsiteY81" fmla="*/ 4157148 h 5025828"/>
              <a:gd name="connsiteX82" fmla="*/ 3201346 w 3887146"/>
              <a:gd name="connsiteY82" fmla="*/ 4164768 h 5025828"/>
              <a:gd name="connsiteX83" fmla="*/ 3231826 w 3887146"/>
              <a:gd name="connsiteY83" fmla="*/ 4172388 h 5025828"/>
              <a:gd name="connsiteX84" fmla="*/ 3285166 w 3887146"/>
              <a:gd name="connsiteY84" fmla="*/ 4294308 h 5025828"/>
              <a:gd name="connsiteX85" fmla="*/ 3300406 w 3887146"/>
              <a:gd name="connsiteY85" fmla="*/ 4347648 h 5025828"/>
              <a:gd name="connsiteX86" fmla="*/ 3330886 w 3887146"/>
              <a:gd name="connsiteY86" fmla="*/ 4408608 h 5025828"/>
              <a:gd name="connsiteX87" fmla="*/ 3551866 w 3887146"/>
              <a:gd name="connsiteY87" fmla="*/ 4644828 h 5025828"/>
              <a:gd name="connsiteX88" fmla="*/ 3887146 w 3887146"/>
              <a:gd name="connsiteY88" fmla="*/ 5025828 h 5025828"/>
              <a:gd name="connsiteX0" fmla="*/ 707488 w 3884395"/>
              <a:gd name="connsiteY0" fmla="*/ 5008470 h 5017575"/>
              <a:gd name="connsiteX1" fmla="*/ 961066 w 3884395"/>
              <a:gd name="connsiteY1" fmla="*/ 4644828 h 5017575"/>
              <a:gd name="connsiteX2" fmla="*/ 1342066 w 3884395"/>
              <a:gd name="connsiteY2" fmla="*/ 4172388 h 5017575"/>
              <a:gd name="connsiteX3" fmla="*/ 1258246 w 3884395"/>
              <a:gd name="connsiteY3" fmla="*/ 4012368 h 5017575"/>
              <a:gd name="connsiteX4" fmla="*/ 1204906 w 3884395"/>
              <a:gd name="connsiteY4" fmla="*/ 3928548 h 5017575"/>
              <a:gd name="connsiteX5" fmla="*/ 1174426 w 3884395"/>
              <a:gd name="connsiteY5" fmla="*/ 3768528 h 5017575"/>
              <a:gd name="connsiteX6" fmla="*/ 1151566 w 3884395"/>
              <a:gd name="connsiteY6" fmla="*/ 3699948 h 5017575"/>
              <a:gd name="connsiteX7" fmla="*/ 1143946 w 3884395"/>
              <a:gd name="connsiteY7" fmla="*/ 3669468 h 5017575"/>
              <a:gd name="connsiteX8" fmla="*/ 1067746 w 3884395"/>
              <a:gd name="connsiteY8" fmla="*/ 3661848 h 5017575"/>
              <a:gd name="connsiteX9" fmla="*/ 938206 w 3884395"/>
              <a:gd name="connsiteY9" fmla="*/ 3669468 h 5017575"/>
              <a:gd name="connsiteX10" fmla="*/ 831526 w 3884395"/>
              <a:gd name="connsiteY10" fmla="*/ 3692328 h 5017575"/>
              <a:gd name="connsiteX11" fmla="*/ 610546 w 3884395"/>
              <a:gd name="connsiteY11" fmla="*/ 3738048 h 5017575"/>
              <a:gd name="connsiteX12" fmla="*/ 389566 w 3884395"/>
              <a:gd name="connsiteY12" fmla="*/ 3638988 h 5017575"/>
              <a:gd name="connsiteX13" fmla="*/ 381946 w 3884395"/>
              <a:gd name="connsiteY13" fmla="*/ 3326568 h 5017575"/>
              <a:gd name="connsiteX14" fmla="*/ 420046 w 3884395"/>
              <a:gd name="connsiteY14" fmla="*/ 3227508 h 5017575"/>
              <a:gd name="connsiteX15" fmla="*/ 389566 w 3884395"/>
              <a:gd name="connsiteY15" fmla="*/ 3166548 h 5017575"/>
              <a:gd name="connsiteX16" fmla="*/ 351466 w 3884395"/>
              <a:gd name="connsiteY16" fmla="*/ 3105588 h 5017575"/>
              <a:gd name="connsiteX17" fmla="*/ 397186 w 3884395"/>
              <a:gd name="connsiteY17" fmla="*/ 3021768 h 5017575"/>
              <a:gd name="connsiteX18" fmla="*/ 488626 w 3884395"/>
              <a:gd name="connsiteY18" fmla="*/ 2998908 h 5017575"/>
              <a:gd name="connsiteX19" fmla="*/ 471956 w 3884395"/>
              <a:gd name="connsiteY19" fmla="*/ 2942709 h 5017575"/>
              <a:gd name="connsiteX20" fmla="*/ 435286 w 3884395"/>
              <a:gd name="connsiteY20" fmla="*/ 2930328 h 5017575"/>
              <a:gd name="connsiteX21" fmla="*/ 389566 w 3884395"/>
              <a:gd name="connsiteY21" fmla="*/ 2930328 h 5017575"/>
              <a:gd name="connsiteX22" fmla="*/ 314000 w 3884395"/>
              <a:gd name="connsiteY22" fmla="*/ 2893495 h 5017575"/>
              <a:gd name="connsiteX23" fmla="*/ 320986 w 3884395"/>
              <a:gd name="connsiteY23" fmla="*/ 2846508 h 5017575"/>
              <a:gd name="connsiteX24" fmla="*/ 328606 w 3884395"/>
              <a:gd name="connsiteY24" fmla="*/ 2793168 h 5017575"/>
              <a:gd name="connsiteX25" fmla="*/ 313366 w 3884395"/>
              <a:gd name="connsiteY25" fmla="*/ 2732208 h 5017575"/>
              <a:gd name="connsiteX26" fmla="*/ 267646 w 3884395"/>
              <a:gd name="connsiteY26" fmla="*/ 2671248 h 5017575"/>
              <a:gd name="connsiteX27" fmla="*/ 176206 w 3884395"/>
              <a:gd name="connsiteY27" fmla="*/ 2656008 h 5017575"/>
              <a:gd name="connsiteX28" fmla="*/ 54286 w 3884395"/>
              <a:gd name="connsiteY28" fmla="*/ 2610288 h 5017575"/>
              <a:gd name="connsiteX29" fmla="*/ 7931 w 3884395"/>
              <a:gd name="connsiteY29" fmla="*/ 2563298 h 5017575"/>
              <a:gd name="connsiteX30" fmla="*/ 8566 w 3884395"/>
              <a:gd name="connsiteY30" fmla="*/ 2488368 h 5017575"/>
              <a:gd name="connsiteX31" fmla="*/ 92386 w 3884395"/>
              <a:gd name="connsiteY31" fmla="*/ 2335968 h 5017575"/>
              <a:gd name="connsiteX32" fmla="*/ 221926 w 3884395"/>
              <a:gd name="connsiteY32" fmla="*/ 2175948 h 5017575"/>
              <a:gd name="connsiteX33" fmla="*/ 282886 w 3884395"/>
              <a:gd name="connsiteY33" fmla="*/ 2084508 h 5017575"/>
              <a:gd name="connsiteX34" fmla="*/ 328606 w 3884395"/>
              <a:gd name="connsiteY34" fmla="*/ 1977828 h 5017575"/>
              <a:gd name="connsiteX35" fmla="*/ 359086 w 3884395"/>
              <a:gd name="connsiteY35" fmla="*/ 1871148 h 5017575"/>
              <a:gd name="connsiteX36" fmla="*/ 374326 w 3884395"/>
              <a:gd name="connsiteY36" fmla="*/ 1810188 h 5017575"/>
              <a:gd name="connsiteX37" fmla="*/ 343846 w 3884395"/>
              <a:gd name="connsiteY37" fmla="*/ 1756848 h 5017575"/>
              <a:gd name="connsiteX38" fmla="*/ 328606 w 3884395"/>
              <a:gd name="connsiteY38" fmla="*/ 1680648 h 5017575"/>
              <a:gd name="connsiteX39" fmla="*/ 412426 w 3884395"/>
              <a:gd name="connsiteY39" fmla="*/ 1474908 h 5017575"/>
              <a:gd name="connsiteX40" fmla="*/ 442906 w 3884395"/>
              <a:gd name="connsiteY40" fmla="*/ 1307268 h 5017575"/>
              <a:gd name="connsiteX41" fmla="*/ 465766 w 3884395"/>
              <a:gd name="connsiteY41" fmla="*/ 1192968 h 5017575"/>
              <a:gd name="connsiteX42" fmla="*/ 503866 w 3884395"/>
              <a:gd name="connsiteY42" fmla="*/ 1055808 h 5017575"/>
              <a:gd name="connsiteX43" fmla="*/ 557206 w 3884395"/>
              <a:gd name="connsiteY43" fmla="*/ 888168 h 5017575"/>
              <a:gd name="connsiteX44" fmla="*/ 503866 w 3884395"/>
              <a:gd name="connsiteY44" fmla="*/ 888168 h 5017575"/>
              <a:gd name="connsiteX45" fmla="*/ 412426 w 3884395"/>
              <a:gd name="connsiteY45" fmla="*/ 834828 h 5017575"/>
              <a:gd name="connsiteX46" fmla="*/ 328606 w 3884395"/>
              <a:gd name="connsiteY46" fmla="*/ 789108 h 5017575"/>
              <a:gd name="connsiteX47" fmla="*/ 260026 w 3884395"/>
              <a:gd name="connsiteY47" fmla="*/ 773868 h 5017575"/>
              <a:gd name="connsiteX48" fmla="*/ 214306 w 3884395"/>
              <a:gd name="connsiteY48" fmla="*/ 751008 h 5017575"/>
              <a:gd name="connsiteX49" fmla="*/ 260026 w 3884395"/>
              <a:gd name="connsiteY49" fmla="*/ 674808 h 5017575"/>
              <a:gd name="connsiteX50" fmla="*/ 374326 w 3884395"/>
              <a:gd name="connsiteY50" fmla="*/ 606228 h 5017575"/>
              <a:gd name="connsiteX51" fmla="*/ 557206 w 3884395"/>
              <a:gd name="connsiteY51" fmla="*/ 507168 h 5017575"/>
              <a:gd name="connsiteX52" fmla="*/ 656266 w 3884395"/>
              <a:gd name="connsiteY52" fmla="*/ 423348 h 5017575"/>
              <a:gd name="connsiteX53" fmla="*/ 892486 w 3884395"/>
              <a:gd name="connsiteY53" fmla="*/ 232848 h 5017575"/>
              <a:gd name="connsiteX54" fmla="*/ 1174426 w 3884395"/>
              <a:gd name="connsiteY54" fmla="*/ 80448 h 5017575"/>
              <a:gd name="connsiteX55" fmla="*/ 1593526 w 3884395"/>
              <a:gd name="connsiteY55" fmla="*/ 11868 h 5017575"/>
              <a:gd name="connsiteX56" fmla="*/ 1944046 w 3884395"/>
              <a:gd name="connsiteY56" fmla="*/ 4248 h 5017575"/>
              <a:gd name="connsiteX57" fmla="*/ 2172646 w 3884395"/>
              <a:gd name="connsiteY57" fmla="*/ 4248 h 5017575"/>
              <a:gd name="connsiteX58" fmla="*/ 2393626 w 3884395"/>
              <a:gd name="connsiteY58" fmla="*/ 57588 h 5017575"/>
              <a:gd name="connsiteX59" fmla="*/ 2667946 w 3884395"/>
              <a:gd name="connsiteY59" fmla="*/ 133788 h 5017575"/>
              <a:gd name="connsiteX60" fmla="*/ 2820346 w 3884395"/>
              <a:gd name="connsiteY60" fmla="*/ 202368 h 5017575"/>
              <a:gd name="connsiteX61" fmla="*/ 3102286 w 3884395"/>
              <a:gd name="connsiteY61" fmla="*/ 400488 h 5017575"/>
              <a:gd name="connsiteX62" fmla="*/ 3285166 w 3884395"/>
              <a:gd name="connsiteY62" fmla="*/ 651948 h 5017575"/>
              <a:gd name="connsiteX63" fmla="*/ 3407086 w 3884395"/>
              <a:gd name="connsiteY63" fmla="*/ 918648 h 5017575"/>
              <a:gd name="connsiteX64" fmla="*/ 3475666 w 3884395"/>
              <a:gd name="connsiteY64" fmla="*/ 1238688 h 5017575"/>
              <a:gd name="connsiteX65" fmla="*/ 3506146 w 3884395"/>
              <a:gd name="connsiteY65" fmla="*/ 1543488 h 5017575"/>
              <a:gd name="connsiteX66" fmla="*/ 3506146 w 3884395"/>
              <a:gd name="connsiteY66" fmla="*/ 1962588 h 5017575"/>
              <a:gd name="connsiteX67" fmla="*/ 3338506 w 3884395"/>
              <a:gd name="connsiteY67" fmla="*/ 2305488 h 5017575"/>
              <a:gd name="connsiteX68" fmla="*/ 3254686 w 3884395"/>
              <a:gd name="connsiteY68" fmla="*/ 2473128 h 5017575"/>
              <a:gd name="connsiteX69" fmla="*/ 3132766 w 3884395"/>
              <a:gd name="connsiteY69" fmla="*/ 2663628 h 5017575"/>
              <a:gd name="connsiteX70" fmla="*/ 3071806 w 3884395"/>
              <a:gd name="connsiteY70" fmla="*/ 2838888 h 5017575"/>
              <a:gd name="connsiteX71" fmla="*/ 3064186 w 3884395"/>
              <a:gd name="connsiteY71" fmla="*/ 2915088 h 5017575"/>
              <a:gd name="connsiteX72" fmla="*/ 3018466 w 3884395"/>
              <a:gd name="connsiteY72" fmla="*/ 3014148 h 5017575"/>
              <a:gd name="connsiteX73" fmla="*/ 2980366 w 3884395"/>
              <a:gd name="connsiteY73" fmla="*/ 3082728 h 5017575"/>
              <a:gd name="connsiteX74" fmla="*/ 2957506 w 3884395"/>
              <a:gd name="connsiteY74" fmla="*/ 3120828 h 5017575"/>
              <a:gd name="connsiteX75" fmla="*/ 2957506 w 3884395"/>
              <a:gd name="connsiteY75" fmla="*/ 3555168 h 5017575"/>
              <a:gd name="connsiteX76" fmla="*/ 3010846 w 3884395"/>
              <a:gd name="connsiteY76" fmla="*/ 3539928 h 5017575"/>
              <a:gd name="connsiteX77" fmla="*/ 3109906 w 3884395"/>
              <a:gd name="connsiteY77" fmla="*/ 3570408 h 5017575"/>
              <a:gd name="connsiteX78" fmla="*/ 3140386 w 3884395"/>
              <a:gd name="connsiteY78" fmla="*/ 3631368 h 5017575"/>
              <a:gd name="connsiteX79" fmla="*/ 3117526 w 3884395"/>
              <a:gd name="connsiteY79" fmla="*/ 3738048 h 5017575"/>
              <a:gd name="connsiteX80" fmla="*/ 3125146 w 3884395"/>
              <a:gd name="connsiteY80" fmla="*/ 4103808 h 5017575"/>
              <a:gd name="connsiteX81" fmla="*/ 3163246 w 3884395"/>
              <a:gd name="connsiteY81" fmla="*/ 4157148 h 5017575"/>
              <a:gd name="connsiteX82" fmla="*/ 3201346 w 3884395"/>
              <a:gd name="connsiteY82" fmla="*/ 4164768 h 5017575"/>
              <a:gd name="connsiteX83" fmla="*/ 3231826 w 3884395"/>
              <a:gd name="connsiteY83" fmla="*/ 4172388 h 5017575"/>
              <a:gd name="connsiteX84" fmla="*/ 3285166 w 3884395"/>
              <a:gd name="connsiteY84" fmla="*/ 4294308 h 5017575"/>
              <a:gd name="connsiteX85" fmla="*/ 3300406 w 3884395"/>
              <a:gd name="connsiteY85" fmla="*/ 4347648 h 5017575"/>
              <a:gd name="connsiteX86" fmla="*/ 3330886 w 3884395"/>
              <a:gd name="connsiteY86" fmla="*/ 4408608 h 5017575"/>
              <a:gd name="connsiteX87" fmla="*/ 3551866 w 3884395"/>
              <a:gd name="connsiteY87" fmla="*/ 4644828 h 5017575"/>
              <a:gd name="connsiteX88" fmla="*/ 3884395 w 3884395"/>
              <a:gd name="connsiteY88" fmla="*/ 5017575 h 5017575"/>
              <a:gd name="connsiteX0" fmla="*/ 707488 w 3889897"/>
              <a:gd name="connsiteY0" fmla="*/ 5008470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163246 w 3889897"/>
              <a:gd name="connsiteY81" fmla="*/ 4157148 h 5020326"/>
              <a:gd name="connsiteX82" fmla="*/ 3201346 w 3889897"/>
              <a:gd name="connsiteY82" fmla="*/ 4164768 h 5020326"/>
              <a:gd name="connsiteX83" fmla="*/ 3231826 w 3889897"/>
              <a:gd name="connsiteY83" fmla="*/ 4172388 h 5020326"/>
              <a:gd name="connsiteX84" fmla="*/ 3285166 w 3889897"/>
              <a:gd name="connsiteY84" fmla="*/ 4294308 h 5020326"/>
              <a:gd name="connsiteX85" fmla="*/ 3300406 w 3889897"/>
              <a:gd name="connsiteY85" fmla="*/ 4347648 h 5020326"/>
              <a:gd name="connsiteX86" fmla="*/ 3330886 w 3889897"/>
              <a:gd name="connsiteY86" fmla="*/ 4408608 h 5020326"/>
              <a:gd name="connsiteX87" fmla="*/ 3551866 w 3889897"/>
              <a:gd name="connsiteY87" fmla="*/ 4644828 h 5020326"/>
              <a:gd name="connsiteX88" fmla="*/ 3889897 w 3889897"/>
              <a:gd name="connsiteY88" fmla="*/ 5020326 h 5020326"/>
              <a:gd name="connsiteX0" fmla="*/ 704737 w 3889897"/>
              <a:gd name="connsiteY0" fmla="*/ 5016723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163246 w 3889897"/>
              <a:gd name="connsiteY81" fmla="*/ 4157148 h 5020326"/>
              <a:gd name="connsiteX82" fmla="*/ 3201346 w 3889897"/>
              <a:gd name="connsiteY82" fmla="*/ 4164768 h 5020326"/>
              <a:gd name="connsiteX83" fmla="*/ 3231826 w 3889897"/>
              <a:gd name="connsiteY83" fmla="*/ 4172388 h 5020326"/>
              <a:gd name="connsiteX84" fmla="*/ 3285166 w 3889897"/>
              <a:gd name="connsiteY84" fmla="*/ 4294308 h 5020326"/>
              <a:gd name="connsiteX85" fmla="*/ 3300406 w 3889897"/>
              <a:gd name="connsiteY85" fmla="*/ 4347648 h 5020326"/>
              <a:gd name="connsiteX86" fmla="*/ 3330886 w 3889897"/>
              <a:gd name="connsiteY86" fmla="*/ 4408608 h 5020326"/>
              <a:gd name="connsiteX87" fmla="*/ 3551866 w 3889897"/>
              <a:gd name="connsiteY87" fmla="*/ 4644828 h 5020326"/>
              <a:gd name="connsiteX88" fmla="*/ 3889897 w 3889897"/>
              <a:gd name="connsiteY88" fmla="*/ 5020326 h 5020326"/>
              <a:gd name="connsiteX0" fmla="*/ 710239 w 3889897"/>
              <a:gd name="connsiteY0" fmla="*/ 5024991 h 5024991"/>
              <a:gd name="connsiteX1" fmla="*/ 961066 w 3889897"/>
              <a:gd name="connsiteY1" fmla="*/ 4644828 h 5024991"/>
              <a:gd name="connsiteX2" fmla="*/ 1342066 w 3889897"/>
              <a:gd name="connsiteY2" fmla="*/ 4172388 h 5024991"/>
              <a:gd name="connsiteX3" fmla="*/ 1258246 w 3889897"/>
              <a:gd name="connsiteY3" fmla="*/ 4012368 h 5024991"/>
              <a:gd name="connsiteX4" fmla="*/ 1204906 w 3889897"/>
              <a:gd name="connsiteY4" fmla="*/ 3928548 h 5024991"/>
              <a:gd name="connsiteX5" fmla="*/ 1174426 w 3889897"/>
              <a:gd name="connsiteY5" fmla="*/ 3768528 h 5024991"/>
              <a:gd name="connsiteX6" fmla="*/ 1151566 w 3889897"/>
              <a:gd name="connsiteY6" fmla="*/ 3699948 h 5024991"/>
              <a:gd name="connsiteX7" fmla="*/ 1143946 w 3889897"/>
              <a:gd name="connsiteY7" fmla="*/ 3669468 h 5024991"/>
              <a:gd name="connsiteX8" fmla="*/ 1067746 w 3889897"/>
              <a:gd name="connsiteY8" fmla="*/ 3661848 h 5024991"/>
              <a:gd name="connsiteX9" fmla="*/ 938206 w 3889897"/>
              <a:gd name="connsiteY9" fmla="*/ 3669468 h 5024991"/>
              <a:gd name="connsiteX10" fmla="*/ 831526 w 3889897"/>
              <a:gd name="connsiteY10" fmla="*/ 3692328 h 5024991"/>
              <a:gd name="connsiteX11" fmla="*/ 610546 w 3889897"/>
              <a:gd name="connsiteY11" fmla="*/ 3738048 h 5024991"/>
              <a:gd name="connsiteX12" fmla="*/ 389566 w 3889897"/>
              <a:gd name="connsiteY12" fmla="*/ 3638988 h 5024991"/>
              <a:gd name="connsiteX13" fmla="*/ 381946 w 3889897"/>
              <a:gd name="connsiteY13" fmla="*/ 3326568 h 5024991"/>
              <a:gd name="connsiteX14" fmla="*/ 420046 w 3889897"/>
              <a:gd name="connsiteY14" fmla="*/ 3227508 h 5024991"/>
              <a:gd name="connsiteX15" fmla="*/ 389566 w 3889897"/>
              <a:gd name="connsiteY15" fmla="*/ 3166548 h 5024991"/>
              <a:gd name="connsiteX16" fmla="*/ 351466 w 3889897"/>
              <a:gd name="connsiteY16" fmla="*/ 3105588 h 5024991"/>
              <a:gd name="connsiteX17" fmla="*/ 397186 w 3889897"/>
              <a:gd name="connsiteY17" fmla="*/ 3021768 h 5024991"/>
              <a:gd name="connsiteX18" fmla="*/ 488626 w 3889897"/>
              <a:gd name="connsiteY18" fmla="*/ 2998908 h 5024991"/>
              <a:gd name="connsiteX19" fmla="*/ 471956 w 3889897"/>
              <a:gd name="connsiteY19" fmla="*/ 2942709 h 5024991"/>
              <a:gd name="connsiteX20" fmla="*/ 435286 w 3889897"/>
              <a:gd name="connsiteY20" fmla="*/ 2930328 h 5024991"/>
              <a:gd name="connsiteX21" fmla="*/ 389566 w 3889897"/>
              <a:gd name="connsiteY21" fmla="*/ 2930328 h 5024991"/>
              <a:gd name="connsiteX22" fmla="*/ 314000 w 3889897"/>
              <a:gd name="connsiteY22" fmla="*/ 2893495 h 5024991"/>
              <a:gd name="connsiteX23" fmla="*/ 320986 w 3889897"/>
              <a:gd name="connsiteY23" fmla="*/ 2846508 h 5024991"/>
              <a:gd name="connsiteX24" fmla="*/ 328606 w 3889897"/>
              <a:gd name="connsiteY24" fmla="*/ 2793168 h 5024991"/>
              <a:gd name="connsiteX25" fmla="*/ 313366 w 3889897"/>
              <a:gd name="connsiteY25" fmla="*/ 2732208 h 5024991"/>
              <a:gd name="connsiteX26" fmla="*/ 267646 w 3889897"/>
              <a:gd name="connsiteY26" fmla="*/ 2671248 h 5024991"/>
              <a:gd name="connsiteX27" fmla="*/ 176206 w 3889897"/>
              <a:gd name="connsiteY27" fmla="*/ 2656008 h 5024991"/>
              <a:gd name="connsiteX28" fmla="*/ 54286 w 3889897"/>
              <a:gd name="connsiteY28" fmla="*/ 2610288 h 5024991"/>
              <a:gd name="connsiteX29" fmla="*/ 7931 w 3889897"/>
              <a:gd name="connsiteY29" fmla="*/ 2563298 h 5024991"/>
              <a:gd name="connsiteX30" fmla="*/ 8566 w 3889897"/>
              <a:gd name="connsiteY30" fmla="*/ 2488368 h 5024991"/>
              <a:gd name="connsiteX31" fmla="*/ 92386 w 3889897"/>
              <a:gd name="connsiteY31" fmla="*/ 2335968 h 5024991"/>
              <a:gd name="connsiteX32" fmla="*/ 221926 w 3889897"/>
              <a:gd name="connsiteY32" fmla="*/ 2175948 h 5024991"/>
              <a:gd name="connsiteX33" fmla="*/ 282886 w 3889897"/>
              <a:gd name="connsiteY33" fmla="*/ 2084508 h 5024991"/>
              <a:gd name="connsiteX34" fmla="*/ 328606 w 3889897"/>
              <a:gd name="connsiteY34" fmla="*/ 1977828 h 5024991"/>
              <a:gd name="connsiteX35" fmla="*/ 359086 w 3889897"/>
              <a:gd name="connsiteY35" fmla="*/ 1871148 h 5024991"/>
              <a:gd name="connsiteX36" fmla="*/ 374326 w 3889897"/>
              <a:gd name="connsiteY36" fmla="*/ 1810188 h 5024991"/>
              <a:gd name="connsiteX37" fmla="*/ 343846 w 3889897"/>
              <a:gd name="connsiteY37" fmla="*/ 1756848 h 5024991"/>
              <a:gd name="connsiteX38" fmla="*/ 328606 w 3889897"/>
              <a:gd name="connsiteY38" fmla="*/ 1680648 h 5024991"/>
              <a:gd name="connsiteX39" fmla="*/ 412426 w 3889897"/>
              <a:gd name="connsiteY39" fmla="*/ 1474908 h 5024991"/>
              <a:gd name="connsiteX40" fmla="*/ 442906 w 3889897"/>
              <a:gd name="connsiteY40" fmla="*/ 1307268 h 5024991"/>
              <a:gd name="connsiteX41" fmla="*/ 465766 w 3889897"/>
              <a:gd name="connsiteY41" fmla="*/ 1192968 h 5024991"/>
              <a:gd name="connsiteX42" fmla="*/ 503866 w 3889897"/>
              <a:gd name="connsiteY42" fmla="*/ 1055808 h 5024991"/>
              <a:gd name="connsiteX43" fmla="*/ 557206 w 3889897"/>
              <a:gd name="connsiteY43" fmla="*/ 888168 h 5024991"/>
              <a:gd name="connsiteX44" fmla="*/ 503866 w 3889897"/>
              <a:gd name="connsiteY44" fmla="*/ 888168 h 5024991"/>
              <a:gd name="connsiteX45" fmla="*/ 412426 w 3889897"/>
              <a:gd name="connsiteY45" fmla="*/ 834828 h 5024991"/>
              <a:gd name="connsiteX46" fmla="*/ 328606 w 3889897"/>
              <a:gd name="connsiteY46" fmla="*/ 789108 h 5024991"/>
              <a:gd name="connsiteX47" fmla="*/ 260026 w 3889897"/>
              <a:gd name="connsiteY47" fmla="*/ 773868 h 5024991"/>
              <a:gd name="connsiteX48" fmla="*/ 214306 w 3889897"/>
              <a:gd name="connsiteY48" fmla="*/ 751008 h 5024991"/>
              <a:gd name="connsiteX49" fmla="*/ 260026 w 3889897"/>
              <a:gd name="connsiteY49" fmla="*/ 674808 h 5024991"/>
              <a:gd name="connsiteX50" fmla="*/ 374326 w 3889897"/>
              <a:gd name="connsiteY50" fmla="*/ 606228 h 5024991"/>
              <a:gd name="connsiteX51" fmla="*/ 557206 w 3889897"/>
              <a:gd name="connsiteY51" fmla="*/ 507168 h 5024991"/>
              <a:gd name="connsiteX52" fmla="*/ 656266 w 3889897"/>
              <a:gd name="connsiteY52" fmla="*/ 423348 h 5024991"/>
              <a:gd name="connsiteX53" fmla="*/ 892486 w 3889897"/>
              <a:gd name="connsiteY53" fmla="*/ 232848 h 5024991"/>
              <a:gd name="connsiteX54" fmla="*/ 1174426 w 3889897"/>
              <a:gd name="connsiteY54" fmla="*/ 80448 h 5024991"/>
              <a:gd name="connsiteX55" fmla="*/ 1593526 w 3889897"/>
              <a:gd name="connsiteY55" fmla="*/ 11868 h 5024991"/>
              <a:gd name="connsiteX56" fmla="*/ 1944046 w 3889897"/>
              <a:gd name="connsiteY56" fmla="*/ 4248 h 5024991"/>
              <a:gd name="connsiteX57" fmla="*/ 2172646 w 3889897"/>
              <a:gd name="connsiteY57" fmla="*/ 4248 h 5024991"/>
              <a:gd name="connsiteX58" fmla="*/ 2393626 w 3889897"/>
              <a:gd name="connsiteY58" fmla="*/ 57588 h 5024991"/>
              <a:gd name="connsiteX59" fmla="*/ 2667946 w 3889897"/>
              <a:gd name="connsiteY59" fmla="*/ 133788 h 5024991"/>
              <a:gd name="connsiteX60" fmla="*/ 2820346 w 3889897"/>
              <a:gd name="connsiteY60" fmla="*/ 202368 h 5024991"/>
              <a:gd name="connsiteX61" fmla="*/ 3102286 w 3889897"/>
              <a:gd name="connsiteY61" fmla="*/ 400488 h 5024991"/>
              <a:gd name="connsiteX62" fmla="*/ 3285166 w 3889897"/>
              <a:gd name="connsiteY62" fmla="*/ 651948 h 5024991"/>
              <a:gd name="connsiteX63" fmla="*/ 3407086 w 3889897"/>
              <a:gd name="connsiteY63" fmla="*/ 918648 h 5024991"/>
              <a:gd name="connsiteX64" fmla="*/ 3475666 w 3889897"/>
              <a:gd name="connsiteY64" fmla="*/ 1238688 h 5024991"/>
              <a:gd name="connsiteX65" fmla="*/ 3506146 w 3889897"/>
              <a:gd name="connsiteY65" fmla="*/ 1543488 h 5024991"/>
              <a:gd name="connsiteX66" fmla="*/ 3506146 w 3889897"/>
              <a:gd name="connsiteY66" fmla="*/ 1962588 h 5024991"/>
              <a:gd name="connsiteX67" fmla="*/ 3338506 w 3889897"/>
              <a:gd name="connsiteY67" fmla="*/ 2305488 h 5024991"/>
              <a:gd name="connsiteX68" fmla="*/ 3254686 w 3889897"/>
              <a:gd name="connsiteY68" fmla="*/ 2473128 h 5024991"/>
              <a:gd name="connsiteX69" fmla="*/ 3132766 w 3889897"/>
              <a:gd name="connsiteY69" fmla="*/ 2663628 h 5024991"/>
              <a:gd name="connsiteX70" fmla="*/ 3071806 w 3889897"/>
              <a:gd name="connsiteY70" fmla="*/ 2838888 h 5024991"/>
              <a:gd name="connsiteX71" fmla="*/ 3064186 w 3889897"/>
              <a:gd name="connsiteY71" fmla="*/ 2915088 h 5024991"/>
              <a:gd name="connsiteX72" fmla="*/ 3018466 w 3889897"/>
              <a:gd name="connsiteY72" fmla="*/ 3014148 h 5024991"/>
              <a:gd name="connsiteX73" fmla="*/ 2980366 w 3889897"/>
              <a:gd name="connsiteY73" fmla="*/ 3082728 h 5024991"/>
              <a:gd name="connsiteX74" fmla="*/ 2957506 w 3889897"/>
              <a:gd name="connsiteY74" fmla="*/ 3120828 h 5024991"/>
              <a:gd name="connsiteX75" fmla="*/ 2957506 w 3889897"/>
              <a:gd name="connsiteY75" fmla="*/ 3555168 h 5024991"/>
              <a:gd name="connsiteX76" fmla="*/ 3010846 w 3889897"/>
              <a:gd name="connsiteY76" fmla="*/ 3539928 h 5024991"/>
              <a:gd name="connsiteX77" fmla="*/ 3109906 w 3889897"/>
              <a:gd name="connsiteY77" fmla="*/ 3570408 h 5024991"/>
              <a:gd name="connsiteX78" fmla="*/ 3140386 w 3889897"/>
              <a:gd name="connsiteY78" fmla="*/ 3631368 h 5024991"/>
              <a:gd name="connsiteX79" fmla="*/ 3117526 w 3889897"/>
              <a:gd name="connsiteY79" fmla="*/ 3738048 h 5024991"/>
              <a:gd name="connsiteX80" fmla="*/ 3125146 w 3889897"/>
              <a:gd name="connsiteY80" fmla="*/ 4103808 h 5024991"/>
              <a:gd name="connsiteX81" fmla="*/ 3163246 w 3889897"/>
              <a:gd name="connsiteY81" fmla="*/ 4157148 h 5024991"/>
              <a:gd name="connsiteX82" fmla="*/ 3201346 w 3889897"/>
              <a:gd name="connsiteY82" fmla="*/ 4164768 h 5024991"/>
              <a:gd name="connsiteX83" fmla="*/ 3231826 w 3889897"/>
              <a:gd name="connsiteY83" fmla="*/ 4172388 h 5024991"/>
              <a:gd name="connsiteX84" fmla="*/ 3285166 w 3889897"/>
              <a:gd name="connsiteY84" fmla="*/ 4294308 h 5024991"/>
              <a:gd name="connsiteX85" fmla="*/ 3300406 w 3889897"/>
              <a:gd name="connsiteY85" fmla="*/ 4347648 h 5024991"/>
              <a:gd name="connsiteX86" fmla="*/ 3330886 w 3889897"/>
              <a:gd name="connsiteY86" fmla="*/ 4408608 h 5024991"/>
              <a:gd name="connsiteX87" fmla="*/ 3551866 w 3889897"/>
              <a:gd name="connsiteY87" fmla="*/ 4644828 h 5024991"/>
              <a:gd name="connsiteX88" fmla="*/ 3889897 w 3889897"/>
              <a:gd name="connsiteY88" fmla="*/ 5020326 h 5024991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163246 w 3889897"/>
              <a:gd name="connsiteY81" fmla="*/ 4157148 h 5020326"/>
              <a:gd name="connsiteX82" fmla="*/ 3201346 w 3889897"/>
              <a:gd name="connsiteY82" fmla="*/ 4164768 h 5020326"/>
              <a:gd name="connsiteX83" fmla="*/ 3231826 w 3889897"/>
              <a:gd name="connsiteY83" fmla="*/ 4172388 h 5020326"/>
              <a:gd name="connsiteX84" fmla="*/ 3285166 w 3889897"/>
              <a:gd name="connsiteY84" fmla="*/ 4294308 h 5020326"/>
              <a:gd name="connsiteX85" fmla="*/ 3300406 w 3889897"/>
              <a:gd name="connsiteY85" fmla="*/ 4347648 h 5020326"/>
              <a:gd name="connsiteX86" fmla="*/ 3330886 w 3889897"/>
              <a:gd name="connsiteY86" fmla="*/ 4408608 h 5020326"/>
              <a:gd name="connsiteX87" fmla="*/ 3551866 w 3889897"/>
              <a:gd name="connsiteY87" fmla="*/ 4644828 h 5020326"/>
              <a:gd name="connsiteX88" fmla="*/ 3889897 w 3889897"/>
              <a:gd name="connsiteY88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201346 w 3889897"/>
              <a:gd name="connsiteY81" fmla="*/ 4164768 h 5020326"/>
              <a:gd name="connsiteX82" fmla="*/ 3231826 w 3889897"/>
              <a:gd name="connsiteY82" fmla="*/ 4172388 h 5020326"/>
              <a:gd name="connsiteX83" fmla="*/ 3285166 w 3889897"/>
              <a:gd name="connsiteY83" fmla="*/ 4294308 h 5020326"/>
              <a:gd name="connsiteX84" fmla="*/ 3300406 w 3889897"/>
              <a:gd name="connsiteY84" fmla="*/ 4347648 h 5020326"/>
              <a:gd name="connsiteX85" fmla="*/ 3330886 w 3889897"/>
              <a:gd name="connsiteY85" fmla="*/ 4408608 h 5020326"/>
              <a:gd name="connsiteX86" fmla="*/ 3551866 w 3889897"/>
              <a:gd name="connsiteY86" fmla="*/ 4644828 h 5020326"/>
              <a:gd name="connsiteX87" fmla="*/ 3889897 w 3889897"/>
              <a:gd name="connsiteY87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231826 w 3889897"/>
              <a:gd name="connsiteY81" fmla="*/ 4172388 h 5020326"/>
              <a:gd name="connsiteX82" fmla="*/ 3285166 w 3889897"/>
              <a:gd name="connsiteY82" fmla="*/ 4294308 h 5020326"/>
              <a:gd name="connsiteX83" fmla="*/ 3300406 w 3889897"/>
              <a:gd name="connsiteY83" fmla="*/ 4347648 h 5020326"/>
              <a:gd name="connsiteX84" fmla="*/ 3330886 w 3889897"/>
              <a:gd name="connsiteY84" fmla="*/ 4408608 h 5020326"/>
              <a:gd name="connsiteX85" fmla="*/ 3551866 w 3889897"/>
              <a:gd name="connsiteY85" fmla="*/ 4644828 h 5020326"/>
              <a:gd name="connsiteX86" fmla="*/ 3889897 w 3889897"/>
              <a:gd name="connsiteY86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43946 w 3889897"/>
              <a:gd name="connsiteY6" fmla="*/ 3669468 h 5020326"/>
              <a:gd name="connsiteX7" fmla="*/ 1067746 w 3889897"/>
              <a:gd name="connsiteY7" fmla="*/ 3661848 h 5020326"/>
              <a:gd name="connsiteX8" fmla="*/ 938206 w 3889897"/>
              <a:gd name="connsiteY8" fmla="*/ 3669468 h 5020326"/>
              <a:gd name="connsiteX9" fmla="*/ 831526 w 3889897"/>
              <a:gd name="connsiteY9" fmla="*/ 3692328 h 5020326"/>
              <a:gd name="connsiteX10" fmla="*/ 610546 w 3889897"/>
              <a:gd name="connsiteY10" fmla="*/ 3738048 h 5020326"/>
              <a:gd name="connsiteX11" fmla="*/ 389566 w 3889897"/>
              <a:gd name="connsiteY11" fmla="*/ 3638988 h 5020326"/>
              <a:gd name="connsiteX12" fmla="*/ 381946 w 3889897"/>
              <a:gd name="connsiteY12" fmla="*/ 3326568 h 5020326"/>
              <a:gd name="connsiteX13" fmla="*/ 420046 w 3889897"/>
              <a:gd name="connsiteY13" fmla="*/ 3227508 h 5020326"/>
              <a:gd name="connsiteX14" fmla="*/ 389566 w 3889897"/>
              <a:gd name="connsiteY14" fmla="*/ 3166548 h 5020326"/>
              <a:gd name="connsiteX15" fmla="*/ 351466 w 3889897"/>
              <a:gd name="connsiteY15" fmla="*/ 3105588 h 5020326"/>
              <a:gd name="connsiteX16" fmla="*/ 397186 w 3889897"/>
              <a:gd name="connsiteY16" fmla="*/ 3021768 h 5020326"/>
              <a:gd name="connsiteX17" fmla="*/ 488626 w 3889897"/>
              <a:gd name="connsiteY17" fmla="*/ 2998908 h 5020326"/>
              <a:gd name="connsiteX18" fmla="*/ 471956 w 3889897"/>
              <a:gd name="connsiteY18" fmla="*/ 2942709 h 5020326"/>
              <a:gd name="connsiteX19" fmla="*/ 435286 w 3889897"/>
              <a:gd name="connsiteY19" fmla="*/ 2930328 h 5020326"/>
              <a:gd name="connsiteX20" fmla="*/ 389566 w 3889897"/>
              <a:gd name="connsiteY20" fmla="*/ 2930328 h 5020326"/>
              <a:gd name="connsiteX21" fmla="*/ 314000 w 3889897"/>
              <a:gd name="connsiteY21" fmla="*/ 2893495 h 5020326"/>
              <a:gd name="connsiteX22" fmla="*/ 320986 w 3889897"/>
              <a:gd name="connsiteY22" fmla="*/ 2846508 h 5020326"/>
              <a:gd name="connsiteX23" fmla="*/ 328606 w 3889897"/>
              <a:gd name="connsiteY23" fmla="*/ 2793168 h 5020326"/>
              <a:gd name="connsiteX24" fmla="*/ 313366 w 3889897"/>
              <a:gd name="connsiteY24" fmla="*/ 2732208 h 5020326"/>
              <a:gd name="connsiteX25" fmla="*/ 267646 w 3889897"/>
              <a:gd name="connsiteY25" fmla="*/ 2671248 h 5020326"/>
              <a:gd name="connsiteX26" fmla="*/ 176206 w 3889897"/>
              <a:gd name="connsiteY26" fmla="*/ 2656008 h 5020326"/>
              <a:gd name="connsiteX27" fmla="*/ 54286 w 3889897"/>
              <a:gd name="connsiteY27" fmla="*/ 2610288 h 5020326"/>
              <a:gd name="connsiteX28" fmla="*/ 7931 w 3889897"/>
              <a:gd name="connsiteY28" fmla="*/ 2563298 h 5020326"/>
              <a:gd name="connsiteX29" fmla="*/ 8566 w 3889897"/>
              <a:gd name="connsiteY29" fmla="*/ 2488368 h 5020326"/>
              <a:gd name="connsiteX30" fmla="*/ 92386 w 3889897"/>
              <a:gd name="connsiteY30" fmla="*/ 2335968 h 5020326"/>
              <a:gd name="connsiteX31" fmla="*/ 221926 w 3889897"/>
              <a:gd name="connsiteY31" fmla="*/ 2175948 h 5020326"/>
              <a:gd name="connsiteX32" fmla="*/ 282886 w 3889897"/>
              <a:gd name="connsiteY32" fmla="*/ 2084508 h 5020326"/>
              <a:gd name="connsiteX33" fmla="*/ 328606 w 3889897"/>
              <a:gd name="connsiteY33" fmla="*/ 1977828 h 5020326"/>
              <a:gd name="connsiteX34" fmla="*/ 359086 w 3889897"/>
              <a:gd name="connsiteY34" fmla="*/ 1871148 h 5020326"/>
              <a:gd name="connsiteX35" fmla="*/ 374326 w 3889897"/>
              <a:gd name="connsiteY35" fmla="*/ 1810188 h 5020326"/>
              <a:gd name="connsiteX36" fmla="*/ 343846 w 3889897"/>
              <a:gd name="connsiteY36" fmla="*/ 1756848 h 5020326"/>
              <a:gd name="connsiteX37" fmla="*/ 328606 w 3889897"/>
              <a:gd name="connsiteY37" fmla="*/ 1680648 h 5020326"/>
              <a:gd name="connsiteX38" fmla="*/ 412426 w 3889897"/>
              <a:gd name="connsiteY38" fmla="*/ 1474908 h 5020326"/>
              <a:gd name="connsiteX39" fmla="*/ 442906 w 3889897"/>
              <a:gd name="connsiteY39" fmla="*/ 1307268 h 5020326"/>
              <a:gd name="connsiteX40" fmla="*/ 465766 w 3889897"/>
              <a:gd name="connsiteY40" fmla="*/ 1192968 h 5020326"/>
              <a:gd name="connsiteX41" fmla="*/ 503866 w 3889897"/>
              <a:gd name="connsiteY41" fmla="*/ 1055808 h 5020326"/>
              <a:gd name="connsiteX42" fmla="*/ 557206 w 3889897"/>
              <a:gd name="connsiteY42" fmla="*/ 888168 h 5020326"/>
              <a:gd name="connsiteX43" fmla="*/ 503866 w 3889897"/>
              <a:gd name="connsiteY43" fmla="*/ 888168 h 5020326"/>
              <a:gd name="connsiteX44" fmla="*/ 412426 w 3889897"/>
              <a:gd name="connsiteY44" fmla="*/ 834828 h 5020326"/>
              <a:gd name="connsiteX45" fmla="*/ 328606 w 3889897"/>
              <a:gd name="connsiteY45" fmla="*/ 789108 h 5020326"/>
              <a:gd name="connsiteX46" fmla="*/ 260026 w 3889897"/>
              <a:gd name="connsiteY46" fmla="*/ 773868 h 5020326"/>
              <a:gd name="connsiteX47" fmla="*/ 214306 w 3889897"/>
              <a:gd name="connsiteY47" fmla="*/ 751008 h 5020326"/>
              <a:gd name="connsiteX48" fmla="*/ 260026 w 3889897"/>
              <a:gd name="connsiteY48" fmla="*/ 674808 h 5020326"/>
              <a:gd name="connsiteX49" fmla="*/ 374326 w 3889897"/>
              <a:gd name="connsiteY49" fmla="*/ 606228 h 5020326"/>
              <a:gd name="connsiteX50" fmla="*/ 557206 w 3889897"/>
              <a:gd name="connsiteY50" fmla="*/ 507168 h 5020326"/>
              <a:gd name="connsiteX51" fmla="*/ 656266 w 3889897"/>
              <a:gd name="connsiteY51" fmla="*/ 423348 h 5020326"/>
              <a:gd name="connsiteX52" fmla="*/ 892486 w 3889897"/>
              <a:gd name="connsiteY52" fmla="*/ 232848 h 5020326"/>
              <a:gd name="connsiteX53" fmla="*/ 1174426 w 3889897"/>
              <a:gd name="connsiteY53" fmla="*/ 80448 h 5020326"/>
              <a:gd name="connsiteX54" fmla="*/ 1593526 w 3889897"/>
              <a:gd name="connsiteY54" fmla="*/ 11868 h 5020326"/>
              <a:gd name="connsiteX55" fmla="*/ 1944046 w 3889897"/>
              <a:gd name="connsiteY55" fmla="*/ 4248 h 5020326"/>
              <a:gd name="connsiteX56" fmla="*/ 2172646 w 3889897"/>
              <a:gd name="connsiteY56" fmla="*/ 4248 h 5020326"/>
              <a:gd name="connsiteX57" fmla="*/ 2393626 w 3889897"/>
              <a:gd name="connsiteY57" fmla="*/ 57588 h 5020326"/>
              <a:gd name="connsiteX58" fmla="*/ 2667946 w 3889897"/>
              <a:gd name="connsiteY58" fmla="*/ 133788 h 5020326"/>
              <a:gd name="connsiteX59" fmla="*/ 2820346 w 3889897"/>
              <a:gd name="connsiteY59" fmla="*/ 202368 h 5020326"/>
              <a:gd name="connsiteX60" fmla="*/ 3102286 w 3889897"/>
              <a:gd name="connsiteY60" fmla="*/ 400488 h 5020326"/>
              <a:gd name="connsiteX61" fmla="*/ 3285166 w 3889897"/>
              <a:gd name="connsiteY61" fmla="*/ 651948 h 5020326"/>
              <a:gd name="connsiteX62" fmla="*/ 3407086 w 3889897"/>
              <a:gd name="connsiteY62" fmla="*/ 918648 h 5020326"/>
              <a:gd name="connsiteX63" fmla="*/ 3475666 w 3889897"/>
              <a:gd name="connsiteY63" fmla="*/ 1238688 h 5020326"/>
              <a:gd name="connsiteX64" fmla="*/ 3506146 w 3889897"/>
              <a:gd name="connsiteY64" fmla="*/ 1543488 h 5020326"/>
              <a:gd name="connsiteX65" fmla="*/ 3506146 w 3889897"/>
              <a:gd name="connsiteY65" fmla="*/ 1962588 h 5020326"/>
              <a:gd name="connsiteX66" fmla="*/ 3338506 w 3889897"/>
              <a:gd name="connsiteY66" fmla="*/ 2305488 h 5020326"/>
              <a:gd name="connsiteX67" fmla="*/ 3254686 w 3889897"/>
              <a:gd name="connsiteY67" fmla="*/ 2473128 h 5020326"/>
              <a:gd name="connsiteX68" fmla="*/ 3132766 w 3889897"/>
              <a:gd name="connsiteY68" fmla="*/ 2663628 h 5020326"/>
              <a:gd name="connsiteX69" fmla="*/ 3071806 w 3889897"/>
              <a:gd name="connsiteY69" fmla="*/ 2838888 h 5020326"/>
              <a:gd name="connsiteX70" fmla="*/ 3064186 w 3889897"/>
              <a:gd name="connsiteY70" fmla="*/ 2915088 h 5020326"/>
              <a:gd name="connsiteX71" fmla="*/ 3018466 w 3889897"/>
              <a:gd name="connsiteY71" fmla="*/ 3014148 h 5020326"/>
              <a:gd name="connsiteX72" fmla="*/ 2980366 w 3889897"/>
              <a:gd name="connsiteY72" fmla="*/ 3082728 h 5020326"/>
              <a:gd name="connsiteX73" fmla="*/ 2957506 w 3889897"/>
              <a:gd name="connsiteY73" fmla="*/ 3120828 h 5020326"/>
              <a:gd name="connsiteX74" fmla="*/ 2957506 w 3889897"/>
              <a:gd name="connsiteY74" fmla="*/ 3555168 h 5020326"/>
              <a:gd name="connsiteX75" fmla="*/ 3010846 w 3889897"/>
              <a:gd name="connsiteY75" fmla="*/ 3539928 h 5020326"/>
              <a:gd name="connsiteX76" fmla="*/ 3109906 w 3889897"/>
              <a:gd name="connsiteY76" fmla="*/ 3570408 h 5020326"/>
              <a:gd name="connsiteX77" fmla="*/ 3140386 w 3889897"/>
              <a:gd name="connsiteY77" fmla="*/ 3631368 h 5020326"/>
              <a:gd name="connsiteX78" fmla="*/ 3117526 w 3889897"/>
              <a:gd name="connsiteY78" fmla="*/ 3738048 h 5020326"/>
              <a:gd name="connsiteX79" fmla="*/ 3125146 w 3889897"/>
              <a:gd name="connsiteY79" fmla="*/ 4103808 h 5020326"/>
              <a:gd name="connsiteX80" fmla="*/ 3231826 w 3889897"/>
              <a:gd name="connsiteY80" fmla="*/ 4172388 h 5020326"/>
              <a:gd name="connsiteX81" fmla="*/ 3285166 w 3889897"/>
              <a:gd name="connsiteY81" fmla="*/ 4294308 h 5020326"/>
              <a:gd name="connsiteX82" fmla="*/ 3300406 w 3889897"/>
              <a:gd name="connsiteY82" fmla="*/ 4347648 h 5020326"/>
              <a:gd name="connsiteX83" fmla="*/ 3330886 w 3889897"/>
              <a:gd name="connsiteY83" fmla="*/ 4408608 h 5020326"/>
              <a:gd name="connsiteX84" fmla="*/ 3551866 w 3889897"/>
              <a:gd name="connsiteY84" fmla="*/ 4644828 h 5020326"/>
              <a:gd name="connsiteX85" fmla="*/ 3889897 w 3889897"/>
              <a:gd name="connsiteY85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43946 w 3889897"/>
              <a:gd name="connsiteY6" fmla="*/ 3669468 h 5020326"/>
              <a:gd name="connsiteX7" fmla="*/ 1067746 w 3889897"/>
              <a:gd name="connsiteY7" fmla="*/ 3661848 h 5020326"/>
              <a:gd name="connsiteX8" fmla="*/ 938206 w 3889897"/>
              <a:gd name="connsiteY8" fmla="*/ 3669468 h 5020326"/>
              <a:gd name="connsiteX9" fmla="*/ 831526 w 3889897"/>
              <a:gd name="connsiteY9" fmla="*/ 3692328 h 5020326"/>
              <a:gd name="connsiteX10" fmla="*/ 610546 w 3889897"/>
              <a:gd name="connsiteY10" fmla="*/ 3738048 h 5020326"/>
              <a:gd name="connsiteX11" fmla="*/ 389566 w 3889897"/>
              <a:gd name="connsiteY11" fmla="*/ 3638988 h 5020326"/>
              <a:gd name="connsiteX12" fmla="*/ 381946 w 3889897"/>
              <a:gd name="connsiteY12" fmla="*/ 3326568 h 5020326"/>
              <a:gd name="connsiteX13" fmla="*/ 420046 w 3889897"/>
              <a:gd name="connsiteY13" fmla="*/ 3227508 h 5020326"/>
              <a:gd name="connsiteX14" fmla="*/ 389566 w 3889897"/>
              <a:gd name="connsiteY14" fmla="*/ 3166548 h 5020326"/>
              <a:gd name="connsiteX15" fmla="*/ 351466 w 3889897"/>
              <a:gd name="connsiteY15" fmla="*/ 3105588 h 5020326"/>
              <a:gd name="connsiteX16" fmla="*/ 397186 w 3889897"/>
              <a:gd name="connsiteY16" fmla="*/ 3021768 h 5020326"/>
              <a:gd name="connsiteX17" fmla="*/ 488626 w 3889897"/>
              <a:gd name="connsiteY17" fmla="*/ 2998908 h 5020326"/>
              <a:gd name="connsiteX18" fmla="*/ 471956 w 3889897"/>
              <a:gd name="connsiteY18" fmla="*/ 2942709 h 5020326"/>
              <a:gd name="connsiteX19" fmla="*/ 435286 w 3889897"/>
              <a:gd name="connsiteY19" fmla="*/ 2930328 h 5020326"/>
              <a:gd name="connsiteX20" fmla="*/ 389566 w 3889897"/>
              <a:gd name="connsiteY20" fmla="*/ 2930328 h 5020326"/>
              <a:gd name="connsiteX21" fmla="*/ 314000 w 3889897"/>
              <a:gd name="connsiteY21" fmla="*/ 2893495 h 5020326"/>
              <a:gd name="connsiteX22" fmla="*/ 320986 w 3889897"/>
              <a:gd name="connsiteY22" fmla="*/ 2846508 h 5020326"/>
              <a:gd name="connsiteX23" fmla="*/ 328606 w 3889897"/>
              <a:gd name="connsiteY23" fmla="*/ 2793168 h 5020326"/>
              <a:gd name="connsiteX24" fmla="*/ 313366 w 3889897"/>
              <a:gd name="connsiteY24" fmla="*/ 2732208 h 5020326"/>
              <a:gd name="connsiteX25" fmla="*/ 267646 w 3889897"/>
              <a:gd name="connsiteY25" fmla="*/ 2671248 h 5020326"/>
              <a:gd name="connsiteX26" fmla="*/ 176206 w 3889897"/>
              <a:gd name="connsiteY26" fmla="*/ 2656008 h 5020326"/>
              <a:gd name="connsiteX27" fmla="*/ 54286 w 3889897"/>
              <a:gd name="connsiteY27" fmla="*/ 2610288 h 5020326"/>
              <a:gd name="connsiteX28" fmla="*/ 7931 w 3889897"/>
              <a:gd name="connsiteY28" fmla="*/ 2563298 h 5020326"/>
              <a:gd name="connsiteX29" fmla="*/ 8566 w 3889897"/>
              <a:gd name="connsiteY29" fmla="*/ 2488368 h 5020326"/>
              <a:gd name="connsiteX30" fmla="*/ 92386 w 3889897"/>
              <a:gd name="connsiteY30" fmla="*/ 2335968 h 5020326"/>
              <a:gd name="connsiteX31" fmla="*/ 221926 w 3889897"/>
              <a:gd name="connsiteY31" fmla="*/ 2175948 h 5020326"/>
              <a:gd name="connsiteX32" fmla="*/ 282886 w 3889897"/>
              <a:gd name="connsiteY32" fmla="*/ 2084508 h 5020326"/>
              <a:gd name="connsiteX33" fmla="*/ 328606 w 3889897"/>
              <a:gd name="connsiteY33" fmla="*/ 1977828 h 5020326"/>
              <a:gd name="connsiteX34" fmla="*/ 359086 w 3889897"/>
              <a:gd name="connsiteY34" fmla="*/ 1871148 h 5020326"/>
              <a:gd name="connsiteX35" fmla="*/ 374326 w 3889897"/>
              <a:gd name="connsiteY35" fmla="*/ 1810188 h 5020326"/>
              <a:gd name="connsiteX36" fmla="*/ 343846 w 3889897"/>
              <a:gd name="connsiteY36" fmla="*/ 1756848 h 5020326"/>
              <a:gd name="connsiteX37" fmla="*/ 328606 w 3889897"/>
              <a:gd name="connsiteY37" fmla="*/ 1680648 h 5020326"/>
              <a:gd name="connsiteX38" fmla="*/ 412426 w 3889897"/>
              <a:gd name="connsiteY38" fmla="*/ 1474908 h 5020326"/>
              <a:gd name="connsiteX39" fmla="*/ 442906 w 3889897"/>
              <a:gd name="connsiteY39" fmla="*/ 1307268 h 5020326"/>
              <a:gd name="connsiteX40" fmla="*/ 465766 w 3889897"/>
              <a:gd name="connsiteY40" fmla="*/ 1192968 h 5020326"/>
              <a:gd name="connsiteX41" fmla="*/ 503866 w 3889897"/>
              <a:gd name="connsiteY41" fmla="*/ 1055808 h 5020326"/>
              <a:gd name="connsiteX42" fmla="*/ 557206 w 3889897"/>
              <a:gd name="connsiteY42" fmla="*/ 888168 h 5020326"/>
              <a:gd name="connsiteX43" fmla="*/ 503866 w 3889897"/>
              <a:gd name="connsiteY43" fmla="*/ 888168 h 5020326"/>
              <a:gd name="connsiteX44" fmla="*/ 412426 w 3889897"/>
              <a:gd name="connsiteY44" fmla="*/ 834828 h 5020326"/>
              <a:gd name="connsiteX45" fmla="*/ 328606 w 3889897"/>
              <a:gd name="connsiteY45" fmla="*/ 789108 h 5020326"/>
              <a:gd name="connsiteX46" fmla="*/ 260026 w 3889897"/>
              <a:gd name="connsiteY46" fmla="*/ 773868 h 5020326"/>
              <a:gd name="connsiteX47" fmla="*/ 214306 w 3889897"/>
              <a:gd name="connsiteY47" fmla="*/ 751008 h 5020326"/>
              <a:gd name="connsiteX48" fmla="*/ 260026 w 3889897"/>
              <a:gd name="connsiteY48" fmla="*/ 674808 h 5020326"/>
              <a:gd name="connsiteX49" fmla="*/ 374326 w 3889897"/>
              <a:gd name="connsiteY49" fmla="*/ 606228 h 5020326"/>
              <a:gd name="connsiteX50" fmla="*/ 557206 w 3889897"/>
              <a:gd name="connsiteY50" fmla="*/ 507168 h 5020326"/>
              <a:gd name="connsiteX51" fmla="*/ 656266 w 3889897"/>
              <a:gd name="connsiteY51" fmla="*/ 423348 h 5020326"/>
              <a:gd name="connsiteX52" fmla="*/ 892486 w 3889897"/>
              <a:gd name="connsiteY52" fmla="*/ 232848 h 5020326"/>
              <a:gd name="connsiteX53" fmla="*/ 1174426 w 3889897"/>
              <a:gd name="connsiteY53" fmla="*/ 80448 h 5020326"/>
              <a:gd name="connsiteX54" fmla="*/ 1593526 w 3889897"/>
              <a:gd name="connsiteY54" fmla="*/ 11868 h 5020326"/>
              <a:gd name="connsiteX55" fmla="*/ 1944046 w 3889897"/>
              <a:gd name="connsiteY55" fmla="*/ 4248 h 5020326"/>
              <a:gd name="connsiteX56" fmla="*/ 2172646 w 3889897"/>
              <a:gd name="connsiteY56" fmla="*/ 4248 h 5020326"/>
              <a:gd name="connsiteX57" fmla="*/ 2393626 w 3889897"/>
              <a:gd name="connsiteY57" fmla="*/ 57588 h 5020326"/>
              <a:gd name="connsiteX58" fmla="*/ 2667946 w 3889897"/>
              <a:gd name="connsiteY58" fmla="*/ 133788 h 5020326"/>
              <a:gd name="connsiteX59" fmla="*/ 2820346 w 3889897"/>
              <a:gd name="connsiteY59" fmla="*/ 202368 h 5020326"/>
              <a:gd name="connsiteX60" fmla="*/ 3102286 w 3889897"/>
              <a:gd name="connsiteY60" fmla="*/ 400488 h 5020326"/>
              <a:gd name="connsiteX61" fmla="*/ 3285166 w 3889897"/>
              <a:gd name="connsiteY61" fmla="*/ 651948 h 5020326"/>
              <a:gd name="connsiteX62" fmla="*/ 3407086 w 3889897"/>
              <a:gd name="connsiteY62" fmla="*/ 918648 h 5020326"/>
              <a:gd name="connsiteX63" fmla="*/ 3475666 w 3889897"/>
              <a:gd name="connsiteY63" fmla="*/ 1238688 h 5020326"/>
              <a:gd name="connsiteX64" fmla="*/ 3506146 w 3889897"/>
              <a:gd name="connsiteY64" fmla="*/ 1543488 h 5020326"/>
              <a:gd name="connsiteX65" fmla="*/ 3506146 w 3889897"/>
              <a:gd name="connsiteY65" fmla="*/ 1962588 h 5020326"/>
              <a:gd name="connsiteX66" fmla="*/ 3338506 w 3889897"/>
              <a:gd name="connsiteY66" fmla="*/ 2305488 h 5020326"/>
              <a:gd name="connsiteX67" fmla="*/ 3254686 w 3889897"/>
              <a:gd name="connsiteY67" fmla="*/ 2473128 h 5020326"/>
              <a:gd name="connsiteX68" fmla="*/ 3132766 w 3889897"/>
              <a:gd name="connsiteY68" fmla="*/ 2663628 h 5020326"/>
              <a:gd name="connsiteX69" fmla="*/ 3071806 w 3889897"/>
              <a:gd name="connsiteY69" fmla="*/ 2838888 h 5020326"/>
              <a:gd name="connsiteX70" fmla="*/ 3064186 w 3889897"/>
              <a:gd name="connsiteY70" fmla="*/ 2915088 h 5020326"/>
              <a:gd name="connsiteX71" fmla="*/ 3018466 w 3889897"/>
              <a:gd name="connsiteY71" fmla="*/ 3014148 h 5020326"/>
              <a:gd name="connsiteX72" fmla="*/ 2980366 w 3889897"/>
              <a:gd name="connsiteY72" fmla="*/ 3082728 h 5020326"/>
              <a:gd name="connsiteX73" fmla="*/ 2957506 w 3889897"/>
              <a:gd name="connsiteY73" fmla="*/ 3120828 h 5020326"/>
              <a:gd name="connsiteX74" fmla="*/ 2957506 w 3889897"/>
              <a:gd name="connsiteY74" fmla="*/ 3555168 h 5020326"/>
              <a:gd name="connsiteX75" fmla="*/ 3010846 w 3889897"/>
              <a:gd name="connsiteY75" fmla="*/ 3539928 h 5020326"/>
              <a:gd name="connsiteX76" fmla="*/ 3109906 w 3889897"/>
              <a:gd name="connsiteY76" fmla="*/ 3570408 h 5020326"/>
              <a:gd name="connsiteX77" fmla="*/ 3140386 w 3889897"/>
              <a:gd name="connsiteY77" fmla="*/ 3631368 h 5020326"/>
              <a:gd name="connsiteX78" fmla="*/ 3117526 w 3889897"/>
              <a:gd name="connsiteY78" fmla="*/ 3738048 h 5020326"/>
              <a:gd name="connsiteX79" fmla="*/ 3125146 w 3889897"/>
              <a:gd name="connsiteY79" fmla="*/ 4103808 h 5020326"/>
              <a:gd name="connsiteX80" fmla="*/ 3231826 w 3889897"/>
              <a:gd name="connsiteY80" fmla="*/ 4172388 h 5020326"/>
              <a:gd name="connsiteX81" fmla="*/ 3285166 w 3889897"/>
              <a:gd name="connsiteY81" fmla="*/ 4294308 h 5020326"/>
              <a:gd name="connsiteX82" fmla="*/ 3330886 w 3889897"/>
              <a:gd name="connsiteY82" fmla="*/ 4408608 h 5020326"/>
              <a:gd name="connsiteX83" fmla="*/ 3551866 w 3889897"/>
              <a:gd name="connsiteY83" fmla="*/ 4644828 h 5020326"/>
              <a:gd name="connsiteX84" fmla="*/ 3889897 w 3889897"/>
              <a:gd name="connsiteY84" fmla="*/ 5020326 h 5020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3889897" h="5020326">
                <a:moveTo>
                  <a:pt x="712990" y="5019479"/>
                </a:moveTo>
                <a:cubicBezTo>
                  <a:pt x="766965" y="4944867"/>
                  <a:pt x="856220" y="4786010"/>
                  <a:pt x="961066" y="4644828"/>
                </a:cubicBezTo>
                <a:cubicBezTo>
                  <a:pt x="1065912" y="4503646"/>
                  <a:pt x="1292536" y="4277798"/>
                  <a:pt x="1342066" y="4172388"/>
                </a:cubicBezTo>
                <a:cubicBezTo>
                  <a:pt x="1391596" y="4066978"/>
                  <a:pt x="1281106" y="4053008"/>
                  <a:pt x="1258246" y="4012368"/>
                </a:cubicBezTo>
                <a:cubicBezTo>
                  <a:pt x="1235386" y="3971728"/>
                  <a:pt x="1218876" y="3969188"/>
                  <a:pt x="1204906" y="3928548"/>
                </a:cubicBezTo>
                <a:cubicBezTo>
                  <a:pt x="1190936" y="3887908"/>
                  <a:pt x="1184586" y="3811708"/>
                  <a:pt x="1174426" y="3768528"/>
                </a:cubicBezTo>
                <a:cubicBezTo>
                  <a:pt x="1164266" y="3725348"/>
                  <a:pt x="1161726" y="3687248"/>
                  <a:pt x="1143946" y="3669468"/>
                </a:cubicBezTo>
                <a:cubicBezTo>
                  <a:pt x="1126166" y="3651688"/>
                  <a:pt x="1102036" y="3661848"/>
                  <a:pt x="1067746" y="3661848"/>
                </a:cubicBezTo>
                <a:cubicBezTo>
                  <a:pt x="1033456" y="3661848"/>
                  <a:pt x="977576" y="3664388"/>
                  <a:pt x="938206" y="3669468"/>
                </a:cubicBezTo>
                <a:cubicBezTo>
                  <a:pt x="898836" y="3674548"/>
                  <a:pt x="831526" y="3692328"/>
                  <a:pt x="831526" y="3692328"/>
                </a:cubicBezTo>
                <a:cubicBezTo>
                  <a:pt x="776916" y="3703758"/>
                  <a:pt x="684206" y="3746938"/>
                  <a:pt x="610546" y="3738048"/>
                </a:cubicBezTo>
                <a:cubicBezTo>
                  <a:pt x="536886" y="3729158"/>
                  <a:pt x="427666" y="3707568"/>
                  <a:pt x="389566" y="3638988"/>
                </a:cubicBezTo>
                <a:cubicBezTo>
                  <a:pt x="351466" y="3570408"/>
                  <a:pt x="376866" y="3395148"/>
                  <a:pt x="381946" y="3326568"/>
                </a:cubicBezTo>
                <a:cubicBezTo>
                  <a:pt x="387026" y="3257988"/>
                  <a:pt x="418776" y="3254178"/>
                  <a:pt x="420046" y="3227508"/>
                </a:cubicBezTo>
                <a:cubicBezTo>
                  <a:pt x="421316" y="3200838"/>
                  <a:pt x="400996" y="3186868"/>
                  <a:pt x="389566" y="3166548"/>
                </a:cubicBezTo>
                <a:cubicBezTo>
                  <a:pt x="378136" y="3146228"/>
                  <a:pt x="350196" y="3129718"/>
                  <a:pt x="351466" y="3105588"/>
                </a:cubicBezTo>
                <a:cubicBezTo>
                  <a:pt x="352736" y="3081458"/>
                  <a:pt x="374326" y="3039548"/>
                  <a:pt x="397186" y="3021768"/>
                </a:cubicBezTo>
                <a:cubicBezTo>
                  <a:pt x="420046" y="3003988"/>
                  <a:pt x="476164" y="3012084"/>
                  <a:pt x="488626" y="2998908"/>
                </a:cubicBezTo>
                <a:cubicBezTo>
                  <a:pt x="501088" y="2985732"/>
                  <a:pt x="480846" y="2954139"/>
                  <a:pt x="471956" y="2942709"/>
                </a:cubicBezTo>
                <a:cubicBezTo>
                  <a:pt x="463066" y="2931279"/>
                  <a:pt x="449018" y="2932392"/>
                  <a:pt x="435286" y="2930328"/>
                </a:cubicBezTo>
                <a:cubicBezTo>
                  <a:pt x="421554" y="2928265"/>
                  <a:pt x="409780" y="2936467"/>
                  <a:pt x="389566" y="2930328"/>
                </a:cubicBezTo>
                <a:cubicBezTo>
                  <a:pt x="369352" y="2924189"/>
                  <a:pt x="325430" y="2907465"/>
                  <a:pt x="314000" y="2893495"/>
                </a:cubicBezTo>
                <a:cubicBezTo>
                  <a:pt x="302570" y="2879525"/>
                  <a:pt x="318552" y="2863229"/>
                  <a:pt x="320986" y="2846508"/>
                </a:cubicBezTo>
                <a:cubicBezTo>
                  <a:pt x="323420" y="2829787"/>
                  <a:pt x="329876" y="2812218"/>
                  <a:pt x="328606" y="2793168"/>
                </a:cubicBezTo>
                <a:cubicBezTo>
                  <a:pt x="327336" y="2774118"/>
                  <a:pt x="323526" y="2752528"/>
                  <a:pt x="313366" y="2732208"/>
                </a:cubicBezTo>
                <a:cubicBezTo>
                  <a:pt x="303206" y="2711888"/>
                  <a:pt x="290506" y="2683948"/>
                  <a:pt x="267646" y="2671248"/>
                </a:cubicBezTo>
                <a:cubicBezTo>
                  <a:pt x="244786" y="2658548"/>
                  <a:pt x="211766" y="2666168"/>
                  <a:pt x="176206" y="2656008"/>
                </a:cubicBezTo>
                <a:cubicBezTo>
                  <a:pt x="140646" y="2645848"/>
                  <a:pt x="82332" y="2625740"/>
                  <a:pt x="54286" y="2610288"/>
                </a:cubicBezTo>
                <a:cubicBezTo>
                  <a:pt x="26240" y="2594836"/>
                  <a:pt x="15551" y="2583618"/>
                  <a:pt x="7931" y="2563298"/>
                </a:cubicBezTo>
                <a:cubicBezTo>
                  <a:pt x="311" y="2542978"/>
                  <a:pt x="-5510" y="2526256"/>
                  <a:pt x="8566" y="2488368"/>
                </a:cubicBezTo>
                <a:cubicBezTo>
                  <a:pt x="22642" y="2450480"/>
                  <a:pt x="56826" y="2388038"/>
                  <a:pt x="92386" y="2335968"/>
                </a:cubicBezTo>
                <a:cubicBezTo>
                  <a:pt x="127946" y="2283898"/>
                  <a:pt x="190176" y="2217858"/>
                  <a:pt x="221926" y="2175948"/>
                </a:cubicBezTo>
                <a:cubicBezTo>
                  <a:pt x="253676" y="2134038"/>
                  <a:pt x="265106" y="2117528"/>
                  <a:pt x="282886" y="2084508"/>
                </a:cubicBezTo>
                <a:cubicBezTo>
                  <a:pt x="300666" y="2051488"/>
                  <a:pt x="315906" y="2013388"/>
                  <a:pt x="328606" y="1977828"/>
                </a:cubicBezTo>
                <a:cubicBezTo>
                  <a:pt x="341306" y="1942268"/>
                  <a:pt x="351466" y="1899088"/>
                  <a:pt x="359086" y="1871148"/>
                </a:cubicBezTo>
                <a:cubicBezTo>
                  <a:pt x="366706" y="1843208"/>
                  <a:pt x="376866" y="1829238"/>
                  <a:pt x="374326" y="1810188"/>
                </a:cubicBezTo>
                <a:cubicBezTo>
                  <a:pt x="371786" y="1791138"/>
                  <a:pt x="351466" y="1778438"/>
                  <a:pt x="343846" y="1756848"/>
                </a:cubicBezTo>
                <a:cubicBezTo>
                  <a:pt x="336226" y="1735258"/>
                  <a:pt x="317176" y="1727638"/>
                  <a:pt x="328606" y="1680648"/>
                </a:cubicBezTo>
                <a:cubicBezTo>
                  <a:pt x="340036" y="1633658"/>
                  <a:pt x="393376" y="1537138"/>
                  <a:pt x="412426" y="1474908"/>
                </a:cubicBezTo>
                <a:cubicBezTo>
                  <a:pt x="431476" y="1412678"/>
                  <a:pt x="434016" y="1354258"/>
                  <a:pt x="442906" y="1307268"/>
                </a:cubicBezTo>
                <a:cubicBezTo>
                  <a:pt x="451796" y="1260278"/>
                  <a:pt x="455606" y="1234878"/>
                  <a:pt x="465766" y="1192968"/>
                </a:cubicBezTo>
                <a:cubicBezTo>
                  <a:pt x="475926" y="1151058"/>
                  <a:pt x="488626" y="1106608"/>
                  <a:pt x="503866" y="1055808"/>
                </a:cubicBezTo>
                <a:cubicBezTo>
                  <a:pt x="519106" y="1005008"/>
                  <a:pt x="557206" y="916108"/>
                  <a:pt x="557206" y="888168"/>
                </a:cubicBezTo>
                <a:cubicBezTo>
                  <a:pt x="557206" y="860228"/>
                  <a:pt x="527996" y="897058"/>
                  <a:pt x="503866" y="888168"/>
                </a:cubicBezTo>
                <a:cubicBezTo>
                  <a:pt x="479736" y="879278"/>
                  <a:pt x="441636" y="851338"/>
                  <a:pt x="412426" y="834828"/>
                </a:cubicBezTo>
                <a:cubicBezTo>
                  <a:pt x="383216" y="818318"/>
                  <a:pt x="354006" y="799268"/>
                  <a:pt x="328606" y="789108"/>
                </a:cubicBezTo>
                <a:cubicBezTo>
                  <a:pt x="303206" y="778948"/>
                  <a:pt x="279076" y="780218"/>
                  <a:pt x="260026" y="773868"/>
                </a:cubicBezTo>
                <a:cubicBezTo>
                  <a:pt x="240976" y="767518"/>
                  <a:pt x="214306" y="767518"/>
                  <a:pt x="214306" y="751008"/>
                </a:cubicBezTo>
                <a:cubicBezTo>
                  <a:pt x="214306" y="734498"/>
                  <a:pt x="233356" y="698938"/>
                  <a:pt x="260026" y="674808"/>
                </a:cubicBezTo>
                <a:cubicBezTo>
                  <a:pt x="286696" y="650678"/>
                  <a:pt x="324796" y="634168"/>
                  <a:pt x="374326" y="606228"/>
                </a:cubicBezTo>
                <a:cubicBezTo>
                  <a:pt x="423856" y="578288"/>
                  <a:pt x="510216" y="537648"/>
                  <a:pt x="557206" y="507168"/>
                </a:cubicBezTo>
                <a:cubicBezTo>
                  <a:pt x="604196" y="476688"/>
                  <a:pt x="600386" y="469068"/>
                  <a:pt x="656266" y="423348"/>
                </a:cubicBezTo>
                <a:cubicBezTo>
                  <a:pt x="712146" y="377628"/>
                  <a:pt x="806126" y="289998"/>
                  <a:pt x="892486" y="232848"/>
                </a:cubicBezTo>
                <a:cubicBezTo>
                  <a:pt x="978846" y="175698"/>
                  <a:pt x="1057586" y="117278"/>
                  <a:pt x="1174426" y="80448"/>
                </a:cubicBezTo>
                <a:cubicBezTo>
                  <a:pt x="1291266" y="43618"/>
                  <a:pt x="1465256" y="24568"/>
                  <a:pt x="1593526" y="11868"/>
                </a:cubicBezTo>
                <a:cubicBezTo>
                  <a:pt x="1721796" y="-832"/>
                  <a:pt x="1847526" y="5518"/>
                  <a:pt x="1944046" y="4248"/>
                </a:cubicBezTo>
                <a:cubicBezTo>
                  <a:pt x="2040566" y="2978"/>
                  <a:pt x="2097716" y="-4642"/>
                  <a:pt x="2172646" y="4248"/>
                </a:cubicBezTo>
                <a:cubicBezTo>
                  <a:pt x="2247576" y="13138"/>
                  <a:pt x="2311076" y="35998"/>
                  <a:pt x="2393626" y="57588"/>
                </a:cubicBezTo>
                <a:cubicBezTo>
                  <a:pt x="2476176" y="79178"/>
                  <a:pt x="2596826" y="109658"/>
                  <a:pt x="2667946" y="133788"/>
                </a:cubicBezTo>
                <a:cubicBezTo>
                  <a:pt x="2739066" y="157918"/>
                  <a:pt x="2747956" y="157918"/>
                  <a:pt x="2820346" y="202368"/>
                </a:cubicBezTo>
                <a:cubicBezTo>
                  <a:pt x="2892736" y="246818"/>
                  <a:pt x="3024816" y="325558"/>
                  <a:pt x="3102286" y="400488"/>
                </a:cubicBezTo>
                <a:cubicBezTo>
                  <a:pt x="3179756" y="475418"/>
                  <a:pt x="3234366" y="565588"/>
                  <a:pt x="3285166" y="651948"/>
                </a:cubicBezTo>
                <a:cubicBezTo>
                  <a:pt x="3335966" y="738308"/>
                  <a:pt x="3375336" y="820858"/>
                  <a:pt x="3407086" y="918648"/>
                </a:cubicBezTo>
                <a:cubicBezTo>
                  <a:pt x="3438836" y="1016438"/>
                  <a:pt x="3459156" y="1134548"/>
                  <a:pt x="3475666" y="1238688"/>
                </a:cubicBezTo>
                <a:cubicBezTo>
                  <a:pt x="3492176" y="1342828"/>
                  <a:pt x="3501066" y="1422838"/>
                  <a:pt x="3506146" y="1543488"/>
                </a:cubicBezTo>
                <a:cubicBezTo>
                  <a:pt x="3511226" y="1664138"/>
                  <a:pt x="3534086" y="1835588"/>
                  <a:pt x="3506146" y="1962588"/>
                </a:cubicBezTo>
                <a:cubicBezTo>
                  <a:pt x="3478206" y="2089588"/>
                  <a:pt x="3380416" y="2220398"/>
                  <a:pt x="3338506" y="2305488"/>
                </a:cubicBezTo>
                <a:cubicBezTo>
                  <a:pt x="3296596" y="2390578"/>
                  <a:pt x="3288976" y="2413438"/>
                  <a:pt x="3254686" y="2473128"/>
                </a:cubicBezTo>
                <a:cubicBezTo>
                  <a:pt x="3220396" y="2532818"/>
                  <a:pt x="3163246" y="2602668"/>
                  <a:pt x="3132766" y="2663628"/>
                </a:cubicBezTo>
                <a:cubicBezTo>
                  <a:pt x="3102286" y="2724588"/>
                  <a:pt x="3083236" y="2796978"/>
                  <a:pt x="3071806" y="2838888"/>
                </a:cubicBezTo>
                <a:cubicBezTo>
                  <a:pt x="3060376" y="2880798"/>
                  <a:pt x="3073076" y="2885878"/>
                  <a:pt x="3064186" y="2915088"/>
                </a:cubicBezTo>
                <a:cubicBezTo>
                  <a:pt x="3055296" y="2944298"/>
                  <a:pt x="3032436" y="2986208"/>
                  <a:pt x="3018466" y="3014148"/>
                </a:cubicBezTo>
                <a:cubicBezTo>
                  <a:pt x="3004496" y="3042088"/>
                  <a:pt x="2990526" y="3064948"/>
                  <a:pt x="2980366" y="3082728"/>
                </a:cubicBezTo>
                <a:cubicBezTo>
                  <a:pt x="2970206" y="3100508"/>
                  <a:pt x="2961316" y="3042088"/>
                  <a:pt x="2957506" y="3120828"/>
                </a:cubicBezTo>
                <a:cubicBezTo>
                  <a:pt x="2953696" y="3199568"/>
                  <a:pt x="2948616" y="3485318"/>
                  <a:pt x="2957506" y="3555168"/>
                </a:cubicBezTo>
                <a:cubicBezTo>
                  <a:pt x="2966396" y="3625018"/>
                  <a:pt x="2985446" y="3537388"/>
                  <a:pt x="3010846" y="3539928"/>
                </a:cubicBezTo>
                <a:cubicBezTo>
                  <a:pt x="3036246" y="3542468"/>
                  <a:pt x="3088316" y="3555168"/>
                  <a:pt x="3109906" y="3570408"/>
                </a:cubicBezTo>
                <a:cubicBezTo>
                  <a:pt x="3131496" y="3585648"/>
                  <a:pt x="3139116" y="3603428"/>
                  <a:pt x="3140386" y="3631368"/>
                </a:cubicBezTo>
                <a:cubicBezTo>
                  <a:pt x="3141656" y="3659308"/>
                  <a:pt x="3120066" y="3659308"/>
                  <a:pt x="3117526" y="3738048"/>
                </a:cubicBezTo>
                <a:cubicBezTo>
                  <a:pt x="3114986" y="3816788"/>
                  <a:pt x="3106096" y="4031418"/>
                  <a:pt x="3125146" y="4103808"/>
                </a:cubicBezTo>
                <a:cubicBezTo>
                  <a:pt x="3144196" y="4176198"/>
                  <a:pt x="3205156" y="4140638"/>
                  <a:pt x="3231826" y="4172388"/>
                </a:cubicBezTo>
                <a:cubicBezTo>
                  <a:pt x="3258496" y="4204138"/>
                  <a:pt x="3268656" y="4254938"/>
                  <a:pt x="3285166" y="4294308"/>
                </a:cubicBezTo>
                <a:cubicBezTo>
                  <a:pt x="3301676" y="4333678"/>
                  <a:pt x="3286436" y="4350188"/>
                  <a:pt x="3330886" y="4408608"/>
                </a:cubicBezTo>
                <a:cubicBezTo>
                  <a:pt x="3372796" y="4458138"/>
                  <a:pt x="3458698" y="4542875"/>
                  <a:pt x="3551866" y="4644828"/>
                </a:cubicBezTo>
                <a:cubicBezTo>
                  <a:pt x="3645035" y="4746781"/>
                  <a:pt x="3798457" y="4911106"/>
                  <a:pt x="3889897" y="5020326"/>
                </a:cubicBezTo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>
            <a:outerShdw blurRad="101600" dist="635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reeform 5"/>
          <p:cNvSpPr/>
          <p:nvPr/>
        </p:nvSpPr>
        <p:spPr>
          <a:xfrm>
            <a:off x="1266479" y="2659931"/>
            <a:ext cx="897300" cy="922942"/>
          </a:xfrm>
          <a:custGeom>
            <a:avLst/>
            <a:gdLst>
              <a:gd name="connsiteX0" fmla="*/ 1106997 w 2213994"/>
              <a:gd name="connsiteY0" fmla="*/ 432449 h 2180359"/>
              <a:gd name="connsiteX1" fmla="*/ 431357 w 2213994"/>
              <a:gd name="connsiteY1" fmla="*/ 1108089 h 2180359"/>
              <a:gd name="connsiteX2" fmla="*/ 1106997 w 2213994"/>
              <a:gd name="connsiteY2" fmla="*/ 1783729 h 2180359"/>
              <a:gd name="connsiteX3" fmla="*/ 1782637 w 2213994"/>
              <a:gd name="connsiteY3" fmla="*/ 1108089 h 2180359"/>
              <a:gd name="connsiteX4" fmla="*/ 1106997 w 2213994"/>
              <a:gd name="connsiteY4" fmla="*/ 432449 h 2180359"/>
              <a:gd name="connsiteX5" fmla="*/ 1016339 w 2213994"/>
              <a:gd name="connsiteY5" fmla="*/ 0 h 2180359"/>
              <a:gd name="connsiteX6" fmla="*/ 1197655 w 2213994"/>
              <a:gd name="connsiteY6" fmla="*/ 0 h 2180359"/>
              <a:gd name="connsiteX7" fmla="*/ 1237062 w 2213994"/>
              <a:gd name="connsiteY7" fmla="*/ 223520 h 2180359"/>
              <a:gd name="connsiteX8" fmla="*/ 1575952 w 2213994"/>
              <a:gd name="connsiteY8" fmla="*/ 346866 h 2180359"/>
              <a:gd name="connsiteX9" fmla="*/ 1749815 w 2213994"/>
              <a:gd name="connsiteY9" fmla="*/ 200970 h 2180359"/>
              <a:gd name="connsiteX10" fmla="*/ 1888711 w 2213994"/>
              <a:gd name="connsiteY10" fmla="*/ 317518 h 2180359"/>
              <a:gd name="connsiteX11" fmla="*/ 1775222 w 2213994"/>
              <a:gd name="connsiteY11" fmla="*/ 514074 h 2180359"/>
              <a:gd name="connsiteX12" fmla="*/ 1955541 w 2213994"/>
              <a:gd name="connsiteY12" fmla="*/ 826396 h 2180359"/>
              <a:gd name="connsiteX13" fmla="*/ 2182509 w 2213994"/>
              <a:gd name="connsiteY13" fmla="*/ 826390 h 2180359"/>
              <a:gd name="connsiteX14" fmla="*/ 2213994 w 2213994"/>
              <a:gd name="connsiteY14" fmla="*/ 1004952 h 2180359"/>
              <a:gd name="connsiteX15" fmla="*/ 2000713 w 2213994"/>
              <a:gd name="connsiteY15" fmla="*/ 1082574 h 2180359"/>
              <a:gd name="connsiteX16" fmla="*/ 1938089 w 2213994"/>
              <a:gd name="connsiteY16" fmla="*/ 1437734 h 2180359"/>
              <a:gd name="connsiteX17" fmla="*/ 2111959 w 2213994"/>
              <a:gd name="connsiteY17" fmla="*/ 1583621 h 2180359"/>
              <a:gd name="connsiteX18" fmla="*/ 2021301 w 2213994"/>
              <a:gd name="connsiteY18" fmla="*/ 1740646 h 2180359"/>
              <a:gd name="connsiteX19" fmla="*/ 1808024 w 2213994"/>
              <a:gd name="connsiteY19" fmla="*/ 1663013 h 2180359"/>
              <a:gd name="connsiteX20" fmla="*/ 1531759 w 2213994"/>
              <a:gd name="connsiteY20" fmla="*/ 1894827 h 2180359"/>
              <a:gd name="connsiteX21" fmla="*/ 1571177 w 2213994"/>
              <a:gd name="connsiteY21" fmla="*/ 2118345 h 2180359"/>
              <a:gd name="connsiteX22" fmla="*/ 1400795 w 2213994"/>
              <a:gd name="connsiteY22" fmla="*/ 2180359 h 2180359"/>
              <a:gd name="connsiteX23" fmla="*/ 1287316 w 2213994"/>
              <a:gd name="connsiteY23" fmla="*/ 1983797 h 2180359"/>
              <a:gd name="connsiteX24" fmla="*/ 926677 w 2213994"/>
              <a:gd name="connsiteY24" fmla="*/ 1983797 h 2180359"/>
              <a:gd name="connsiteX25" fmla="*/ 813199 w 2213994"/>
              <a:gd name="connsiteY25" fmla="*/ 2180359 h 2180359"/>
              <a:gd name="connsiteX26" fmla="*/ 642817 w 2213994"/>
              <a:gd name="connsiteY26" fmla="*/ 2118345 h 2180359"/>
              <a:gd name="connsiteX27" fmla="*/ 682236 w 2213994"/>
              <a:gd name="connsiteY27" fmla="*/ 1894827 h 2180359"/>
              <a:gd name="connsiteX28" fmla="*/ 405971 w 2213994"/>
              <a:gd name="connsiteY28" fmla="*/ 1663013 h 2180359"/>
              <a:gd name="connsiteX29" fmla="*/ 192693 w 2213994"/>
              <a:gd name="connsiteY29" fmla="*/ 1740646 h 2180359"/>
              <a:gd name="connsiteX30" fmla="*/ 102035 w 2213994"/>
              <a:gd name="connsiteY30" fmla="*/ 1583621 h 2180359"/>
              <a:gd name="connsiteX31" fmla="*/ 275905 w 2213994"/>
              <a:gd name="connsiteY31" fmla="*/ 1437734 h 2180359"/>
              <a:gd name="connsiteX32" fmla="*/ 213281 w 2213994"/>
              <a:gd name="connsiteY32" fmla="*/ 1082574 h 2180359"/>
              <a:gd name="connsiteX33" fmla="*/ 0 w 2213994"/>
              <a:gd name="connsiteY33" fmla="*/ 1004952 h 2180359"/>
              <a:gd name="connsiteX34" fmla="*/ 31485 w 2213994"/>
              <a:gd name="connsiteY34" fmla="*/ 826390 h 2180359"/>
              <a:gd name="connsiteX35" fmla="*/ 258452 w 2213994"/>
              <a:gd name="connsiteY35" fmla="*/ 826396 h 2180359"/>
              <a:gd name="connsiteX36" fmla="*/ 438771 w 2213994"/>
              <a:gd name="connsiteY36" fmla="*/ 514074 h 2180359"/>
              <a:gd name="connsiteX37" fmla="*/ 325283 w 2213994"/>
              <a:gd name="connsiteY37" fmla="*/ 317518 h 2180359"/>
              <a:gd name="connsiteX38" fmla="*/ 464179 w 2213994"/>
              <a:gd name="connsiteY38" fmla="*/ 200970 h 2180359"/>
              <a:gd name="connsiteX39" fmla="*/ 638042 w 2213994"/>
              <a:gd name="connsiteY39" fmla="*/ 346866 h 2180359"/>
              <a:gd name="connsiteX40" fmla="*/ 976932 w 2213994"/>
              <a:gd name="connsiteY40" fmla="*/ 223520 h 2180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213994" h="2180359">
                <a:moveTo>
                  <a:pt x="1106997" y="432449"/>
                </a:moveTo>
                <a:cubicBezTo>
                  <a:pt x="733851" y="432449"/>
                  <a:pt x="431357" y="734943"/>
                  <a:pt x="431357" y="1108089"/>
                </a:cubicBezTo>
                <a:cubicBezTo>
                  <a:pt x="431357" y="1481235"/>
                  <a:pt x="733851" y="1783729"/>
                  <a:pt x="1106997" y="1783729"/>
                </a:cubicBezTo>
                <a:cubicBezTo>
                  <a:pt x="1480143" y="1783729"/>
                  <a:pt x="1782637" y="1481235"/>
                  <a:pt x="1782637" y="1108089"/>
                </a:cubicBezTo>
                <a:cubicBezTo>
                  <a:pt x="1782637" y="734943"/>
                  <a:pt x="1480143" y="432449"/>
                  <a:pt x="1106997" y="432449"/>
                </a:cubicBezTo>
                <a:close/>
                <a:moveTo>
                  <a:pt x="1016339" y="0"/>
                </a:moveTo>
                <a:lnTo>
                  <a:pt x="1197655" y="0"/>
                </a:lnTo>
                <a:lnTo>
                  <a:pt x="1237062" y="223520"/>
                </a:lnTo>
                <a:cubicBezTo>
                  <a:pt x="1357231" y="241189"/>
                  <a:pt x="1472539" y="283158"/>
                  <a:pt x="1575952" y="346866"/>
                </a:cubicBezTo>
                <a:lnTo>
                  <a:pt x="1749815" y="200970"/>
                </a:lnTo>
                <a:lnTo>
                  <a:pt x="1888711" y="317518"/>
                </a:lnTo>
                <a:lnTo>
                  <a:pt x="1775222" y="514074"/>
                </a:lnTo>
                <a:cubicBezTo>
                  <a:pt x="1855919" y="604853"/>
                  <a:pt x="1917273" y="711121"/>
                  <a:pt x="1955541" y="826396"/>
                </a:cubicBezTo>
                <a:lnTo>
                  <a:pt x="2182509" y="826390"/>
                </a:lnTo>
                <a:lnTo>
                  <a:pt x="2213994" y="1004952"/>
                </a:lnTo>
                <a:lnTo>
                  <a:pt x="2000713" y="1082574"/>
                </a:lnTo>
                <a:cubicBezTo>
                  <a:pt x="2004179" y="1203985"/>
                  <a:pt x="1982871" y="1324830"/>
                  <a:pt x="1938089" y="1437734"/>
                </a:cubicBezTo>
                <a:lnTo>
                  <a:pt x="2111959" y="1583621"/>
                </a:lnTo>
                <a:lnTo>
                  <a:pt x="2021301" y="1740646"/>
                </a:lnTo>
                <a:lnTo>
                  <a:pt x="1808024" y="1663013"/>
                </a:lnTo>
                <a:cubicBezTo>
                  <a:pt x="1732638" y="1758248"/>
                  <a:pt x="1638637" y="1837123"/>
                  <a:pt x="1531759" y="1894827"/>
                </a:cubicBezTo>
                <a:lnTo>
                  <a:pt x="1571177" y="2118345"/>
                </a:lnTo>
                <a:lnTo>
                  <a:pt x="1400795" y="2180359"/>
                </a:lnTo>
                <a:lnTo>
                  <a:pt x="1287316" y="1983797"/>
                </a:lnTo>
                <a:cubicBezTo>
                  <a:pt x="1168351" y="2008293"/>
                  <a:pt x="1045642" y="2008293"/>
                  <a:pt x="926677" y="1983797"/>
                </a:cubicBezTo>
                <a:lnTo>
                  <a:pt x="813199" y="2180359"/>
                </a:lnTo>
                <a:lnTo>
                  <a:pt x="642817" y="2118345"/>
                </a:lnTo>
                <a:lnTo>
                  <a:pt x="682236" y="1894827"/>
                </a:lnTo>
                <a:cubicBezTo>
                  <a:pt x="575358" y="1837123"/>
                  <a:pt x="481357" y="1758247"/>
                  <a:pt x="405971" y="1663013"/>
                </a:cubicBezTo>
                <a:lnTo>
                  <a:pt x="192693" y="1740646"/>
                </a:lnTo>
                <a:lnTo>
                  <a:pt x="102035" y="1583621"/>
                </a:lnTo>
                <a:lnTo>
                  <a:pt x="275905" y="1437734"/>
                </a:lnTo>
                <a:cubicBezTo>
                  <a:pt x="231123" y="1324830"/>
                  <a:pt x="209814" y="1203985"/>
                  <a:pt x="213281" y="1082574"/>
                </a:cubicBezTo>
                <a:lnTo>
                  <a:pt x="0" y="1004952"/>
                </a:lnTo>
                <a:lnTo>
                  <a:pt x="31485" y="826390"/>
                </a:lnTo>
                <a:lnTo>
                  <a:pt x="258452" y="826396"/>
                </a:lnTo>
                <a:cubicBezTo>
                  <a:pt x="296720" y="711121"/>
                  <a:pt x="358074" y="604852"/>
                  <a:pt x="438771" y="514074"/>
                </a:cubicBezTo>
                <a:lnTo>
                  <a:pt x="325283" y="317518"/>
                </a:lnTo>
                <a:lnTo>
                  <a:pt x="464179" y="200970"/>
                </a:lnTo>
                <a:lnTo>
                  <a:pt x="638042" y="346866"/>
                </a:lnTo>
                <a:cubicBezTo>
                  <a:pt x="741454" y="283158"/>
                  <a:pt x="856763" y="241190"/>
                  <a:pt x="976932" y="223520"/>
                </a:cubicBezTo>
                <a:close/>
              </a:path>
            </a:pathLst>
          </a:custGeom>
          <a:solidFill>
            <a:srgbClr val="84DFFE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6" name="Freeform 6"/>
          <p:cNvSpPr/>
          <p:nvPr/>
        </p:nvSpPr>
        <p:spPr>
          <a:xfrm>
            <a:off x="1775197" y="3335345"/>
            <a:ext cx="1006916" cy="1035691"/>
          </a:xfrm>
          <a:custGeom>
            <a:avLst/>
            <a:gdLst>
              <a:gd name="connsiteX0" fmla="*/ 1106997 w 2213994"/>
              <a:gd name="connsiteY0" fmla="*/ 561989 h 2180359"/>
              <a:gd name="connsiteX1" fmla="*/ 560897 w 2213994"/>
              <a:gd name="connsiteY1" fmla="*/ 1108089 h 2180359"/>
              <a:gd name="connsiteX2" fmla="*/ 1106997 w 2213994"/>
              <a:gd name="connsiteY2" fmla="*/ 1654189 h 2180359"/>
              <a:gd name="connsiteX3" fmla="*/ 1653097 w 2213994"/>
              <a:gd name="connsiteY3" fmla="*/ 1108089 h 2180359"/>
              <a:gd name="connsiteX4" fmla="*/ 1106997 w 2213994"/>
              <a:gd name="connsiteY4" fmla="*/ 561989 h 2180359"/>
              <a:gd name="connsiteX5" fmla="*/ 1016339 w 2213994"/>
              <a:gd name="connsiteY5" fmla="*/ 0 h 2180359"/>
              <a:gd name="connsiteX6" fmla="*/ 1197655 w 2213994"/>
              <a:gd name="connsiteY6" fmla="*/ 0 h 2180359"/>
              <a:gd name="connsiteX7" fmla="*/ 1237062 w 2213994"/>
              <a:gd name="connsiteY7" fmla="*/ 223520 h 2180359"/>
              <a:gd name="connsiteX8" fmla="*/ 1575952 w 2213994"/>
              <a:gd name="connsiteY8" fmla="*/ 346866 h 2180359"/>
              <a:gd name="connsiteX9" fmla="*/ 1749815 w 2213994"/>
              <a:gd name="connsiteY9" fmla="*/ 200970 h 2180359"/>
              <a:gd name="connsiteX10" fmla="*/ 1888711 w 2213994"/>
              <a:gd name="connsiteY10" fmla="*/ 317518 h 2180359"/>
              <a:gd name="connsiteX11" fmla="*/ 1775222 w 2213994"/>
              <a:gd name="connsiteY11" fmla="*/ 514074 h 2180359"/>
              <a:gd name="connsiteX12" fmla="*/ 1955541 w 2213994"/>
              <a:gd name="connsiteY12" fmla="*/ 826396 h 2180359"/>
              <a:gd name="connsiteX13" fmla="*/ 2182509 w 2213994"/>
              <a:gd name="connsiteY13" fmla="*/ 826390 h 2180359"/>
              <a:gd name="connsiteX14" fmla="*/ 2213994 w 2213994"/>
              <a:gd name="connsiteY14" fmla="*/ 1004952 h 2180359"/>
              <a:gd name="connsiteX15" fmla="*/ 2000713 w 2213994"/>
              <a:gd name="connsiteY15" fmla="*/ 1082574 h 2180359"/>
              <a:gd name="connsiteX16" fmla="*/ 1938089 w 2213994"/>
              <a:gd name="connsiteY16" fmla="*/ 1437734 h 2180359"/>
              <a:gd name="connsiteX17" fmla="*/ 2111959 w 2213994"/>
              <a:gd name="connsiteY17" fmla="*/ 1583621 h 2180359"/>
              <a:gd name="connsiteX18" fmla="*/ 2021301 w 2213994"/>
              <a:gd name="connsiteY18" fmla="*/ 1740646 h 2180359"/>
              <a:gd name="connsiteX19" fmla="*/ 1808024 w 2213994"/>
              <a:gd name="connsiteY19" fmla="*/ 1663013 h 2180359"/>
              <a:gd name="connsiteX20" fmla="*/ 1531759 w 2213994"/>
              <a:gd name="connsiteY20" fmla="*/ 1894827 h 2180359"/>
              <a:gd name="connsiteX21" fmla="*/ 1571177 w 2213994"/>
              <a:gd name="connsiteY21" fmla="*/ 2118345 h 2180359"/>
              <a:gd name="connsiteX22" fmla="*/ 1400795 w 2213994"/>
              <a:gd name="connsiteY22" fmla="*/ 2180359 h 2180359"/>
              <a:gd name="connsiteX23" fmla="*/ 1287316 w 2213994"/>
              <a:gd name="connsiteY23" fmla="*/ 1983797 h 2180359"/>
              <a:gd name="connsiteX24" fmla="*/ 926677 w 2213994"/>
              <a:gd name="connsiteY24" fmla="*/ 1983797 h 2180359"/>
              <a:gd name="connsiteX25" fmla="*/ 813199 w 2213994"/>
              <a:gd name="connsiteY25" fmla="*/ 2180359 h 2180359"/>
              <a:gd name="connsiteX26" fmla="*/ 642817 w 2213994"/>
              <a:gd name="connsiteY26" fmla="*/ 2118345 h 2180359"/>
              <a:gd name="connsiteX27" fmla="*/ 682236 w 2213994"/>
              <a:gd name="connsiteY27" fmla="*/ 1894827 h 2180359"/>
              <a:gd name="connsiteX28" fmla="*/ 405971 w 2213994"/>
              <a:gd name="connsiteY28" fmla="*/ 1663013 h 2180359"/>
              <a:gd name="connsiteX29" fmla="*/ 192693 w 2213994"/>
              <a:gd name="connsiteY29" fmla="*/ 1740646 h 2180359"/>
              <a:gd name="connsiteX30" fmla="*/ 102035 w 2213994"/>
              <a:gd name="connsiteY30" fmla="*/ 1583621 h 2180359"/>
              <a:gd name="connsiteX31" fmla="*/ 275905 w 2213994"/>
              <a:gd name="connsiteY31" fmla="*/ 1437734 h 2180359"/>
              <a:gd name="connsiteX32" fmla="*/ 213281 w 2213994"/>
              <a:gd name="connsiteY32" fmla="*/ 1082574 h 2180359"/>
              <a:gd name="connsiteX33" fmla="*/ 0 w 2213994"/>
              <a:gd name="connsiteY33" fmla="*/ 1004952 h 2180359"/>
              <a:gd name="connsiteX34" fmla="*/ 31485 w 2213994"/>
              <a:gd name="connsiteY34" fmla="*/ 826390 h 2180359"/>
              <a:gd name="connsiteX35" fmla="*/ 258452 w 2213994"/>
              <a:gd name="connsiteY35" fmla="*/ 826396 h 2180359"/>
              <a:gd name="connsiteX36" fmla="*/ 438771 w 2213994"/>
              <a:gd name="connsiteY36" fmla="*/ 514074 h 2180359"/>
              <a:gd name="connsiteX37" fmla="*/ 325283 w 2213994"/>
              <a:gd name="connsiteY37" fmla="*/ 317518 h 2180359"/>
              <a:gd name="connsiteX38" fmla="*/ 464179 w 2213994"/>
              <a:gd name="connsiteY38" fmla="*/ 200970 h 2180359"/>
              <a:gd name="connsiteX39" fmla="*/ 638042 w 2213994"/>
              <a:gd name="connsiteY39" fmla="*/ 346866 h 2180359"/>
              <a:gd name="connsiteX40" fmla="*/ 976932 w 2213994"/>
              <a:gd name="connsiteY40" fmla="*/ 223520 h 2180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213994" h="2180359">
                <a:moveTo>
                  <a:pt x="1106997" y="561989"/>
                </a:moveTo>
                <a:cubicBezTo>
                  <a:pt x="805394" y="561989"/>
                  <a:pt x="560897" y="806486"/>
                  <a:pt x="560897" y="1108089"/>
                </a:cubicBezTo>
                <a:cubicBezTo>
                  <a:pt x="560897" y="1409692"/>
                  <a:pt x="805394" y="1654189"/>
                  <a:pt x="1106997" y="1654189"/>
                </a:cubicBezTo>
                <a:cubicBezTo>
                  <a:pt x="1408600" y="1654189"/>
                  <a:pt x="1653097" y="1409692"/>
                  <a:pt x="1653097" y="1108089"/>
                </a:cubicBezTo>
                <a:cubicBezTo>
                  <a:pt x="1653097" y="806486"/>
                  <a:pt x="1408600" y="561989"/>
                  <a:pt x="1106997" y="561989"/>
                </a:cubicBezTo>
                <a:close/>
                <a:moveTo>
                  <a:pt x="1016339" y="0"/>
                </a:moveTo>
                <a:lnTo>
                  <a:pt x="1197655" y="0"/>
                </a:lnTo>
                <a:lnTo>
                  <a:pt x="1237062" y="223520"/>
                </a:lnTo>
                <a:cubicBezTo>
                  <a:pt x="1357231" y="241189"/>
                  <a:pt x="1472539" y="283158"/>
                  <a:pt x="1575952" y="346866"/>
                </a:cubicBezTo>
                <a:lnTo>
                  <a:pt x="1749815" y="200970"/>
                </a:lnTo>
                <a:lnTo>
                  <a:pt x="1888711" y="317518"/>
                </a:lnTo>
                <a:lnTo>
                  <a:pt x="1775222" y="514074"/>
                </a:lnTo>
                <a:cubicBezTo>
                  <a:pt x="1855919" y="604853"/>
                  <a:pt x="1917273" y="711121"/>
                  <a:pt x="1955541" y="826396"/>
                </a:cubicBezTo>
                <a:lnTo>
                  <a:pt x="2182509" y="826390"/>
                </a:lnTo>
                <a:lnTo>
                  <a:pt x="2213994" y="1004952"/>
                </a:lnTo>
                <a:lnTo>
                  <a:pt x="2000713" y="1082574"/>
                </a:lnTo>
                <a:cubicBezTo>
                  <a:pt x="2004179" y="1203985"/>
                  <a:pt x="1982871" y="1324830"/>
                  <a:pt x="1938089" y="1437734"/>
                </a:cubicBezTo>
                <a:lnTo>
                  <a:pt x="2111959" y="1583621"/>
                </a:lnTo>
                <a:lnTo>
                  <a:pt x="2021301" y="1740646"/>
                </a:lnTo>
                <a:lnTo>
                  <a:pt x="1808024" y="1663013"/>
                </a:lnTo>
                <a:cubicBezTo>
                  <a:pt x="1732638" y="1758248"/>
                  <a:pt x="1638637" y="1837123"/>
                  <a:pt x="1531759" y="1894827"/>
                </a:cubicBezTo>
                <a:lnTo>
                  <a:pt x="1571177" y="2118345"/>
                </a:lnTo>
                <a:lnTo>
                  <a:pt x="1400795" y="2180359"/>
                </a:lnTo>
                <a:lnTo>
                  <a:pt x="1287316" y="1983797"/>
                </a:lnTo>
                <a:cubicBezTo>
                  <a:pt x="1168351" y="2008293"/>
                  <a:pt x="1045642" y="2008293"/>
                  <a:pt x="926677" y="1983797"/>
                </a:cubicBezTo>
                <a:lnTo>
                  <a:pt x="813199" y="2180359"/>
                </a:lnTo>
                <a:lnTo>
                  <a:pt x="642817" y="2118345"/>
                </a:lnTo>
                <a:lnTo>
                  <a:pt x="682236" y="1894827"/>
                </a:lnTo>
                <a:cubicBezTo>
                  <a:pt x="575358" y="1837123"/>
                  <a:pt x="481357" y="1758247"/>
                  <a:pt x="405971" y="1663013"/>
                </a:cubicBezTo>
                <a:lnTo>
                  <a:pt x="192693" y="1740646"/>
                </a:lnTo>
                <a:lnTo>
                  <a:pt x="102035" y="1583621"/>
                </a:lnTo>
                <a:lnTo>
                  <a:pt x="275905" y="1437734"/>
                </a:lnTo>
                <a:cubicBezTo>
                  <a:pt x="231123" y="1324830"/>
                  <a:pt x="209814" y="1203985"/>
                  <a:pt x="213281" y="1082574"/>
                </a:cubicBezTo>
                <a:lnTo>
                  <a:pt x="0" y="1004952"/>
                </a:lnTo>
                <a:lnTo>
                  <a:pt x="31485" y="826390"/>
                </a:lnTo>
                <a:lnTo>
                  <a:pt x="258452" y="826396"/>
                </a:lnTo>
                <a:cubicBezTo>
                  <a:pt x="296720" y="711121"/>
                  <a:pt x="358074" y="604852"/>
                  <a:pt x="438771" y="514074"/>
                </a:cubicBezTo>
                <a:lnTo>
                  <a:pt x="325283" y="317518"/>
                </a:lnTo>
                <a:lnTo>
                  <a:pt x="464179" y="200970"/>
                </a:lnTo>
                <a:lnTo>
                  <a:pt x="638042" y="346866"/>
                </a:lnTo>
                <a:cubicBezTo>
                  <a:pt x="741454" y="283158"/>
                  <a:pt x="856763" y="241190"/>
                  <a:pt x="976932" y="223520"/>
                </a:cubicBezTo>
                <a:close/>
              </a:path>
            </a:pathLst>
          </a:custGeom>
          <a:solidFill>
            <a:srgbClr val="F5C35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" name="Freeform 7"/>
          <p:cNvSpPr/>
          <p:nvPr/>
        </p:nvSpPr>
        <p:spPr>
          <a:xfrm>
            <a:off x="2145585" y="2763716"/>
            <a:ext cx="570875" cy="646964"/>
          </a:xfrm>
          <a:custGeom>
            <a:avLst/>
            <a:gdLst>
              <a:gd name="connsiteX0" fmla="*/ 731630 w 1463260"/>
              <a:gd name="connsiteY0" fmla="*/ 406741 h 1587726"/>
              <a:gd name="connsiteX1" fmla="*/ 344508 w 1463260"/>
              <a:gd name="connsiteY1" fmla="*/ 793863 h 1587726"/>
              <a:gd name="connsiteX2" fmla="*/ 731630 w 1463260"/>
              <a:gd name="connsiteY2" fmla="*/ 1180985 h 1587726"/>
              <a:gd name="connsiteX3" fmla="*/ 1118752 w 1463260"/>
              <a:gd name="connsiteY3" fmla="*/ 793863 h 1587726"/>
              <a:gd name="connsiteX4" fmla="*/ 731630 w 1463260"/>
              <a:gd name="connsiteY4" fmla="*/ 406741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406741"/>
                </a:moveTo>
                <a:cubicBezTo>
                  <a:pt x="517828" y="406741"/>
                  <a:pt x="344508" y="580061"/>
                  <a:pt x="344508" y="793863"/>
                </a:cubicBezTo>
                <a:cubicBezTo>
                  <a:pt x="344508" y="1007665"/>
                  <a:pt x="517828" y="1180985"/>
                  <a:pt x="731630" y="1180985"/>
                </a:cubicBezTo>
                <a:cubicBezTo>
                  <a:pt x="945432" y="1180985"/>
                  <a:pt x="1118752" y="1007665"/>
                  <a:pt x="1118752" y="793863"/>
                </a:cubicBezTo>
                <a:cubicBezTo>
                  <a:pt x="1118752" y="580061"/>
                  <a:pt x="945432" y="406741"/>
                  <a:pt x="731630" y="406741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53D7C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" name="Freeform 8"/>
          <p:cNvSpPr/>
          <p:nvPr/>
        </p:nvSpPr>
        <p:spPr>
          <a:xfrm rot="20700000">
            <a:off x="1195447" y="3499095"/>
            <a:ext cx="632593" cy="716909"/>
          </a:xfrm>
          <a:custGeom>
            <a:avLst/>
            <a:gdLst>
              <a:gd name="connsiteX0" fmla="*/ 823018 w 1433696"/>
              <a:gd name="connsiteY0" fmla="*/ 381592 h 1555648"/>
              <a:gd name="connsiteX1" fmla="*/ 320616 w 1433696"/>
              <a:gd name="connsiteY1" fmla="*/ 671654 h 1555648"/>
              <a:gd name="connsiteX2" fmla="*/ 610678 w 1433696"/>
              <a:gd name="connsiteY2" fmla="*/ 1174056 h 1555648"/>
              <a:gd name="connsiteX3" fmla="*/ 1113080 w 1433696"/>
              <a:gd name="connsiteY3" fmla="*/ 883994 h 1555648"/>
              <a:gd name="connsiteX4" fmla="*/ 823018 w 1433696"/>
              <a:gd name="connsiteY4" fmla="*/ 381592 h 1555648"/>
              <a:gd name="connsiteX5" fmla="*/ 803314 w 1433696"/>
              <a:gd name="connsiteY5" fmla="*/ 0 h 1555648"/>
              <a:gd name="connsiteX6" fmla="*/ 859474 w 1433696"/>
              <a:gd name="connsiteY6" fmla="*/ 238914 h 1555648"/>
              <a:gd name="connsiteX7" fmla="*/ 1112245 w 1433696"/>
              <a:gd name="connsiteY7" fmla="*/ 384851 h 1555648"/>
              <a:gd name="connsiteX8" fmla="*/ 1347230 w 1433696"/>
              <a:gd name="connsiteY8" fmla="*/ 314030 h 1555648"/>
              <a:gd name="connsiteX9" fmla="*/ 1433696 w 1433696"/>
              <a:gd name="connsiteY9" fmla="*/ 463794 h 1555648"/>
              <a:gd name="connsiteX10" fmla="*/ 1254871 w 1433696"/>
              <a:gd name="connsiteY10" fmla="*/ 631887 h 1555648"/>
              <a:gd name="connsiteX11" fmla="*/ 1254871 w 1433696"/>
              <a:gd name="connsiteY11" fmla="*/ 923761 h 1555648"/>
              <a:gd name="connsiteX12" fmla="*/ 1433696 w 1433696"/>
              <a:gd name="connsiteY12" fmla="*/ 1091854 h 1555648"/>
              <a:gd name="connsiteX13" fmla="*/ 1347230 w 1433696"/>
              <a:gd name="connsiteY13" fmla="*/ 1241618 h 1555648"/>
              <a:gd name="connsiteX14" fmla="*/ 1112245 w 1433696"/>
              <a:gd name="connsiteY14" fmla="*/ 1170797 h 1555648"/>
              <a:gd name="connsiteX15" fmla="*/ 859474 w 1433696"/>
              <a:gd name="connsiteY15" fmla="*/ 1316734 h 1555648"/>
              <a:gd name="connsiteX16" fmla="*/ 803314 w 1433696"/>
              <a:gd name="connsiteY16" fmla="*/ 1555648 h 1555648"/>
              <a:gd name="connsiteX17" fmla="*/ 630382 w 1433696"/>
              <a:gd name="connsiteY17" fmla="*/ 1555648 h 1555648"/>
              <a:gd name="connsiteX18" fmla="*/ 574222 w 1433696"/>
              <a:gd name="connsiteY18" fmla="*/ 1316734 h 1555648"/>
              <a:gd name="connsiteX19" fmla="*/ 321451 w 1433696"/>
              <a:gd name="connsiteY19" fmla="*/ 1170797 h 1555648"/>
              <a:gd name="connsiteX20" fmla="*/ 86466 w 1433696"/>
              <a:gd name="connsiteY20" fmla="*/ 1241618 h 1555648"/>
              <a:gd name="connsiteX21" fmla="*/ 0 w 1433696"/>
              <a:gd name="connsiteY21" fmla="*/ 1091854 h 1555648"/>
              <a:gd name="connsiteX22" fmla="*/ 178825 w 1433696"/>
              <a:gd name="connsiteY22" fmla="*/ 923761 h 1555648"/>
              <a:gd name="connsiteX23" fmla="*/ 178825 w 1433696"/>
              <a:gd name="connsiteY23" fmla="*/ 631887 h 1555648"/>
              <a:gd name="connsiteX24" fmla="*/ 0 w 1433696"/>
              <a:gd name="connsiteY24" fmla="*/ 463794 h 1555648"/>
              <a:gd name="connsiteX25" fmla="*/ 86466 w 1433696"/>
              <a:gd name="connsiteY25" fmla="*/ 314030 h 1555648"/>
              <a:gd name="connsiteX26" fmla="*/ 321451 w 1433696"/>
              <a:gd name="connsiteY26" fmla="*/ 384851 h 1555648"/>
              <a:gd name="connsiteX27" fmla="*/ 574222 w 1433696"/>
              <a:gd name="connsiteY27" fmla="*/ 238914 h 1555648"/>
              <a:gd name="connsiteX28" fmla="*/ 630382 w 1433696"/>
              <a:gd name="connsiteY28" fmla="*/ 0 h 1555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433696" h="1555648">
                <a:moveTo>
                  <a:pt x="823018" y="381592"/>
                </a:moveTo>
                <a:cubicBezTo>
                  <a:pt x="604185" y="322955"/>
                  <a:pt x="379252" y="452820"/>
                  <a:pt x="320616" y="671654"/>
                </a:cubicBezTo>
                <a:cubicBezTo>
                  <a:pt x="261979" y="890487"/>
                  <a:pt x="391844" y="1115420"/>
                  <a:pt x="610678" y="1174056"/>
                </a:cubicBezTo>
                <a:cubicBezTo>
                  <a:pt x="829511" y="1232693"/>
                  <a:pt x="1054444" y="1102828"/>
                  <a:pt x="1113080" y="883994"/>
                </a:cubicBezTo>
                <a:cubicBezTo>
                  <a:pt x="1171717" y="665161"/>
                  <a:pt x="1041852" y="440228"/>
                  <a:pt x="823018" y="381592"/>
                </a:cubicBezTo>
                <a:close/>
                <a:moveTo>
                  <a:pt x="803314" y="0"/>
                </a:moveTo>
                <a:lnTo>
                  <a:pt x="859474" y="238914"/>
                </a:lnTo>
                <a:cubicBezTo>
                  <a:pt x="955196" y="264248"/>
                  <a:pt x="1042444" y="314620"/>
                  <a:pt x="1112245" y="384851"/>
                </a:cubicBezTo>
                <a:lnTo>
                  <a:pt x="1347230" y="314030"/>
                </a:lnTo>
                <a:lnTo>
                  <a:pt x="1433696" y="463794"/>
                </a:lnTo>
                <a:lnTo>
                  <a:pt x="1254871" y="631887"/>
                </a:lnTo>
                <a:cubicBezTo>
                  <a:pt x="1280793" y="727452"/>
                  <a:pt x="1280793" y="828197"/>
                  <a:pt x="1254871" y="923761"/>
                </a:cubicBezTo>
                <a:lnTo>
                  <a:pt x="1433696" y="1091854"/>
                </a:lnTo>
                <a:lnTo>
                  <a:pt x="1347230" y="1241618"/>
                </a:lnTo>
                <a:lnTo>
                  <a:pt x="1112245" y="1170797"/>
                </a:lnTo>
                <a:cubicBezTo>
                  <a:pt x="1042444" y="1241028"/>
                  <a:pt x="955197" y="1291401"/>
                  <a:pt x="859474" y="1316734"/>
                </a:cubicBezTo>
                <a:lnTo>
                  <a:pt x="803314" y="1555648"/>
                </a:lnTo>
                <a:lnTo>
                  <a:pt x="630382" y="1555648"/>
                </a:lnTo>
                <a:lnTo>
                  <a:pt x="574222" y="1316734"/>
                </a:lnTo>
                <a:cubicBezTo>
                  <a:pt x="478500" y="1291400"/>
                  <a:pt x="391252" y="1241028"/>
                  <a:pt x="321451" y="1170797"/>
                </a:cubicBezTo>
                <a:lnTo>
                  <a:pt x="86466" y="1241618"/>
                </a:lnTo>
                <a:lnTo>
                  <a:pt x="0" y="1091854"/>
                </a:lnTo>
                <a:lnTo>
                  <a:pt x="178825" y="923761"/>
                </a:lnTo>
                <a:cubicBezTo>
                  <a:pt x="152903" y="828196"/>
                  <a:pt x="152903" y="727451"/>
                  <a:pt x="178825" y="631887"/>
                </a:cubicBezTo>
                <a:lnTo>
                  <a:pt x="0" y="463794"/>
                </a:lnTo>
                <a:lnTo>
                  <a:pt x="86466" y="314030"/>
                </a:lnTo>
                <a:lnTo>
                  <a:pt x="321451" y="384851"/>
                </a:lnTo>
                <a:cubicBezTo>
                  <a:pt x="391252" y="314620"/>
                  <a:pt x="478499" y="264247"/>
                  <a:pt x="574222" y="238914"/>
                </a:cubicBezTo>
                <a:lnTo>
                  <a:pt x="630382" y="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Freeform 9"/>
          <p:cNvSpPr/>
          <p:nvPr/>
        </p:nvSpPr>
        <p:spPr>
          <a:xfrm>
            <a:off x="956844" y="3183291"/>
            <a:ext cx="352600" cy="399597"/>
          </a:xfrm>
          <a:custGeom>
            <a:avLst/>
            <a:gdLst>
              <a:gd name="connsiteX0" fmla="*/ 731630 w 1463260"/>
              <a:gd name="connsiteY0" fmla="*/ 406741 h 1587726"/>
              <a:gd name="connsiteX1" fmla="*/ 344508 w 1463260"/>
              <a:gd name="connsiteY1" fmla="*/ 793863 h 1587726"/>
              <a:gd name="connsiteX2" fmla="*/ 731630 w 1463260"/>
              <a:gd name="connsiteY2" fmla="*/ 1180985 h 1587726"/>
              <a:gd name="connsiteX3" fmla="*/ 1118752 w 1463260"/>
              <a:gd name="connsiteY3" fmla="*/ 793863 h 1587726"/>
              <a:gd name="connsiteX4" fmla="*/ 731630 w 1463260"/>
              <a:gd name="connsiteY4" fmla="*/ 406741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406741"/>
                </a:moveTo>
                <a:cubicBezTo>
                  <a:pt x="517828" y="406741"/>
                  <a:pt x="344508" y="580061"/>
                  <a:pt x="344508" y="793863"/>
                </a:cubicBezTo>
                <a:cubicBezTo>
                  <a:pt x="344508" y="1007665"/>
                  <a:pt x="517828" y="1180985"/>
                  <a:pt x="731630" y="1180985"/>
                </a:cubicBezTo>
                <a:cubicBezTo>
                  <a:pt x="945432" y="1180985"/>
                  <a:pt x="1118752" y="1007665"/>
                  <a:pt x="1118752" y="793863"/>
                </a:cubicBezTo>
                <a:cubicBezTo>
                  <a:pt x="1118752" y="580061"/>
                  <a:pt x="945432" y="406741"/>
                  <a:pt x="731630" y="406741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D3D2D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" name="Freeform 10"/>
          <p:cNvSpPr/>
          <p:nvPr/>
        </p:nvSpPr>
        <p:spPr>
          <a:xfrm>
            <a:off x="2630226" y="3296979"/>
            <a:ext cx="352600" cy="399597"/>
          </a:xfrm>
          <a:custGeom>
            <a:avLst/>
            <a:gdLst>
              <a:gd name="connsiteX0" fmla="*/ 731630 w 1463260"/>
              <a:gd name="connsiteY0" fmla="*/ 406741 h 1587726"/>
              <a:gd name="connsiteX1" fmla="*/ 344508 w 1463260"/>
              <a:gd name="connsiteY1" fmla="*/ 793863 h 1587726"/>
              <a:gd name="connsiteX2" fmla="*/ 731630 w 1463260"/>
              <a:gd name="connsiteY2" fmla="*/ 1180985 h 1587726"/>
              <a:gd name="connsiteX3" fmla="*/ 1118752 w 1463260"/>
              <a:gd name="connsiteY3" fmla="*/ 793863 h 1587726"/>
              <a:gd name="connsiteX4" fmla="*/ 731630 w 1463260"/>
              <a:gd name="connsiteY4" fmla="*/ 406741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406741"/>
                </a:moveTo>
                <a:cubicBezTo>
                  <a:pt x="517828" y="406741"/>
                  <a:pt x="344508" y="580061"/>
                  <a:pt x="344508" y="793863"/>
                </a:cubicBezTo>
                <a:cubicBezTo>
                  <a:pt x="344508" y="1007665"/>
                  <a:pt x="517828" y="1180985"/>
                  <a:pt x="731630" y="1180985"/>
                </a:cubicBezTo>
                <a:cubicBezTo>
                  <a:pt x="945432" y="1180985"/>
                  <a:pt x="1118752" y="1007665"/>
                  <a:pt x="1118752" y="793863"/>
                </a:cubicBezTo>
                <a:cubicBezTo>
                  <a:pt x="1118752" y="580061"/>
                  <a:pt x="945432" y="406741"/>
                  <a:pt x="731630" y="406741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E6E7E9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Freeform 11"/>
          <p:cNvSpPr/>
          <p:nvPr/>
        </p:nvSpPr>
        <p:spPr>
          <a:xfrm rot="20700000">
            <a:off x="2083200" y="3631677"/>
            <a:ext cx="390923" cy="443027"/>
          </a:xfrm>
          <a:custGeom>
            <a:avLst/>
            <a:gdLst>
              <a:gd name="connsiteX0" fmla="*/ 840547 w 1433696"/>
              <a:gd name="connsiteY0" fmla="*/ 316176 h 1555648"/>
              <a:gd name="connsiteX1" fmla="*/ 255200 w 1433696"/>
              <a:gd name="connsiteY1" fmla="*/ 654127 h 1555648"/>
              <a:gd name="connsiteX2" fmla="*/ 593150 w 1433696"/>
              <a:gd name="connsiteY2" fmla="*/ 1239474 h 1555648"/>
              <a:gd name="connsiteX3" fmla="*/ 1178498 w 1433696"/>
              <a:gd name="connsiteY3" fmla="*/ 901524 h 1555648"/>
              <a:gd name="connsiteX4" fmla="*/ 840547 w 1433696"/>
              <a:gd name="connsiteY4" fmla="*/ 316176 h 1555648"/>
              <a:gd name="connsiteX5" fmla="*/ 803314 w 1433696"/>
              <a:gd name="connsiteY5" fmla="*/ 0 h 1555648"/>
              <a:gd name="connsiteX6" fmla="*/ 859474 w 1433696"/>
              <a:gd name="connsiteY6" fmla="*/ 238914 h 1555648"/>
              <a:gd name="connsiteX7" fmla="*/ 1112245 w 1433696"/>
              <a:gd name="connsiteY7" fmla="*/ 384851 h 1555648"/>
              <a:gd name="connsiteX8" fmla="*/ 1347230 w 1433696"/>
              <a:gd name="connsiteY8" fmla="*/ 314030 h 1555648"/>
              <a:gd name="connsiteX9" fmla="*/ 1433696 w 1433696"/>
              <a:gd name="connsiteY9" fmla="*/ 463794 h 1555648"/>
              <a:gd name="connsiteX10" fmla="*/ 1254871 w 1433696"/>
              <a:gd name="connsiteY10" fmla="*/ 631887 h 1555648"/>
              <a:gd name="connsiteX11" fmla="*/ 1254871 w 1433696"/>
              <a:gd name="connsiteY11" fmla="*/ 923761 h 1555648"/>
              <a:gd name="connsiteX12" fmla="*/ 1433696 w 1433696"/>
              <a:gd name="connsiteY12" fmla="*/ 1091854 h 1555648"/>
              <a:gd name="connsiteX13" fmla="*/ 1347230 w 1433696"/>
              <a:gd name="connsiteY13" fmla="*/ 1241618 h 1555648"/>
              <a:gd name="connsiteX14" fmla="*/ 1112245 w 1433696"/>
              <a:gd name="connsiteY14" fmla="*/ 1170797 h 1555648"/>
              <a:gd name="connsiteX15" fmla="*/ 859474 w 1433696"/>
              <a:gd name="connsiteY15" fmla="*/ 1316734 h 1555648"/>
              <a:gd name="connsiteX16" fmla="*/ 803314 w 1433696"/>
              <a:gd name="connsiteY16" fmla="*/ 1555648 h 1555648"/>
              <a:gd name="connsiteX17" fmla="*/ 630382 w 1433696"/>
              <a:gd name="connsiteY17" fmla="*/ 1555648 h 1555648"/>
              <a:gd name="connsiteX18" fmla="*/ 574222 w 1433696"/>
              <a:gd name="connsiteY18" fmla="*/ 1316734 h 1555648"/>
              <a:gd name="connsiteX19" fmla="*/ 321451 w 1433696"/>
              <a:gd name="connsiteY19" fmla="*/ 1170797 h 1555648"/>
              <a:gd name="connsiteX20" fmla="*/ 86466 w 1433696"/>
              <a:gd name="connsiteY20" fmla="*/ 1241618 h 1555648"/>
              <a:gd name="connsiteX21" fmla="*/ 0 w 1433696"/>
              <a:gd name="connsiteY21" fmla="*/ 1091854 h 1555648"/>
              <a:gd name="connsiteX22" fmla="*/ 178825 w 1433696"/>
              <a:gd name="connsiteY22" fmla="*/ 923761 h 1555648"/>
              <a:gd name="connsiteX23" fmla="*/ 178825 w 1433696"/>
              <a:gd name="connsiteY23" fmla="*/ 631887 h 1555648"/>
              <a:gd name="connsiteX24" fmla="*/ 0 w 1433696"/>
              <a:gd name="connsiteY24" fmla="*/ 463794 h 1555648"/>
              <a:gd name="connsiteX25" fmla="*/ 86466 w 1433696"/>
              <a:gd name="connsiteY25" fmla="*/ 314030 h 1555648"/>
              <a:gd name="connsiteX26" fmla="*/ 321451 w 1433696"/>
              <a:gd name="connsiteY26" fmla="*/ 384851 h 1555648"/>
              <a:gd name="connsiteX27" fmla="*/ 574222 w 1433696"/>
              <a:gd name="connsiteY27" fmla="*/ 238914 h 1555648"/>
              <a:gd name="connsiteX28" fmla="*/ 630382 w 1433696"/>
              <a:gd name="connsiteY28" fmla="*/ 0 h 1555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433696" h="1555648">
                <a:moveTo>
                  <a:pt x="840547" y="316176"/>
                </a:moveTo>
                <a:cubicBezTo>
                  <a:pt x="585585" y="247860"/>
                  <a:pt x="323517" y="399165"/>
                  <a:pt x="255200" y="654127"/>
                </a:cubicBezTo>
                <a:cubicBezTo>
                  <a:pt x="186883" y="909089"/>
                  <a:pt x="338188" y="1171157"/>
                  <a:pt x="593150" y="1239474"/>
                </a:cubicBezTo>
                <a:cubicBezTo>
                  <a:pt x="848112" y="1307791"/>
                  <a:pt x="1110181" y="1156486"/>
                  <a:pt x="1178498" y="901524"/>
                </a:cubicBezTo>
                <a:cubicBezTo>
                  <a:pt x="1246814" y="646562"/>
                  <a:pt x="1095509" y="384493"/>
                  <a:pt x="840547" y="316176"/>
                </a:cubicBezTo>
                <a:close/>
                <a:moveTo>
                  <a:pt x="803314" y="0"/>
                </a:moveTo>
                <a:lnTo>
                  <a:pt x="859474" y="238914"/>
                </a:lnTo>
                <a:cubicBezTo>
                  <a:pt x="955196" y="264248"/>
                  <a:pt x="1042444" y="314620"/>
                  <a:pt x="1112245" y="384851"/>
                </a:cubicBezTo>
                <a:lnTo>
                  <a:pt x="1347230" y="314030"/>
                </a:lnTo>
                <a:lnTo>
                  <a:pt x="1433696" y="463794"/>
                </a:lnTo>
                <a:lnTo>
                  <a:pt x="1254871" y="631887"/>
                </a:lnTo>
                <a:cubicBezTo>
                  <a:pt x="1280793" y="727452"/>
                  <a:pt x="1280793" y="828197"/>
                  <a:pt x="1254871" y="923761"/>
                </a:cubicBezTo>
                <a:lnTo>
                  <a:pt x="1433696" y="1091854"/>
                </a:lnTo>
                <a:lnTo>
                  <a:pt x="1347230" y="1241618"/>
                </a:lnTo>
                <a:lnTo>
                  <a:pt x="1112245" y="1170797"/>
                </a:lnTo>
                <a:cubicBezTo>
                  <a:pt x="1042444" y="1241028"/>
                  <a:pt x="955197" y="1291401"/>
                  <a:pt x="859474" y="1316734"/>
                </a:cubicBezTo>
                <a:lnTo>
                  <a:pt x="803314" y="1555648"/>
                </a:lnTo>
                <a:lnTo>
                  <a:pt x="630382" y="1555648"/>
                </a:lnTo>
                <a:lnTo>
                  <a:pt x="574222" y="1316734"/>
                </a:lnTo>
                <a:cubicBezTo>
                  <a:pt x="478500" y="1291400"/>
                  <a:pt x="391252" y="1241028"/>
                  <a:pt x="321451" y="1170797"/>
                </a:cubicBezTo>
                <a:lnTo>
                  <a:pt x="86466" y="1241618"/>
                </a:lnTo>
                <a:lnTo>
                  <a:pt x="0" y="1091854"/>
                </a:lnTo>
                <a:lnTo>
                  <a:pt x="178825" y="923761"/>
                </a:lnTo>
                <a:cubicBezTo>
                  <a:pt x="152903" y="828196"/>
                  <a:pt x="152903" y="727451"/>
                  <a:pt x="178825" y="631887"/>
                </a:cubicBezTo>
                <a:lnTo>
                  <a:pt x="0" y="463794"/>
                </a:lnTo>
                <a:lnTo>
                  <a:pt x="86466" y="314030"/>
                </a:lnTo>
                <a:lnTo>
                  <a:pt x="321451" y="384851"/>
                </a:lnTo>
                <a:cubicBezTo>
                  <a:pt x="391252" y="314620"/>
                  <a:pt x="478499" y="264247"/>
                  <a:pt x="574222" y="238914"/>
                </a:cubicBezTo>
                <a:lnTo>
                  <a:pt x="630382" y="0"/>
                </a:lnTo>
                <a:close/>
              </a:path>
            </a:pathLst>
          </a:custGeom>
          <a:solidFill>
            <a:srgbClr val="F5C35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2" name="Freeform 12"/>
          <p:cNvSpPr/>
          <p:nvPr/>
        </p:nvSpPr>
        <p:spPr>
          <a:xfrm>
            <a:off x="1515017" y="2890713"/>
            <a:ext cx="407141" cy="461407"/>
          </a:xfrm>
          <a:custGeom>
            <a:avLst/>
            <a:gdLst>
              <a:gd name="connsiteX0" fmla="*/ 731630 w 1463260"/>
              <a:gd name="connsiteY0" fmla="*/ 383653 h 1587726"/>
              <a:gd name="connsiteX1" fmla="*/ 321420 w 1463260"/>
              <a:gd name="connsiteY1" fmla="*/ 793863 h 1587726"/>
              <a:gd name="connsiteX2" fmla="*/ 731630 w 1463260"/>
              <a:gd name="connsiteY2" fmla="*/ 1204073 h 1587726"/>
              <a:gd name="connsiteX3" fmla="*/ 1141840 w 1463260"/>
              <a:gd name="connsiteY3" fmla="*/ 793863 h 1587726"/>
              <a:gd name="connsiteX4" fmla="*/ 731630 w 1463260"/>
              <a:gd name="connsiteY4" fmla="*/ 383653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383653"/>
                </a:moveTo>
                <a:cubicBezTo>
                  <a:pt x="505077" y="383653"/>
                  <a:pt x="321420" y="567310"/>
                  <a:pt x="321420" y="793863"/>
                </a:cubicBezTo>
                <a:cubicBezTo>
                  <a:pt x="321420" y="1020416"/>
                  <a:pt x="505077" y="1204073"/>
                  <a:pt x="731630" y="1204073"/>
                </a:cubicBezTo>
                <a:cubicBezTo>
                  <a:pt x="958183" y="1204073"/>
                  <a:pt x="1141840" y="1020416"/>
                  <a:pt x="1141840" y="793863"/>
                </a:cubicBezTo>
                <a:cubicBezTo>
                  <a:pt x="1141840" y="567310"/>
                  <a:pt x="958183" y="383653"/>
                  <a:pt x="731630" y="383653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84DFFE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 13"/>
          <p:cNvSpPr/>
          <p:nvPr/>
        </p:nvSpPr>
        <p:spPr>
          <a:xfrm>
            <a:off x="958494" y="2659931"/>
            <a:ext cx="395896" cy="407210"/>
          </a:xfrm>
          <a:custGeom>
            <a:avLst/>
            <a:gdLst>
              <a:gd name="connsiteX0" fmla="*/ 1106997 w 2213994"/>
              <a:gd name="connsiteY0" fmla="*/ 561989 h 2180359"/>
              <a:gd name="connsiteX1" fmla="*/ 560897 w 2213994"/>
              <a:gd name="connsiteY1" fmla="*/ 1108089 h 2180359"/>
              <a:gd name="connsiteX2" fmla="*/ 1106997 w 2213994"/>
              <a:gd name="connsiteY2" fmla="*/ 1654189 h 2180359"/>
              <a:gd name="connsiteX3" fmla="*/ 1653097 w 2213994"/>
              <a:gd name="connsiteY3" fmla="*/ 1108089 h 2180359"/>
              <a:gd name="connsiteX4" fmla="*/ 1106997 w 2213994"/>
              <a:gd name="connsiteY4" fmla="*/ 561989 h 2180359"/>
              <a:gd name="connsiteX5" fmla="*/ 1016339 w 2213994"/>
              <a:gd name="connsiteY5" fmla="*/ 0 h 2180359"/>
              <a:gd name="connsiteX6" fmla="*/ 1197655 w 2213994"/>
              <a:gd name="connsiteY6" fmla="*/ 0 h 2180359"/>
              <a:gd name="connsiteX7" fmla="*/ 1237062 w 2213994"/>
              <a:gd name="connsiteY7" fmla="*/ 223520 h 2180359"/>
              <a:gd name="connsiteX8" fmla="*/ 1575952 w 2213994"/>
              <a:gd name="connsiteY8" fmla="*/ 346866 h 2180359"/>
              <a:gd name="connsiteX9" fmla="*/ 1749815 w 2213994"/>
              <a:gd name="connsiteY9" fmla="*/ 200970 h 2180359"/>
              <a:gd name="connsiteX10" fmla="*/ 1888711 w 2213994"/>
              <a:gd name="connsiteY10" fmla="*/ 317518 h 2180359"/>
              <a:gd name="connsiteX11" fmla="*/ 1775222 w 2213994"/>
              <a:gd name="connsiteY11" fmla="*/ 514074 h 2180359"/>
              <a:gd name="connsiteX12" fmla="*/ 1955541 w 2213994"/>
              <a:gd name="connsiteY12" fmla="*/ 826396 h 2180359"/>
              <a:gd name="connsiteX13" fmla="*/ 2182509 w 2213994"/>
              <a:gd name="connsiteY13" fmla="*/ 826390 h 2180359"/>
              <a:gd name="connsiteX14" fmla="*/ 2213994 w 2213994"/>
              <a:gd name="connsiteY14" fmla="*/ 1004952 h 2180359"/>
              <a:gd name="connsiteX15" fmla="*/ 2000713 w 2213994"/>
              <a:gd name="connsiteY15" fmla="*/ 1082574 h 2180359"/>
              <a:gd name="connsiteX16" fmla="*/ 1938089 w 2213994"/>
              <a:gd name="connsiteY16" fmla="*/ 1437734 h 2180359"/>
              <a:gd name="connsiteX17" fmla="*/ 2111959 w 2213994"/>
              <a:gd name="connsiteY17" fmla="*/ 1583621 h 2180359"/>
              <a:gd name="connsiteX18" fmla="*/ 2021301 w 2213994"/>
              <a:gd name="connsiteY18" fmla="*/ 1740646 h 2180359"/>
              <a:gd name="connsiteX19" fmla="*/ 1808024 w 2213994"/>
              <a:gd name="connsiteY19" fmla="*/ 1663013 h 2180359"/>
              <a:gd name="connsiteX20" fmla="*/ 1531759 w 2213994"/>
              <a:gd name="connsiteY20" fmla="*/ 1894827 h 2180359"/>
              <a:gd name="connsiteX21" fmla="*/ 1571177 w 2213994"/>
              <a:gd name="connsiteY21" fmla="*/ 2118345 h 2180359"/>
              <a:gd name="connsiteX22" fmla="*/ 1400795 w 2213994"/>
              <a:gd name="connsiteY22" fmla="*/ 2180359 h 2180359"/>
              <a:gd name="connsiteX23" fmla="*/ 1287316 w 2213994"/>
              <a:gd name="connsiteY23" fmla="*/ 1983797 h 2180359"/>
              <a:gd name="connsiteX24" fmla="*/ 926677 w 2213994"/>
              <a:gd name="connsiteY24" fmla="*/ 1983797 h 2180359"/>
              <a:gd name="connsiteX25" fmla="*/ 813199 w 2213994"/>
              <a:gd name="connsiteY25" fmla="*/ 2180359 h 2180359"/>
              <a:gd name="connsiteX26" fmla="*/ 642817 w 2213994"/>
              <a:gd name="connsiteY26" fmla="*/ 2118345 h 2180359"/>
              <a:gd name="connsiteX27" fmla="*/ 682236 w 2213994"/>
              <a:gd name="connsiteY27" fmla="*/ 1894827 h 2180359"/>
              <a:gd name="connsiteX28" fmla="*/ 405971 w 2213994"/>
              <a:gd name="connsiteY28" fmla="*/ 1663013 h 2180359"/>
              <a:gd name="connsiteX29" fmla="*/ 192693 w 2213994"/>
              <a:gd name="connsiteY29" fmla="*/ 1740646 h 2180359"/>
              <a:gd name="connsiteX30" fmla="*/ 102035 w 2213994"/>
              <a:gd name="connsiteY30" fmla="*/ 1583621 h 2180359"/>
              <a:gd name="connsiteX31" fmla="*/ 275905 w 2213994"/>
              <a:gd name="connsiteY31" fmla="*/ 1437734 h 2180359"/>
              <a:gd name="connsiteX32" fmla="*/ 213281 w 2213994"/>
              <a:gd name="connsiteY32" fmla="*/ 1082574 h 2180359"/>
              <a:gd name="connsiteX33" fmla="*/ 0 w 2213994"/>
              <a:gd name="connsiteY33" fmla="*/ 1004952 h 2180359"/>
              <a:gd name="connsiteX34" fmla="*/ 31485 w 2213994"/>
              <a:gd name="connsiteY34" fmla="*/ 826390 h 2180359"/>
              <a:gd name="connsiteX35" fmla="*/ 258452 w 2213994"/>
              <a:gd name="connsiteY35" fmla="*/ 826396 h 2180359"/>
              <a:gd name="connsiteX36" fmla="*/ 438771 w 2213994"/>
              <a:gd name="connsiteY36" fmla="*/ 514074 h 2180359"/>
              <a:gd name="connsiteX37" fmla="*/ 325283 w 2213994"/>
              <a:gd name="connsiteY37" fmla="*/ 317518 h 2180359"/>
              <a:gd name="connsiteX38" fmla="*/ 464179 w 2213994"/>
              <a:gd name="connsiteY38" fmla="*/ 200970 h 2180359"/>
              <a:gd name="connsiteX39" fmla="*/ 638042 w 2213994"/>
              <a:gd name="connsiteY39" fmla="*/ 346866 h 2180359"/>
              <a:gd name="connsiteX40" fmla="*/ 976932 w 2213994"/>
              <a:gd name="connsiteY40" fmla="*/ 223520 h 2180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213994" h="2180359">
                <a:moveTo>
                  <a:pt x="1106997" y="561989"/>
                </a:moveTo>
                <a:cubicBezTo>
                  <a:pt x="805394" y="561989"/>
                  <a:pt x="560897" y="806486"/>
                  <a:pt x="560897" y="1108089"/>
                </a:cubicBezTo>
                <a:cubicBezTo>
                  <a:pt x="560897" y="1409692"/>
                  <a:pt x="805394" y="1654189"/>
                  <a:pt x="1106997" y="1654189"/>
                </a:cubicBezTo>
                <a:cubicBezTo>
                  <a:pt x="1408600" y="1654189"/>
                  <a:pt x="1653097" y="1409692"/>
                  <a:pt x="1653097" y="1108089"/>
                </a:cubicBezTo>
                <a:cubicBezTo>
                  <a:pt x="1653097" y="806486"/>
                  <a:pt x="1408600" y="561989"/>
                  <a:pt x="1106997" y="561989"/>
                </a:cubicBezTo>
                <a:close/>
                <a:moveTo>
                  <a:pt x="1016339" y="0"/>
                </a:moveTo>
                <a:lnTo>
                  <a:pt x="1197655" y="0"/>
                </a:lnTo>
                <a:lnTo>
                  <a:pt x="1237062" y="223520"/>
                </a:lnTo>
                <a:cubicBezTo>
                  <a:pt x="1357231" y="241189"/>
                  <a:pt x="1472539" y="283158"/>
                  <a:pt x="1575952" y="346866"/>
                </a:cubicBezTo>
                <a:lnTo>
                  <a:pt x="1749815" y="200970"/>
                </a:lnTo>
                <a:lnTo>
                  <a:pt x="1888711" y="317518"/>
                </a:lnTo>
                <a:lnTo>
                  <a:pt x="1775222" y="514074"/>
                </a:lnTo>
                <a:cubicBezTo>
                  <a:pt x="1855919" y="604853"/>
                  <a:pt x="1917273" y="711121"/>
                  <a:pt x="1955541" y="826396"/>
                </a:cubicBezTo>
                <a:lnTo>
                  <a:pt x="2182509" y="826390"/>
                </a:lnTo>
                <a:lnTo>
                  <a:pt x="2213994" y="1004952"/>
                </a:lnTo>
                <a:lnTo>
                  <a:pt x="2000713" y="1082574"/>
                </a:lnTo>
                <a:cubicBezTo>
                  <a:pt x="2004179" y="1203985"/>
                  <a:pt x="1982871" y="1324830"/>
                  <a:pt x="1938089" y="1437734"/>
                </a:cubicBezTo>
                <a:lnTo>
                  <a:pt x="2111959" y="1583621"/>
                </a:lnTo>
                <a:lnTo>
                  <a:pt x="2021301" y="1740646"/>
                </a:lnTo>
                <a:lnTo>
                  <a:pt x="1808024" y="1663013"/>
                </a:lnTo>
                <a:cubicBezTo>
                  <a:pt x="1732638" y="1758248"/>
                  <a:pt x="1638637" y="1837123"/>
                  <a:pt x="1531759" y="1894827"/>
                </a:cubicBezTo>
                <a:lnTo>
                  <a:pt x="1571177" y="2118345"/>
                </a:lnTo>
                <a:lnTo>
                  <a:pt x="1400795" y="2180359"/>
                </a:lnTo>
                <a:lnTo>
                  <a:pt x="1287316" y="1983797"/>
                </a:lnTo>
                <a:cubicBezTo>
                  <a:pt x="1168351" y="2008293"/>
                  <a:pt x="1045642" y="2008293"/>
                  <a:pt x="926677" y="1983797"/>
                </a:cubicBezTo>
                <a:lnTo>
                  <a:pt x="813199" y="2180359"/>
                </a:lnTo>
                <a:lnTo>
                  <a:pt x="642817" y="2118345"/>
                </a:lnTo>
                <a:lnTo>
                  <a:pt x="682236" y="1894827"/>
                </a:lnTo>
                <a:cubicBezTo>
                  <a:pt x="575358" y="1837123"/>
                  <a:pt x="481357" y="1758247"/>
                  <a:pt x="405971" y="1663013"/>
                </a:cubicBezTo>
                <a:lnTo>
                  <a:pt x="192693" y="1740646"/>
                </a:lnTo>
                <a:lnTo>
                  <a:pt x="102035" y="1583621"/>
                </a:lnTo>
                <a:lnTo>
                  <a:pt x="275905" y="1437734"/>
                </a:lnTo>
                <a:cubicBezTo>
                  <a:pt x="231123" y="1324830"/>
                  <a:pt x="209814" y="1203985"/>
                  <a:pt x="213281" y="1082574"/>
                </a:cubicBezTo>
                <a:lnTo>
                  <a:pt x="0" y="1004952"/>
                </a:lnTo>
                <a:lnTo>
                  <a:pt x="31485" y="826390"/>
                </a:lnTo>
                <a:lnTo>
                  <a:pt x="258452" y="826396"/>
                </a:lnTo>
                <a:cubicBezTo>
                  <a:pt x="296720" y="711121"/>
                  <a:pt x="358074" y="604852"/>
                  <a:pt x="438771" y="514074"/>
                </a:cubicBezTo>
                <a:lnTo>
                  <a:pt x="325283" y="317518"/>
                </a:lnTo>
                <a:lnTo>
                  <a:pt x="464179" y="200970"/>
                </a:lnTo>
                <a:lnTo>
                  <a:pt x="638042" y="346866"/>
                </a:lnTo>
                <a:cubicBezTo>
                  <a:pt x="741454" y="283158"/>
                  <a:pt x="856763" y="241190"/>
                  <a:pt x="976932" y="22352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4" name="Freeform 14"/>
          <p:cNvSpPr/>
          <p:nvPr/>
        </p:nvSpPr>
        <p:spPr>
          <a:xfrm>
            <a:off x="1370331" y="3709851"/>
            <a:ext cx="282827" cy="295397"/>
          </a:xfrm>
          <a:custGeom>
            <a:avLst/>
            <a:gdLst>
              <a:gd name="connsiteX0" fmla="*/ 675641 w 1351280"/>
              <a:gd name="connsiteY0" fmla="*/ 436140 h 1351280"/>
              <a:gd name="connsiteX1" fmla="*/ 436140 w 1351280"/>
              <a:gd name="connsiteY1" fmla="*/ 675641 h 1351280"/>
              <a:gd name="connsiteX2" fmla="*/ 675641 w 1351280"/>
              <a:gd name="connsiteY2" fmla="*/ 915142 h 1351280"/>
              <a:gd name="connsiteX3" fmla="*/ 915142 w 1351280"/>
              <a:gd name="connsiteY3" fmla="*/ 675641 h 1351280"/>
              <a:gd name="connsiteX4" fmla="*/ 675641 w 1351280"/>
              <a:gd name="connsiteY4" fmla="*/ 436140 h 1351280"/>
              <a:gd name="connsiteX5" fmla="*/ 675640 w 1351280"/>
              <a:gd name="connsiteY5" fmla="*/ 0 h 1351280"/>
              <a:gd name="connsiteX6" fmla="*/ 1351280 w 1351280"/>
              <a:gd name="connsiteY6" fmla="*/ 675640 h 1351280"/>
              <a:gd name="connsiteX7" fmla="*/ 675640 w 1351280"/>
              <a:gd name="connsiteY7" fmla="*/ 1351280 h 1351280"/>
              <a:gd name="connsiteX8" fmla="*/ 0 w 1351280"/>
              <a:gd name="connsiteY8" fmla="*/ 675640 h 1351280"/>
              <a:gd name="connsiteX9" fmla="*/ 675640 w 1351280"/>
              <a:gd name="connsiteY9" fmla="*/ 0 h 13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51280" h="1351280">
                <a:moveTo>
                  <a:pt x="675641" y="436140"/>
                </a:moveTo>
                <a:cubicBezTo>
                  <a:pt x="543368" y="436140"/>
                  <a:pt x="436140" y="543368"/>
                  <a:pt x="436140" y="675641"/>
                </a:cubicBezTo>
                <a:cubicBezTo>
                  <a:pt x="436140" y="807914"/>
                  <a:pt x="543368" y="915142"/>
                  <a:pt x="675641" y="915142"/>
                </a:cubicBezTo>
                <a:cubicBezTo>
                  <a:pt x="807914" y="915142"/>
                  <a:pt x="915142" y="807914"/>
                  <a:pt x="915142" y="675641"/>
                </a:cubicBezTo>
                <a:cubicBezTo>
                  <a:pt x="915142" y="543368"/>
                  <a:pt x="807914" y="436140"/>
                  <a:pt x="675641" y="436140"/>
                </a:cubicBezTo>
                <a:close/>
                <a:moveTo>
                  <a:pt x="675640" y="0"/>
                </a:moveTo>
                <a:cubicBezTo>
                  <a:pt x="1048786" y="0"/>
                  <a:pt x="1351280" y="302494"/>
                  <a:pt x="1351280" y="675640"/>
                </a:cubicBezTo>
                <a:cubicBezTo>
                  <a:pt x="1351280" y="1048786"/>
                  <a:pt x="1048786" y="1351280"/>
                  <a:pt x="675640" y="1351280"/>
                </a:cubicBezTo>
                <a:cubicBezTo>
                  <a:pt x="302494" y="1351280"/>
                  <a:pt x="0" y="1048786"/>
                  <a:pt x="0" y="675640"/>
                </a:cubicBezTo>
                <a:cubicBezTo>
                  <a:pt x="0" y="302494"/>
                  <a:pt x="302494" y="0"/>
                  <a:pt x="675640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reeform 15"/>
          <p:cNvSpPr/>
          <p:nvPr/>
        </p:nvSpPr>
        <p:spPr>
          <a:xfrm>
            <a:off x="2318457" y="2966922"/>
            <a:ext cx="232747" cy="243092"/>
          </a:xfrm>
          <a:custGeom>
            <a:avLst/>
            <a:gdLst>
              <a:gd name="connsiteX0" fmla="*/ 675641 w 1351280"/>
              <a:gd name="connsiteY0" fmla="*/ 436140 h 1351280"/>
              <a:gd name="connsiteX1" fmla="*/ 436140 w 1351280"/>
              <a:gd name="connsiteY1" fmla="*/ 675641 h 1351280"/>
              <a:gd name="connsiteX2" fmla="*/ 675641 w 1351280"/>
              <a:gd name="connsiteY2" fmla="*/ 915142 h 1351280"/>
              <a:gd name="connsiteX3" fmla="*/ 915142 w 1351280"/>
              <a:gd name="connsiteY3" fmla="*/ 675641 h 1351280"/>
              <a:gd name="connsiteX4" fmla="*/ 675641 w 1351280"/>
              <a:gd name="connsiteY4" fmla="*/ 436140 h 1351280"/>
              <a:gd name="connsiteX5" fmla="*/ 675640 w 1351280"/>
              <a:gd name="connsiteY5" fmla="*/ 0 h 1351280"/>
              <a:gd name="connsiteX6" fmla="*/ 1351280 w 1351280"/>
              <a:gd name="connsiteY6" fmla="*/ 675640 h 1351280"/>
              <a:gd name="connsiteX7" fmla="*/ 675640 w 1351280"/>
              <a:gd name="connsiteY7" fmla="*/ 1351280 h 1351280"/>
              <a:gd name="connsiteX8" fmla="*/ 0 w 1351280"/>
              <a:gd name="connsiteY8" fmla="*/ 675640 h 1351280"/>
              <a:gd name="connsiteX9" fmla="*/ 675640 w 1351280"/>
              <a:gd name="connsiteY9" fmla="*/ 0 h 13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51280" h="1351280">
                <a:moveTo>
                  <a:pt x="675641" y="436140"/>
                </a:moveTo>
                <a:cubicBezTo>
                  <a:pt x="543368" y="436140"/>
                  <a:pt x="436140" y="543368"/>
                  <a:pt x="436140" y="675641"/>
                </a:cubicBezTo>
                <a:cubicBezTo>
                  <a:pt x="436140" y="807914"/>
                  <a:pt x="543368" y="915142"/>
                  <a:pt x="675641" y="915142"/>
                </a:cubicBezTo>
                <a:cubicBezTo>
                  <a:pt x="807914" y="915142"/>
                  <a:pt x="915142" y="807914"/>
                  <a:pt x="915142" y="675641"/>
                </a:cubicBezTo>
                <a:cubicBezTo>
                  <a:pt x="915142" y="543368"/>
                  <a:pt x="807914" y="436140"/>
                  <a:pt x="675641" y="436140"/>
                </a:cubicBezTo>
                <a:close/>
                <a:moveTo>
                  <a:pt x="675640" y="0"/>
                </a:moveTo>
                <a:cubicBezTo>
                  <a:pt x="1048786" y="0"/>
                  <a:pt x="1351280" y="302494"/>
                  <a:pt x="1351280" y="675640"/>
                </a:cubicBezTo>
                <a:cubicBezTo>
                  <a:pt x="1351280" y="1048786"/>
                  <a:pt x="1048786" y="1351280"/>
                  <a:pt x="675640" y="1351280"/>
                </a:cubicBezTo>
                <a:cubicBezTo>
                  <a:pt x="302494" y="1351280"/>
                  <a:pt x="0" y="1048786"/>
                  <a:pt x="0" y="675640"/>
                </a:cubicBezTo>
                <a:cubicBezTo>
                  <a:pt x="0" y="302494"/>
                  <a:pt x="302494" y="0"/>
                  <a:pt x="675640" y="0"/>
                </a:cubicBezTo>
                <a:close/>
              </a:path>
            </a:pathLst>
          </a:custGeom>
          <a:solidFill>
            <a:srgbClr val="53D7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8" name="Agrupar 17"/>
          <p:cNvGrpSpPr/>
          <p:nvPr/>
        </p:nvGrpSpPr>
        <p:grpSpPr>
          <a:xfrm>
            <a:off x="5076057" y="519808"/>
            <a:ext cx="3594472" cy="2370905"/>
            <a:chOff x="5148064" y="662667"/>
            <a:chExt cx="3073519" cy="1955520"/>
          </a:xfrm>
        </p:grpSpPr>
        <p:sp>
          <p:nvSpPr>
            <p:cNvPr id="16" name="Line Callout 2 3"/>
            <p:cNvSpPr/>
            <p:nvPr/>
          </p:nvSpPr>
          <p:spPr>
            <a:xfrm>
              <a:off x="5148064" y="662667"/>
              <a:ext cx="3073519" cy="1955520"/>
            </a:xfrm>
            <a:prstGeom prst="borderCallout2">
              <a:avLst>
                <a:gd name="adj1" fmla="val 52340"/>
                <a:gd name="adj2" fmla="val -246"/>
                <a:gd name="adj3" fmla="val 52332"/>
                <a:gd name="adj4" fmla="val -19899"/>
                <a:gd name="adj5" fmla="val 104110"/>
                <a:gd name="adj6" fmla="val -66165"/>
              </a:avLst>
            </a:prstGeom>
            <a:solidFill>
              <a:schemeClr val="tx2"/>
            </a:solidFill>
            <a:ln w="3175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7" name="Retângulo 16"/>
            <p:cNvSpPr/>
            <p:nvPr/>
          </p:nvSpPr>
          <p:spPr>
            <a:xfrm>
              <a:off x="5276275" y="1246954"/>
              <a:ext cx="2945308" cy="7869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pt-BR" sz="2800" b="1" dirty="0">
                  <a:solidFill>
                    <a:schemeClr val="bg1"/>
                  </a:solidFill>
                </a:rPr>
                <a:t>Alguns resultados preliminar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290294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9"/>
          <p:cNvSpPr/>
          <p:nvPr/>
        </p:nvSpPr>
        <p:spPr>
          <a:xfrm>
            <a:off x="1662375" y="2472183"/>
            <a:ext cx="7484785" cy="3960440"/>
          </a:xfrm>
          <a:custGeom>
            <a:avLst/>
            <a:gdLst>
              <a:gd name="connsiteX0" fmla="*/ 0 w 3765837"/>
              <a:gd name="connsiteY0" fmla="*/ 0 h 5331668"/>
              <a:gd name="connsiteX1" fmla="*/ 308040 w 3765837"/>
              <a:gd name="connsiteY1" fmla="*/ 0 h 5331668"/>
              <a:gd name="connsiteX2" fmla="*/ 3765837 w 3765837"/>
              <a:gd name="connsiteY2" fmla="*/ 3457797 h 5331668"/>
              <a:gd name="connsiteX3" fmla="*/ 3765837 w 3765837"/>
              <a:gd name="connsiteY3" fmla="*/ 5331668 h 5331668"/>
              <a:gd name="connsiteX4" fmla="*/ 0 w 3765837"/>
              <a:gd name="connsiteY4" fmla="*/ 5331668 h 5331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65837" h="5331668">
                <a:moveTo>
                  <a:pt x="0" y="0"/>
                </a:moveTo>
                <a:lnTo>
                  <a:pt x="308040" y="0"/>
                </a:lnTo>
                <a:lnTo>
                  <a:pt x="3765837" y="3457797"/>
                </a:lnTo>
                <a:lnTo>
                  <a:pt x="3765837" y="5331668"/>
                </a:lnTo>
                <a:lnTo>
                  <a:pt x="0" y="5331668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Freeform 4"/>
          <p:cNvSpPr/>
          <p:nvPr/>
        </p:nvSpPr>
        <p:spPr>
          <a:xfrm>
            <a:off x="311931" y="2395806"/>
            <a:ext cx="2996181" cy="4036817"/>
          </a:xfrm>
          <a:custGeom>
            <a:avLst/>
            <a:gdLst>
              <a:gd name="connsiteX0" fmla="*/ 323604 w 4522224"/>
              <a:gd name="connsiteY0" fmla="*/ 6062148 h 6062148"/>
              <a:gd name="connsiteX1" fmla="*/ 376944 w 4522224"/>
              <a:gd name="connsiteY1" fmla="*/ 5924988 h 6062148"/>
              <a:gd name="connsiteX2" fmla="*/ 437904 w 4522224"/>
              <a:gd name="connsiteY2" fmla="*/ 5780208 h 6062148"/>
              <a:gd name="connsiteX3" fmla="*/ 468384 w 4522224"/>
              <a:gd name="connsiteY3" fmla="*/ 5665908 h 6062148"/>
              <a:gd name="connsiteX4" fmla="*/ 506484 w 4522224"/>
              <a:gd name="connsiteY4" fmla="*/ 5612568 h 6062148"/>
              <a:gd name="connsiteX5" fmla="*/ 536964 w 4522224"/>
              <a:gd name="connsiteY5" fmla="*/ 5521128 h 6062148"/>
              <a:gd name="connsiteX6" fmla="*/ 559824 w 4522224"/>
              <a:gd name="connsiteY6" fmla="*/ 5353488 h 6062148"/>
              <a:gd name="connsiteX7" fmla="*/ 597924 w 4522224"/>
              <a:gd name="connsiteY7" fmla="*/ 5223948 h 6062148"/>
              <a:gd name="connsiteX8" fmla="*/ 620784 w 4522224"/>
              <a:gd name="connsiteY8" fmla="*/ 5178228 h 6062148"/>
              <a:gd name="connsiteX9" fmla="*/ 696984 w 4522224"/>
              <a:gd name="connsiteY9" fmla="*/ 5071548 h 6062148"/>
              <a:gd name="connsiteX10" fmla="*/ 712224 w 4522224"/>
              <a:gd name="connsiteY10" fmla="*/ 5063928 h 6062148"/>
              <a:gd name="connsiteX11" fmla="*/ 704604 w 4522224"/>
              <a:gd name="connsiteY11" fmla="*/ 5025828 h 6062148"/>
              <a:gd name="connsiteX12" fmla="*/ 696984 w 4522224"/>
              <a:gd name="connsiteY12" fmla="*/ 5002968 h 6062148"/>
              <a:gd name="connsiteX13" fmla="*/ 963684 w 4522224"/>
              <a:gd name="connsiteY13" fmla="*/ 4682928 h 6062148"/>
              <a:gd name="connsiteX14" fmla="*/ 956064 w 4522224"/>
              <a:gd name="connsiteY14" fmla="*/ 4644828 h 6062148"/>
              <a:gd name="connsiteX15" fmla="*/ 1337064 w 4522224"/>
              <a:gd name="connsiteY15" fmla="*/ 4172388 h 6062148"/>
              <a:gd name="connsiteX16" fmla="*/ 1253244 w 4522224"/>
              <a:gd name="connsiteY16" fmla="*/ 4012368 h 6062148"/>
              <a:gd name="connsiteX17" fmla="*/ 1199904 w 4522224"/>
              <a:gd name="connsiteY17" fmla="*/ 3928548 h 6062148"/>
              <a:gd name="connsiteX18" fmla="*/ 1169424 w 4522224"/>
              <a:gd name="connsiteY18" fmla="*/ 3768528 h 6062148"/>
              <a:gd name="connsiteX19" fmla="*/ 1146564 w 4522224"/>
              <a:gd name="connsiteY19" fmla="*/ 3699948 h 6062148"/>
              <a:gd name="connsiteX20" fmla="*/ 1138944 w 4522224"/>
              <a:gd name="connsiteY20" fmla="*/ 3669468 h 6062148"/>
              <a:gd name="connsiteX21" fmla="*/ 1062744 w 4522224"/>
              <a:gd name="connsiteY21" fmla="*/ 3661848 h 6062148"/>
              <a:gd name="connsiteX22" fmla="*/ 933204 w 4522224"/>
              <a:gd name="connsiteY22" fmla="*/ 3669468 h 6062148"/>
              <a:gd name="connsiteX23" fmla="*/ 826524 w 4522224"/>
              <a:gd name="connsiteY23" fmla="*/ 3692328 h 6062148"/>
              <a:gd name="connsiteX24" fmla="*/ 605544 w 4522224"/>
              <a:gd name="connsiteY24" fmla="*/ 3738048 h 6062148"/>
              <a:gd name="connsiteX25" fmla="*/ 384564 w 4522224"/>
              <a:gd name="connsiteY25" fmla="*/ 3638988 h 6062148"/>
              <a:gd name="connsiteX26" fmla="*/ 376944 w 4522224"/>
              <a:gd name="connsiteY26" fmla="*/ 3326568 h 6062148"/>
              <a:gd name="connsiteX27" fmla="*/ 415044 w 4522224"/>
              <a:gd name="connsiteY27" fmla="*/ 3250368 h 6062148"/>
              <a:gd name="connsiteX28" fmla="*/ 415044 w 4522224"/>
              <a:gd name="connsiteY28" fmla="*/ 3227508 h 6062148"/>
              <a:gd name="connsiteX29" fmla="*/ 384564 w 4522224"/>
              <a:gd name="connsiteY29" fmla="*/ 3166548 h 6062148"/>
              <a:gd name="connsiteX30" fmla="*/ 361704 w 4522224"/>
              <a:gd name="connsiteY30" fmla="*/ 3166548 h 6062148"/>
              <a:gd name="connsiteX31" fmla="*/ 346464 w 4522224"/>
              <a:gd name="connsiteY31" fmla="*/ 3105588 h 6062148"/>
              <a:gd name="connsiteX32" fmla="*/ 392184 w 4522224"/>
              <a:gd name="connsiteY32" fmla="*/ 3021768 h 6062148"/>
              <a:gd name="connsiteX33" fmla="*/ 483624 w 4522224"/>
              <a:gd name="connsiteY33" fmla="*/ 2998908 h 6062148"/>
              <a:gd name="connsiteX34" fmla="*/ 460764 w 4522224"/>
              <a:gd name="connsiteY34" fmla="*/ 2930328 h 6062148"/>
              <a:gd name="connsiteX35" fmla="*/ 430284 w 4522224"/>
              <a:gd name="connsiteY35" fmla="*/ 2930328 h 6062148"/>
              <a:gd name="connsiteX36" fmla="*/ 384564 w 4522224"/>
              <a:gd name="connsiteY36" fmla="*/ 2930328 h 6062148"/>
              <a:gd name="connsiteX37" fmla="*/ 300744 w 4522224"/>
              <a:gd name="connsiteY37" fmla="*/ 2876988 h 6062148"/>
              <a:gd name="connsiteX38" fmla="*/ 315984 w 4522224"/>
              <a:gd name="connsiteY38" fmla="*/ 2846508 h 6062148"/>
              <a:gd name="connsiteX39" fmla="*/ 323604 w 4522224"/>
              <a:gd name="connsiteY39" fmla="*/ 2793168 h 6062148"/>
              <a:gd name="connsiteX40" fmla="*/ 308364 w 4522224"/>
              <a:gd name="connsiteY40" fmla="*/ 2732208 h 6062148"/>
              <a:gd name="connsiteX41" fmla="*/ 262644 w 4522224"/>
              <a:gd name="connsiteY41" fmla="*/ 2671248 h 6062148"/>
              <a:gd name="connsiteX42" fmla="*/ 171204 w 4522224"/>
              <a:gd name="connsiteY42" fmla="*/ 2656008 h 6062148"/>
              <a:gd name="connsiteX43" fmla="*/ 49284 w 4522224"/>
              <a:gd name="connsiteY43" fmla="*/ 2610288 h 6062148"/>
              <a:gd name="connsiteX44" fmla="*/ 18804 w 4522224"/>
              <a:gd name="connsiteY44" fmla="*/ 2556948 h 6062148"/>
              <a:gd name="connsiteX45" fmla="*/ 3564 w 4522224"/>
              <a:gd name="connsiteY45" fmla="*/ 2488368 h 6062148"/>
              <a:gd name="connsiteX46" fmla="*/ 87384 w 4522224"/>
              <a:gd name="connsiteY46" fmla="*/ 2335968 h 6062148"/>
              <a:gd name="connsiteX47" fmla="*/ 216924 w 4522224"/>
              <a:gd name="connsiteY47" fmla="*/ 2175948 h 6062148"/>
              <a:gd name="connsiteX48" fmla="*/ 277884 w 4522224"/>
              <a:gd name="connsiteY48" fmla="*/ 2084508 h 6062148"/>
              <a:gd name="connsiteX49" fmla="*/ 323604 w 4522224"/>
              <a:gd name="connsiteY49" fmla="*/ 1977828 h 6062148"/>
              <a:gd name="connsiteX50" fmla="*/ 354084 w 4522224"/>
              <a:gd name="connsiteY50" fmla="*/ 1871148 h 6062148"/>
              <a:gd name="connsiteX51" fmla="*/ 369324 w 4522224"/>
              <a:gd name="connsiteY51" fmla="*/ 1810188 h 6062148"/>
              <a:gd name="connsiteX52" fmla="*/ 338844 w 4522224"/>
              <a:gd name="connsiteY52" fmla="*/ 1756848 h 6062148"/>
              <a:gd name="connsiteX53" fmla="*/ 323604 w 4522224"/>
              <a:gd name="connsiteY53" fmla="*/ 1680648 h 6062148"/>
              <a:gd name="connsiteX54" fmla="*/ 407424 w 4522224"/>
              <a:gd name="connsiteY54" fmla="*/ 1474908 h 6062148"/>
              <a:gd name="connsiteX55" fmla="*/ 437904 w 4522224"/>
              <a:gd name="connsiteY55" fmla="*/ 1307268 h 6062148"/>
              <a:gd name="connsiteX56" fmla="*/ 460764 w 4522224"/>
              <a:gd name="connsiteY56" fmla="*/ 1192968 h 6062148"/>
              <a:gd name="connsiteX57" fmla="*/ 498864 w 4522224"/>
              <a:gd name="connsiteY57" fmla="*/ 1055808 h 6062148"/>
              <a:gd name="connsiteX58" fmla="*/ 552204 w 4522224"/>
              <a:gd name="connsiteY58" fmla="*/ 888168 h 6062148"/>
              <a:gd name="connsiteX59" fmla="*/ 498864 w 4522224"/>
              <a:gd name="connsiteY59" fmla="*/ 888168 h 6062148"/>
              <a:gd name="connsiteX60" fmla="*/ 407424 w 4522224"/>
              <a:gd name="connsiteY60" fmla="*/ 834828 h 6062148"/>
              <a:gd name="connsiteX61" fmla="*/ 323604 w 4522224"/>
              <a:gd name="connsiteY61" fmla="*/ 789108 h 6062148"/>
              <a:gd name="connsiteX62" fmla="*/ 255024 w 4522224"/>
              <a:gd name="connsiteY62" fmla="*/ 773868 h 6062148"/>
              <a:gd name="connsiteX63" fmla="*/ 209304 w 4522224"/>
              <a:gd name="connsiteY63" fmla="*/ 751008 h 6062148"/>
              <a:gd name="connsiteX64" fmla="*/ 255024 w 4522224"/>
              <a:gd name="connsiteY64" fmla="*/ 674808 h 6062148"/>
              <a:gd name="connsiteX65" fmla="*/ 369324 w 4522224"/>
              <a:gd name="connsiteY65" fmla="*/ 606228 h 6062148"/>
              <a:gd name="connsiteX66" fmla="*/ 552204 w 4522224"/>
              <a:gd name="connsiteY66" fmla="*/ 507168 h 6062148"/>
              <a:gd name="connsiteX67" fmla="*/ 651264 w 4522224"/>
              <a:gd name="connsiteY67" fmla="*/ 423348 h 6062148"/>
              <a:gd name="connsiteX68" fmla="*/ 887484 w 4522224"/>
              <a:gd name="connsiteY68" fmla="*/ 232848 h 6062148"/>
              <a:gd name="connsiteX69" fmla="*/ 1169424 w 4522224"/>
              <a:gd name="connsiteY69" fmla="*/ 80448 h 6062148"/>
              <a:gd name="connsiteX70" fmla="*/ 1588524 w 4522224"/>
              <a:gd name="connsiteY70" fmla="*/ 11868 h 6062148"/>
              <a:gd name="connsiteX71" fmla="*/ 1939044 w 4522224"/>
              <a:gd name="connsiteY71" fmla="*/ 4248 h 6062148"/>
              <a:gd name="connsiteX72" fmla="*/ 2167644 w 4522224"/>
              <a:gd name="connsiteY72" fmla="*/ 4248 h 6062148"/>
              <a:gd name="connsiteX73" fmla="*/ 2388624 w 4522224"/>
              <a:gd name="connsiteY73" fmla="*/ 57588 h 6062148"/>
              <a:gd name="connsiteX74" fmla="*/ 2662944 w 4522224"/>
              <a:gd name="connsiteY74" fmla="*/ 133788 h 6062148"/>
              <a:gd name="connsiteX75" fmla="*/ 2815344 w 4522224"/>
              <a:gd name="connsiteY75" fmla="*/ 202368 h 6062148"/>
              <a:gd name="connsiteX76" fmla="*/ 3097284 w 4522224"/>
              <a:gd name="connsiteY76" fmla="*/ 400488 h 6062148"/>
              <a:gd name="connsiteX77" fmla="*/ 3280164 w 4522224"/>
              <a:gd name="connsiteY77" fmla="*/ 651948 h 6062148"/>
              <a:gd name="connsiteX78" fmla="*/ 3402084 w 4522224"/>
              <a:gd name="connsiteY78" fmla="*/ 918648 h 6062148"/>
              <a:gd name="connsiteX79" fmla="*/ 3470664 w 4522224"/>
              <a:gd name="connsiteY79" fmla="*/ 1238688 h 6062148"/>
              <a:gd name="connsiteX80" fmla="*/ 3501144 w 4522224"/>
              <a:gd name="connsiteY80" fmla="*/ 1543488 h 6062148"/>
              <a:gd name="connsiteX81" fmla="*/ 3501144 w 4522224"/>
              <a:gd name="connsiteY81" fmla="*/ 1962588 h 6062148"/>
              <a:gd name="connsiteX82" fmla="*/ 3333504 w 4522224"/>
              <a:gd name="connsiteY82" fmla="*/ 2305488 h 6062148"/>
              <a:gd name="connsiteX83" fmla="*/ 3249684 w 4522224"/>
              <a:gd name="connsiteY83" fmla="*/ 2473128 h 6062148"/>
              <a:gd name="connsiteX84" fmla="*/ 3127764 w 4522224"/>
              <a:gd name="connsiteY84" fmla="*/ 2663628 h 6062148"/>
              <a:gd name="connsiteX85" fmla="*/ 3066804 w 4522224"/>
              <a:gd name="connsiteY85" fmla="*/ 2838888 h 6062148"/>
              <a:gd name="connsiteX86" fmla="*/ 3059184 w 4522224"/>
              <a:gd name="connsiteY86" fmla="*/ 2915088 h 6062148"/>
              <a:gd name="connsiteX87" fmla="*/ 3013464 w 4522224"/>
              <a:gd name="connsiteY87" fmla="*/ 3014148 h 6062148"/>
              <a:gd name="connsiteX88" fmla="*/ 2975364 w 4522224"/>
              <a:gd name="connsiteY88" fmla="*/ 3082728 h 6062148"/>
              <a:gd name="connsiteX89" fmla="*/ 2952504 w 4522224"/>
              <a:gd name="connsiteY89" fmla="*/ 3120828 h 6062148"/>
              <a:gd name="connsiteX90" fmla="*/ 2952504 w 4522224"/>
              <a:gd name="connsiteY90" fmla="*/ 3555168 h 6062148"/>
              <a:gd name="connsiteX91" fmla="*/ 2952504 w 4522224"/>
              <a:gd name="connsiteY91" fmla="*/ 3562788 h 6062148"/>
              <a:gd name="connsiteX92" fmla="*/ 3005844 w 4522224"/>
              <a:gd name="connsiteY92" fmla="*/ 3539928 h 6062148"/>
              <a:gd name="connsiteX93" fmla="*/ 3059184 w 4522224"/>
              <a:gd name="connsiteY93" fmla="*/ 3562788 h 6062148"/>
              <a:gd name="connsiteX94" fmla="*/ 3104904 w 4522224"/>
              <a:gd name="connsiteY94" fmla="*/ 3570408 h 6062148"/>
              <a:gd name="connsiteX95" fmla="*/ 3135384 w 4522224"/>
              <a:gd name="connsiteY95" fmla="*/ 3631368 h 6062148"/>
              <a:gd name="connsiteX96" fmla="*/ 3112524 w 4522224"/>
              <a:gd name="connsiteY96" fmla="*/ 3738048 h 6062148"/>
              <a:gd name="connsiteX97" fmla="*/ 3120144 w 4522224"/>
              <a:gd name="connsiteY97" fmla="*/ 4103808 h 6062148"/>
              <a:gd name="connsiteX98" fmla="*/ 3112524 w 4522224"/>
              <a:gd name="connsiteY98" fmla="*/ 4119048 h 6062148"/>
              <a:gd name="connsiteX99" fmla="*/ 3158244 w 4522224"/>
              <a:gd name="connsiteY99" fmla="*/ 4157148 h 6062148"/>
              <a:gd name="connsiteX100" fmla="*/ 3196344 w 4522224"/>
              <a:gd name="connsiteY100" fmla="*/ 4164768 h 6062148"/>
              <a:gd name="connsiteX101" fmla="*/ 3226824 w 4522224"/>
              <a:gd name="connsiteY101" fmla="*/ 4172388 h 6062148"/>
              <a:gd name="connsiteX102" fmla="*/ 3280164 w 4522224"/>
              <a:gd name="connsiteY102" fmla="*/ 4294308 h 6062148"/>
              <a:gd name="connsiteX103" fmla="*/ 3295404 w 4522224"/>
              <a:gd name="connsiteY103" fmla="*/ 4347648 h 6062148"/>
              <a:gd name="connsiteX104" fmla="*/ 3325884 w 4522224"/>
              <a:gd name="connsiteY104" fmla="*/ 4408608 h 6062148"/>
              <a:gd name="connsiteX105" fmla="*/ 3546864 w 4522224"/>
              <a:gd name="connsiteY105" fmla="*/ 4644828 h 6062148"/>
              <a:gd name="connsiteX106" fmla="*/ 3882144 w 4522224"/>
              <a:gd name="connsiteY106" fmla="*/ 5025828 h 6062148"/>
              <a:gd name="connsiteX107" fmla="*/ 4095504 w 4522224"/>
              <a:gd name="connsiteY107" fmla="*/ 5300148 h 6062148"/>
              <a:gd name="connsiteX108" fmla="*/ 4362204 w 4522224"/>
              <a:gd name="connsiteY108" fmla="*/ 5726868 h 6062148"/>
              <a:gd name="connsiteX109" fmla="*/ 4522224 w 4522224"/>
              <a:gd name="connsiteY109" fmla="*/ 6046908 h 6062148"/>
              <a:gd name="connsiteX0" fmla="*/ 323604 w 4522224"/>
              <a:gd name="connsiteY0" fmla="*/ 6062148 h 6062148"/>
              <a:gd name="connsiteX1" fmla="*/ 376944 w 4522224"/>
              <a:gd name="connsiteY1" fmla="*/ 5924988 h 6062148"/>
              <a:gd name="connsiteX2" fmla="*/ 437904 w 4522224"/>
              <a:gd name="connsiteY2" fmla="*/ 5780208 h 6062148"/>
              <a:gd name="connsiteX3" fmla="*/ 468384 w 4522224"/>
              <a:gd name="connsiteY3" fmla="*/ 5665908 h 6062148"/>
              <a:gd name="connsiteX4" fmla="*/ 506484 w 4522224"/>
              <a:gd name="connsiteY4" fmla="*/ 5612568 h 6062148"/>
              <a:gd name="connsiteX5" fmla="*/ 536964 w 4522224"/>
              <a:gd name="connsiteY5" fmla="*/ 5521128 h 6062148"/>
              <a:gd name="connsiteX6" fmla="*/ 559824 w 4522224"/>
              <a:gd name="connsiteY6" fmla="*/ 5353488 h 6062148"/>
              <a:gd name="connsiteX7" fmla="*/ 597924 w 4522224"/>
              <a:gd name="connsiteY7" fmla="*/ 5223948 h 6062148"/>
              <a:gd name="connsiteX8" fmla="*/ 620784 w 4522224"/>
              <a:gd name="connsiteY8" fmla="*/ 5178228 h 6062148"/>
              <a:gd name="connsiteX9" fmla="*/ 696984 w 4522224"/>
              <a:gd name="connsiteY9" fmla="*/ 5071548 h 6062148"/>
              <a:gd name="connsiteX10" fmla="*/ 712224 w 4522224"/>
              <a:gd name="connsiteY10" fmla="*/ 5063928 h 6062148"/>
              <a:gd name="connsiteX11" fmla="*/ 704604 w 4522224"/>
              <a:gd name="connsiteY11" fmla="*/ 5025828 h 6062148"/>
              <a:gd name="connsiteX12" fmla="*/ 696984 w 4522224"/>
              <a:gd name="connsiteY12" fmla="*/ 5002968 h 6062148"/>
              <a:gd name="connsiteX13" fmla="*/ 963684 w 4522224"/>
              <a:gd name="connsiteY13" fmla="*/ 4682928 h 6062148"/>
              <a:gd name="connsiteX14" fmla="*/ 956064 w 4522224"/>
              <a:gd name="connsiteY14" fmla="*/ 4644828 h 6062148"/>
              <a:gd name="connsiteX15" fmla="*/ 1337064 w 4522224"/>
              <a:gd name="connsiteY15" fmla="*/ 4172388 h 6062148"/>
              <a:gd name="connsiteX16" fmla="*/ 1253244 w 4522224"/>
              <a:gd name="connsiteY16" fmla="*/ 4012368 h 6062148"/>
              <a:gd name="connsiteX17" fmla="*/ 1199904 w 4522224"/>
              <a:gd name="connsiteY17" fmla="*/ 3928548 h 6062148"/>
              <a:gd name="connsiteX18" fmla="*/ 1169424 w 4522224"/>
              <a:gd name="connsiteY18" fmla="*/ 3768528 h 6062148"/>
              <a:gd name="connsiteX19" fmla="*/ 1146564 w 4522224"/>
              <a:gd name="connsiteY19" fmla="*/ 3699948 h 6062148"/>
              <a:gd name="connsiteX20" fmla="*/ 1138944 w 4522224"/>
              <a:gd name="connsiteY20" fmla="*/ 3669468 h 6062148"/>
              <a:gd name="connsiteX21" fmla="*/ 1062744 w 4522224"/>
              <a:gd name="connsiteY21" fmla="*/ 3661848 h 6062148"/>
              <a:gd name="connsiteX22" fmla="*/ 933204 w 4522224"/>
              <a:gd name="connsiteY22" fmla="*/ 3669468 h 6062148"/>
              <a:gd name="connsiteX23" fmla="*/ 826524 w 4522224"/>
              <a:gd name="connsiteY23" fmla="*/ 3692328 h 6062148"/>
              <a:gd name="connsiteX24" fmla="*/ 605544 w 4522224"/>
              <a:gd name="connsiteY24" fmla="*/ 3738048 h 6062148"/>
              <a:gd name="connsiteX25" fmla="*/ 384564 w 4522224"/>
              <a:gd name="connsiteY25" fmla="*/ 3638988 h 6062148"/>
              <a:gd name="connsiteX26" fmla="*/ 376944 w 4522224"/>
              <a:gd name="connsiteY26" fmla="*/ 3326568 h 6062148"/>
              <a:gd name="connsiteX27" fmla="*/ 415044 w 4522224"/>
              <a:gd name="connsiteY27" fmla="*/ 3250368 h 6062148"/>
              <a:gd name="connsiteX28" fmla="*/ 415044 w 4522224"/>
              <a:gd name="connsiteY28" fmla="*/ 3227508 h 6062148"/>
              <a:gd name="connsiteX29" fmla="*/ 384564 w 4522224"/>
              <a:gd name="connsiteY29" fmla="*/ 3166548 h 6062148"/>
              <a:gd name="connsiteX30" fmla="*/ 361704 w 4522224"/>
              <a:gd name="connsiteY30" fmla="*/ 3166548 h 6062148"/>
              <a:gd name="connsiteX31" fmla="*/ 346464 w 4522224"/>
              <a:gd name="connsiteY31" fmla="*/ 3105588 h 6062148"/>
              <a:gd name="connsiteX32" fmla="*/ 392184 w 4522224"/>
              <a:gd name="connsiteY32" fmla="*/ 3021768 h 6062148"/>
              <a:gd name="connsiteX33" fmla="*/ 483624 w 4522224"/>
              <a:gd name="connsiteY33" fmla="*/ 2998908 h 6062148"/>
              <a:gd name="connsiteX34" fmla="*/ 460764 w 4522224"/>
              <a:gd name="connsiteY34" fmla="*/ 2930328 h 6062148"/>
              <a:gd name="connsiteX35" fmla="*/ 430284 w 4522224"/>
              <a:gd name="connsiteY35" fmla="*/ 2930328 h 6062148"/>
              <a:gd name="connsiteX36" fmla="*/ 384564 w 4522224"/>
              <a:gd name="connsiteY36" fmla="*/ 2930328 h 6062148"/>
              <a:gd name="connsiteX37" fmla="*/ 300744 w 4522224"/>
              <a:gd name="connsiteY37" fmla="*/ 2876988 h 6062148"/>
              <a:gd name="connsiteX38" fmla="*/ 315984 w 4522224"/>
              <a:gd name="connsiteY38" fmla="*/ 2846508 h 6062148"/>
              <a:gd name="connsiteX39" fmla="*/ 323604 w 4522224"/>
              <a:gd name="connsiteY39" fmla="*/ 2793168 h 6062148"/>
              <a:gd name="connsiteX40" fmla="*/ 308364 w 4522224"/>
              <a:gd name="connsiteY40" fmla="*/ 2732208 h 6062148"/>
              <a:gd name="connsiteX41" fmla="*/ 262644 w 4522224"/>
              <a:gd name="connsiteY41" fmla="*/ 2671248 h 6062148"/>
              <a:gd name="connsiteX42" fmla="*/ 171204 w 4522224"/>
              <a:gd name="connsiteY42" fmla="*/ 2656008 h 6062148"/>
              <a:gd name="connsiteX43" fmla="*/ 49284 w 4522224"/>
              <a:gd name="connsiteY43" fmla="*/ 2610288 h 6062148"/>
              <a:gd name="connsiteX44" fmla="*/ 18804 w 4522224"/>
              <a:gd name="connsiteY44" fmla="*/ 2556948 h 6062148"/>
              <a:gd name="connsiteX45" fmla="*/ 3564 w 4522224"/>
              <a:gd name="connsiteY45" fmla="*/ 2488368 h 6062148"/>
              <a:gd name="connsiteX46" fmla="*/ 87384 w 4522224"/>
              <a:gd name="connsiteY46" fmla="*/ 2335968 h 6062148"/>
              <a:gd name="connsiteX47" fmla="*/ 216924 w 4522224"/>
              <a:gd name="connsiteY47" fmla="*/ 2175948 h 6062148"/>
              <a:gd name="connsiteX48" fmla="*/ 277884 w 4522224"/>
              <a:gd name="connsiteY48" fmla="*/ 2084508 h 6062148"/>
              <a:gd name="connsiteX49" fmla="*/ 323604 w 4522224"/>
              <a:gd name="connsiteY49" fmla="*/ 1977828 h 6062148"/>
              <a:gd name="connsiteX50" fmla="*/ 354084 w 4522224"/>
              <a:gd name="connsiteY50" fmla="*/ 1871148 h 6062148"/>
              <a:gd name="connsiteX51" fmla="*/ 369324 w 4522224"/>
              <a:gd name="connsiteY51" fmla="*/ 1810188 h 6062148"/>
              <a:gd name="connsiteX52" fmla="*/ 338844 w 4522224"/>
              <a:gd name="connsiteY52" fmla="*/ 1756848 h 6062148"/>
              <a:gd name="connsiteX53" fmla="*/ 323604 w 4522224"/>
              <a:gd name="connsiteY53" fmla="*/ 1680648 h 6062148"/>
              <a:gd name="connsiteX54" fmla="*/ 407424 w 4522224"/>
              <a:gd name="connsiteY54" fmla="*/ 1474908 h 6062148"/>
              <a:gd name="connsiteX55" fmla="*/ 437904 w 4522224"/>
              <a:gd name="connsiteY55" fmla="*/ 1307268 h 6062148"/>
              <a:gd name="connsiteX56" fmla="*/ 460764 w 4522224"/>
              <a:gd name="connsiteY56" fmla="*/ 1192968 h 6062148"/>
              <a:gd name="connsiteX57" fmla="*/ 498864 w 4522224"/>
              <a:gd name="connsiteY57" fmla="*/ 1055808 h 6062148"/>
              <a:gd name="connsiteX58" fmla="*/ 552204 w 4522224"/>
              <a:gd name="connsiteY58" fmla="*/ 888168 h 6062148"/>
              <a:gd name="connsiteX59" fmla="*/ 498864 w 4522224"/>
              <a:gd name="connsiteY59" fmla="*/ 888168 h 6062148"/>
              <a:gd name="connsiteX60" fmla="*/ 407424 w 4522224"/>
              <a:gd name="connsiteY60" fmla="*/ 834828 h 6062148"/>
              <a:gd name="connsiteX61" fmla="*/ 323604 w 4522224"/>
              <a:gd name="connsiteY61" fmla="*/ 789108 h 6062148"/>
              <a:gd name="connsiteX62" fmla="*/ 255024 w 4522224"/>
              <a:gd name="connsiteY62" fmla="*/ 773868 h 6062148"/>
              <a:gd name="connsiteX63" fmla="*/ 209304 w 4522224"/>
              <a:gd name="connsiteY63" fmla="*/ 751008 h 6062148"/>
              <a:gd name="connsiteX64" fmla="*/ 255024 w 4522224"/>
              <a:gd name="connsiteY64" fmla="*/ 674808 h 6062148"/>
              <a:gd name="connsiteX65" fmla="*/ 369324 w 4522224"/>
              <a:gd name="connsiteY65" fmla="*/ 606228 h 6062148"/>
              <a:gd name="connsiteX66" fmla="*/ 552204 w 4522224"/>
              <a:gd name="connsiteY66" fmla="*/ 507168 h 6062148"/>
              <a:gd name="connsiteX67" fmla="*/ 651264 w 4522224"/>
              <a:gd name="connsiteY67" fmla="*/ 423348 h 6062148"/>
              <a:gd name="connsiteX68" fmla="*/ 887484 w 4522224"/>
              <a:gd name="connsiteY68" fmla="*/ 232848 h 6062148"/>
              <a:gd name="connsiteX69" fmla="*/ 1169424 w 4522224"/>
              <a:gd name="connsiteY69" fmla="*/ 80448 h 6062148"/>
              <a:gd name="connsiteX70" fmla="*/ 1588524 w 4522224"/>
              <a:gd name="connsiteY70" fmla="*/ 11868 h 6062148"/>
              <a:gd name="connsiteX71" fmla="*/ 1939044 w 4522224"/>
              <a:gd name="connsiteY71" fmla="*/ 4248 h 6062148"/>
              <a:gd name="connsiteX72" fmla="*/ 2167644 w 4522224"/>
              <a:gd name="connsiteY72" fmla="*/ 4248 h 6062148"/>
              <a:gd name="connsiteX73" fmla="*/ 2388624 w 4522224"/>
              <a:gd name="connsiteY73" fmla="*/ 57588 h 6062148"/>
              <a:gd name="connsiteX74" fmla="*/ 2662944 w 4522224"/>
              <a:gd name="connsiteY74" fmla="*/ 133788 h 6062148"/>
              <a:gd name="connsiteX75" fmla="*/ 2815344 w 4522224"/>
              <a:gd name="connsiteY75" fmla="*/ 202368 h 6062148"/>
              <a:gd name="connsiteX76" fmla="*/ 3097284 w 4522224"/>
              <a:gd name="connsiteY76" fmla="*/ 400488 h 6062148"/>
              <a:gd name="connsiteX77" fmla="*/ 3280164 w 4522224"/>
              <a:gd name="connsiteY77" fmla="*/ 651948 h 6062148"/>
              <a:gd name="connsiteX78" fmla="*/ 3402084 w 4522224"/>
              <a:gd name="connsiteY78" fmla="*/ 918648 h 6062148"/>
              <a:gd name="connsiteX79" fmla="*/ 3470664 w 4522224"/>
              <a:gd name="connsiteY79" fmla="*/ 1238688 h 6062148"/>
              <a:gd name="connsiteX80" fmla="*/ 3501144 w 4522224"/>
              <a:gd name="connsiteY80" fmla="*/ 1543488 h 6062148"/>
              <a:gd name="connsiteX81" fmla="*/ 3501144 w 4522224"/>
              <a:gd name="connsiteY81" fmla="*/ 1962588 h 6062148"/>
              <a:gd name="connsiteX82" fmla="*/ 3333504 w 4522224"/>
              <a:gd name="connsiteY82" fmla="*/ 2305488 h 6062148"/>
              <a:gd name="connsiteX83" fmla="*/ 3249684 w 4522224"/>
              <a:gd name="connsiteY83" fmla="*/ 2473128 h 6062148"/>
              <a:gd name="connsiteX84" fmla="*/ 3127764 w 4522224"/>
              <a:gd name="connsiteY84" fmla="*/ 2663628 h 6062148"/>
              <a:gd name="connsiteX85" fmla="*/ 3066804 w 4522224"/>
              <a:gd name="connsiteY85" fmla="*/ 2838888 h 6062148"/>
              <a:gd name="connsiteX86" fmla="*/ 3059184 w 4522224"/>
              <a:gd name="connsiteY86" fmla="*/ 2915088 h 6062148"/>
              <a:gd name="connsiteX87" fmla="*/ 3013464 w 4522224"/>
              <a:gd name="connsiteY87" fmla="*/ 3014148 h 6062148"/>
              <a:gd name="connsiteX88" fmla="*/ 2975364 w 4522224"/>
              <a:gd name="connsiteY88" fmla="*/ 3082728 h 6062148"/>
              <a:gd name="connsiteX89" fmla="*/ 2952504 w 4522224"/>
              <a:gd name="connsiteY89" fmla="*/ 3120828 h 6062148"/>
              <a:gd name="connsiteX90" fmla="*/ 2952504 w 4522224"/>
              <a:gd name="connsiteY90" fmla="*/ 3555168 h 6062148"/>
              <a:gd name="connsiteX91" fmla="*/ 2952504 w 4522224"/>
              <a:gd name="connsiteY91" fmla="*/ 3562788 h 6062148"/>
              <a:gd name="connsiteX92" fmla="*/ 3005844 w 4522224"/>
              <a:gd name="connsiteY92" fmla="*/ 3539928 h 6062148"/>
              <a:gd name="connsiteX93" fmla="*/ 3059184 w 4522224"/>
              <a:gd name="connsiteY93" fmla="*/ 3562788 h 6062148"/>
              <a:gd name="connsiteX94" fmla="*/ 3104904 w 4522224"/>
              <a:gd name="connsiteY94" fmla="*/ 3570408 h 6062148"/>
              <a:gd name="connsiteX95" fmla="*/ 3135384 w 4522224"/>
              <a:gd name="connsiteY95" fmla="*/ 3631368 h 6062148"/>
              <a:gd name="connsiteX96" fmla="*/ 3112524 w 4522224"/>
              <a:gd name="connsiteY96" fmla="*/ 3738048 h 6062148"/>
              <a:gd name="connsiteX97" fmla="*/ 3120144 w 4522224"/>
              <a:gd name="connsiteY97" fmla="*/ 4103808 h 6062148"/>
              <a:gd name="connsiteX98" fmla="*/ 3112524 w 4522224"/>
              <a:gd name="connsiteY98" fmla="*/ 4119048 h 6062148"/>
              <a:gd name="connsiteX99" fmla="*/ 3158244 w 4522224"/>
              <a:gd name="connsiteY99" fmla="*/ 4157148 h 6062148"/>
              <a:gd name="connsiteX100" fmla="*/ 3196344 w 4522224"/>
              <a:gd name="connsiteY100" fmla="*/ 4164768 h 6062148"/>
              <a:gd name="connsiteX101" fmla="*/ 3226824 w 4522224"/>
              <a:gd name="connsiteY101" fmla="*/ 4172388 h 6062148"/>
              <a:gd name="connsiteX102" fmla="*/ 3280164 w 4522224"/>
              <a:gd name="connsiteY102" fmla="*/ 4294308 h 6062148"/>
              <a:gd name="connsiteX103" fmla="*/ 3295404 w 4522224"/>
              <a:gd name="connsiteY103" fmla="*/ 4347648 h 6062148"/>
              <a:gd name="connsiteX104" fmla="*/ 3325884 w 4522224"/>
              <a:gd name="connsiteY104" fmla="*/ 4408608 h 6062148"/>
              <a:gd name="connsiteX105" fmla="*/ 3546864 w 4522224"/>
              <a:gd name="connsiteY105" fmla="*/ 4644828 h 6062148"/>
              <a:gd name="connsiteX106" fmla="*/ 3882144 w 4522224"/>
              <a:gd name="connsiteY106" fmla="*/ 5025828 h 6062148"/>
              <a:gd name="connsiteX107" fmla="*/ 4095504 w 4522224"/>
              <a:gd name="connsiteY107" fmla="*/ 5300148 h 6062148"/>
              <a:gd name="connsiteX108" fmla="*/ 4362204 w 4522224"/>
              <a:gd name="connsiteY108" fmla="*/ 5726868 h 6062148"/>
              <a:gd name="connsiteX109" fmla="*/ 4522224 w 4522224"/>
              <a:gd name="connsiteY109" fmla="*/ 6046908 h 6062148"/>
              <a:gd name="connsiteX0" fmla="*/ 323604 w 4522224"/>
              <a:gd name="connsiteY0" fmla="*/ 6062148 h 6062148"/>
              <a:gd name="connsiteX1" fmla="*/ 376944 w 4522224"/>
              <a:gd name="connsiteY1" fmla="*/ 5924988 h 6062148"/>
              <a:gd name="connsiteX2" fmla="*/ 437904 w 4522224"/>
              <a:gd name="connsiteY2" fmla="*/ 5780208 h 6062148"/>
              <a:gd name="connsiteX3" fmla="*/ 468384 w 4522224"/>
              <a:gd name="connsiteY3" fmla="*/ 5665908 h 6062148"/>
              <a:gd name="connsiteX4" fmla="*/ 506484 w 4522224"/>
              <a:gd name="connsiteY4" fmla="*/ 5612568 h 6062148"/>
              <a:gd name="connsiteX5" fmla="*/ 536964 w 4522224"/>
              <a:gd name="connsiteY5" fmla="*/ 5521128 h 6062148"/>
              <a:gd name="connsiteX6" fmla="*/ 559824 w 4522224"/>
              <a:gd name="connsiteY6" fmla="*/ 5353488 h 6062148"/>
              <a:gd name="connsiteX7" fmla="*/ 597924 w 4522224"/>
              <a:gd name="connsiteY7" fmla="*/ 5223948 h 6062148"/>
              <a:gd name="connsiteX8" fmla="*/ 620784 w 4522224"/>
              <a:gd name="connsiteY8" fmla="*/ 5178228 h 6062148"/>
              <a:gd name="connsiteX9" fmla="*/ 696984 w 4522224"/>
              <a:gd name="connsiteY9" fmla="*/ 5071548 h 6062148"/>
              <a:gd name="connsiteX10" fmla="*/ 712224 w 4522224"/>
              <a:gd name="connsiteY10" fmla="*/ 5063928 h 6062148"/>
              <a:gd name="connsiteX11" fmla="*/ 704604 w 4522224"/>
              <a:gd name="connsiteY11" fmla="*/ 5025828 h 6062148"/>
              <a:gd name="connsiteX12" fmla="*/ 696984 w 4522224"/>
              <a:gd name="connsiteY12" fmla="*/ 5002968 h 6062148"/>
              <a:gd name="connsiteX13" fmla="*/ 963684 w 4522224"/>
              <a:gd name="connsiteY13" fmla="*/ 4682928 h 6062148"/>
              <a:gd name="connsiteX14" fmla="*/ 956064 w 4522224"/>
              <a:gd name="connsiteY14" fmla="*/ 4644828 h 6062148"/>
              <a:gd name="connsiteX15" fmla="*/ 1337064 w 4522224"/>
              <a:gd name="connsiteY15" fmla="*/ 4172388 h 6062148"/>
              <a:gd name="connsiteX16" fmla="*/ 1253244 w 4522224"/>
              <a:gd name="connsiteY16" fmla="*/ 4012368 h 6062148"/>
              <a:gd name="connsiteX17" fmla="*/ 1199904 w 4522224"/>
              <a:gd name="connsiteY17" fmla="*/ 3928548 h 6062148"/>
              <a:gd name="connsiteX18" fmla="*/ 1169424 w 4522224"/>
              <a:gd name="connsiteY18" fmla="*/ 3768528 h 6062148"/>
              <a:gd name="connsiteX19" fmla="*/ 1146564 w 4522224"/>
              <a:gd name="connsiteY19" fmla="*/ 3699948 h 6062148"/>
              <a:gd name="connsiteX20" fmla="*/ 1138944 w 4522224"/>
              <a:gd name="connsiteY20" fmla="*/ 3669468 h 6062148"/>
              <a:gd name="connsiteX21" fmla="*/ 1062744 w 4522224"/>
              <a:gd name="connsiteY21" fmla="*/ 3661848 h 6062148"/>
              <a:gd name="connsiteX22" fmla="*/ 933204 w 4522224"/>
              <a:gd name="connsiteY22" fmla="*/ 3669468 h 6062148"/>
              <a:gd name="connsiteX23" fmla="*/ 826524 w 4522224"/>
              <a:gd name="connsiteY23" fmla="*/ 3692328 h 6062148"/>
              <a:gd name="connsiteX24" fmla="*/ 605544 w 4522224"/>
              <a:gd name="connsiteY24" fmla="*/ 3738048 h 6062148"/>
              <a:gd name="connsiteX25" fmla="*/ 384564 w 4522224"/>
              <a:gd name="connsiteY25" fmla="*/ 3638988 h 6062148"/>
              <a:gd name="connsiteX26" fmla="*/ 376944 w 4522224"/>
              <a:gd name="connsiteY26" fmla="*/ 3326568 h 6062148"/>
              <a:gd name="connsiteX27" fmla="*/ 415044 w 4522224"/>
              <a:gd name="connsiteY27" fmla="*/ 3227508 h 6062148"/>
              <a:gd name="connsiteX28" fmla="*/ 384564 w 4522224"/>
              <a:gd name="connsiteY28" fmla="*/ 3166548 h 6062148"/>
              <a:gd name="connsiteX29" fmla="*/ 361704 w 4522224"/>
              <a:gd name="connsiteY29" fmla="*/ 3166548 h 6062148"/>
              <a:gd name="connsiteX30" fmla="*/ 346464 w 4522224"/>
              <a:gd name="connsiteY30" fmla="*/ 3105588 h 6062148"/>
              <a:gd name="connsiteX31" fmla="*/ 392184 w 4522224"/>
              <a:gd name="connsiteY31" fmla="*/ 3021768 h 6062148"/>
              <a:gd name="connsiteX32" fmla="*/ 483624 w 4522224"/>
              <a:gd name="connsiteY32" fmla="*/ 2998908 h 6062148"/>
              <a:gd name="connsiteX33" fmla="*/ 460764 w 4522224"/>
              <a:gd name="connsiteY33" fmla="*/ 2930328 h 6062148"/>
              <a:gd name="connsiteX34" fmla="*/ 430284 w 4522224"/>
              <a:gd name="connsiteY34" fmla="*/ 2930328 h 6062148"/>
              <a:gd name="connsiteX35" fmla="*/ 384564 w 4522224"/>
              <a:gd name="connsiteY35" fmla="*/ 2930328 h 6062148"/>
              <a:gd name="connsiteX36" fmla="*/ 300744 w 4522224"/>
              <a:gd name="connsiteY36" fmla="*/ 2876988 h 6062148"/>
              <a:gd name="connsiteX37" fmla="*/ 315984 w 4522224"/>
              <a:gd name="connsiteY37" fmla="*/ 2846508 h 6062148"/>
              <a:gd name="connsiteX38" fmla="*/ 323604 w 4522224"/>
              <a:gd name="connsiteY38" fmla="*/ 2793168 h 6062148"/>
              <a:gd name="connsiteX39" fmla="*/ 308364 w 4522224"/>
              <a:gd name="connsiteY39" fmla="*/ 2732208 h 6062148"/>
              <a:gd name="connsiteX40" fmla="*/ 262644 w 4522224"/>
              <a:gd name="connsiteY40" fmla="*/ 2671248 h 6062148"/>
              <a:gd name="connsiteX41" fmla="*/ 171204 w 4522224"/>
              <a:gd name="connsiteY41" fmla="*/ 2656008 h 6062148"/>
              <a:gd name="connsiteX42" fmla="*/ 49284 w 4522224"/>
              <a:gd name="connsiteY42" fmla="*/ 2610288 h 6062148"/>
              <a:gd name="connsiteX43" fmla="*/ 18804 w 4522224"/>
              <a:gd name="connsiteY43" fmla="*/ 2556948 h 6062148"/>
              <a:gd name="connsiteX44" fmla="*/ 3564 w 4522224"/>
              <a:gd name="connsiteY44" fmla="*/ 2488368 h 6062148"/>
              <a:gd name="connsiteX45" fmla="*/ 87384 w 4522224"/>
              <a:gd name="connsiteY45" fmla="*/ 2335968 h 6062148"/>
              <a:gd name="connsiteX46" fmla="*/ 216924 w 4522224"/>
              <a:gd name="connsiteY46" fmla="*/ 2175948 h 6062148"/>
              <a:gd name="connsiteX47" fmla="*/ 277884 w 4522224"/>
              <a:gd name="connsiteY47" fmla="*/ 2084508 h 6062148"/>
              <a:gd name="connsiteX48" fmla="*/ 323604 w 4522224"/>
              <a:gd name="connsiteY48" fmla="*/ 1977828 h 6062148"/>
              <a:gd name="connsiteX49" fmla="*/ 354084 w 4522224"/>
              <a:gd name="connsiteY49" fmla="*/ 1871148 h 6062148"/>
              <a:gd name="connsiteX50" fmla="*/ 369324 w 4522224"/>
              <a:gd name="connsiteY50" fmla="*/ 1810188 h 6062148"/>
              <a:gd name="connsiteX51" fmla="*/ 338844 w 4522224"/>
              <a:gd name="connsiteY51" fmla="*/ 1756848 h 6062148"/>
              <a:gd name="connsiteX52" fmla="*/ 323604 w 4522224"/>
              <a:gd name="connsiteY52" fmla="*/ 1680648 h 6062148"/>
              <a:gd name="connsiteX53" fmla="*/ 407424 w 4522224"/>
              <a:gd name="connsiteY53" fmla="*/ 1474908 h 6062148"/>
              <a:gd name="connsiteX54" fmla="*/ 437904 w 4522224"/>
              <a:gd name="connsiteY54" fmla="*/ 1307268 h 6062148"/>
              <a:gd name="connsiteX55" fmla="*/ 460764 w 4522224"/>
              <a:gd name="connsiteY55" fmla="*/ 1192968 h 6062148"/>
              <a:gd name="connsiteX56" fmla="*/ 498864 w 4522224"/>
              <a:gd name="connsiteY56" fmla="*/ 1055808 h 6062148"/>
              <a:gd name="connsiteX57" fmla="*/ 552204 w 4522224"/>
              <a:gd name="connsiteY57" fmla="*/ 888168 h 6062148"/>
              <a:gd name="connsiteX58" fmla="*/ 498864 w 4522224"/>
              <a:gd name="connsiteY58" fmla="*/ 888168 h 6062148"/>
              <a:gd name="connsiteX59" fmla="*/ 407424 w 4522224"/>
              <a:gd name="connsiteY59" fmla="*/ 834828 h 6062148"/>
              <a:gd name="connsiteX60" fmla="*/ 323604 w 4522224"/>
              <a:gd name="connsiteY60" fmla="*/ 789108 h 6062148"/>
              <a:gd name="connsiteX61" fmla="*/ 255024 w 4522224"/>
              <a:gd name="connsiteY61" fmla="*/ 773868 h 6062148"/>
              <a:gd name="connsiteX62" fmla="*/ 209304 w 4522224"/>
              <a:gd name="connsiteY62" fmla="*/ 751008 h 6062148"/>
              <a:gd name="connsiteX63" fmla="*/ 255024 w 4522224"/>
              <a:gd name="connsiteY63" fmla="*/ 674808 h 6062148"/>
              <a:gd name="connsiteX64" fmla="*/ 369324 w 4522224"/>
              <a:gd name="connsiteY64" fmla="*/ 606228 h 6062148"/>
              <a:gd name="connsiteX65" fmla="*/ 552204 w 4522224"/>
              <a:gd name="connsiteY65" fmla="*/ 507168 h 6062148"/>
              <a:gd name="connsiteX66" fmla="*/ 651264 w 4522224"/>
              <a:gd name="connsiteY66" fmla="*/ 423348 h 6062148"/>
              <a:gd name="connsiteX67" fmla="*/ 887484 w 4522224"/>
              <a:gd name="connsiteY67" fmla="*/ 232848 h 6062148"/>
              <a:gd name="connsiteX68" fmla="*/ 1169424 w 4522224"/>
              <a:gd name="connsiteY68" fmla="*/ 80448 h 6062148"/>
              <a:gd name="connsiteX69" fmla="*/ 1588524 w 4522224"/>
              <a:gd name="connsiteY69" fmla="*/ 11868 h 6062148"/>
              <a:gd name="connsiteX70" fmla="*/ 1939044 w 4522224"/>
              <a:gd name="connsiteY70" fmla="*/ 4248 h 6062148"/>
              <a:gd name="connsiteX71" fmla="*/ 2167644 w 4522224"/>
              <a:gd name="connsiteY71" fmla="*/ 4248 h 6062148"/>
              <a:gd name="connsiteX72" fmla="*/ 2388624 w 4522224"/>
              <a:gd name="connsiteY72" fmla="*/ 57588 h 6062148"/>
              <a:gd name="connsiteX73" fmla="*/ 2662944 w 4522224"/>
              <a:gd name="connsiteY73" fmla="*/ 133788 h 6062148"/>
              <a:gd name="connsiteX74" fmla="*/ 2815344 w 4522224"/>
              <a:gd name="connsiteY74" fmla="*/ 202368 h 6062148"/>
              <a:gd name="connsiteX75" fmla="*/ 3097284 w 4522224"/>
              <a:gd name="connsiteY75" fmla="*/ 400488 h 6062148"/>
              <a:gd name="connsiteX76" fmla="*/ 3280164 w 4522224"/>
              <a:gd name="connsiteY76" fmla="*/ 651948 h 6062148"/>
              <a:gd name="connsiteX77" fmla="*/ 3402084 w 4522224"/>
              <a:gd name="connsiteY77" fmla="*/ 918648 h 6062148"/>
              <a:gd name="connsiteX78" fmla="*/ 3470664 w 4522224"/>
              <a:gd name="connsiteY78" fmla="*/ 1238688 h 6062148"/>
              <a:gd name="connsiteX79" fmla="*/ 3501144 w 4522224"/>
              <a:gd name="connsiteY79" fmla="*/ 1543488 h 6062148"/>
              <a:gd name="connsiteX80" fmla="*/ 3501144 w 4522224"/>
              <a:gd name="connsiteY80" fmla="*/ 1962588 h 6062148"/>
              <a:gd name="connsiteX81" fmla="*/ 3333504 w 4522224"/>
              <a:gd name="connsiteY81" fmla="*/ 2305488 h 6062148"/>
              <a:gd name="connsiteX82" fmla="*/ 3249684 w 4522224"/>
              <a:gd name="connsiteY82" fmla="*/ 2473128 h 6062148"/>
              <a:gd name="connsiteX83" fmla="*/ 3127764 w 4522224"/>
              <a:gd name="connsiteY83" fmla="*/ 2663628 h 6062148"/>
              <a:gd name="connsiteX84" fmla="*/ 3066804 w 4522224"/>
              <a:gd name="connsiteY84" fmla="*/ 2838888 h 6062148"/>
              <a:gd name="connsiteX85" fmla="*/ 3059184 w 4522224"/>
              <a:gd name="connsiteY85" fmla="*/ 2915088 h 6062148"/>
              <a:gd name="connsiteX86" fmla="*/ 3013464 w 4522224"/>
              <a:gd name="connsiteY86" fmla="*/ 3014148 h 6062148"/>
              <a:gd name="connsiteX87" fmla="*/ 2975364 w 4522224"/>
              <a:gd name="connsiteY87" fmla="*/ 3082728 h 6062148"/>
              <a:gd name="connsiteX88" fmla="*/ 2952504 w 4522224"/>
              <a:gd name="connsiteY88" fmla="*/ 3120828 h 6062148"/>
              <a:gd name="connsiteX89" fmla="*/ 2952504 w 4522224"/>
              <a:gd name="connsiteY89" fmla="*/ 3555168 h 6062148"/>
              <a:gd name="connsiteX90" fmla="*/ 2952504 w 4522224"/>
              <a:gd name="connsiteY90" fmla="*/ 3562788 h 6062148"/>
              <a:gd name="connsiteX91" fmla="*/ 3005844 w 4522224"/>
              <a:gd name="connsiteY91" fmla="*/ 3539928 h 6062148"/>
              <a:gd name="connsiteX92" fmla="*/ 3059184 w 4522224"/>
              <a:gd name="connsiteY92" fmla="*/ 3562788 h 6062148"/>
              <a:gd name="connsiteX93" fmla="*/ 3104904 w 4522224"/>
              <a:gd name="connsiteY93" fmla="*/ 3570408 h 6062148"/>
              <a:gd name="connsiteX94" fmla="*/ 3135384 w 4522224"/>
              <a:gd name="connsiteY94" fmla="*/ 3631368 h 6062148"/>
              <a:gd name="connsiteX95" fmla="*/ 3112524 w 4522224"/>
              <a:gd name="connsiteY95" fmla="*/ 3738048 h 6062148"/>
              <a:gd name="connsiteX96" fmla="*/ 3120144 w 4522224"/>
              <a:gd name="connsiteY96" fmla="*/ 4103808 h 6062148"/>
              <a:gd name="connsiteX97" fmla="*/ 3112524 w 4522224"/>
              <a:gd name="connsiteY97" fmla="*/ 4119048 h 6062148"/>
              <a:gd name="connsiteX98" fmla="*/ 3158244 w 4522224"/>
              <a:gd name="connsiteY98" fmla="*/ 4157148 h 6062148"/>
              <a:gd name="connsiteX99" fmla="*/ 3196344 w 4522224"/>
              <a:gd name="connsiteY99" fmla="*/ 4164768 h 6062148"/>
              <a:gd name="connsiteX100" fmla="*/ 3226824 w 4522224"/>
              <a:gd name="connsiteY100" fmla="*/ 4172388 h 6062148"/>
              <a:gd name="connsiteX101" fmla="*/ 3280164 w 4522224"/>
              <a:gd name="connsiteY101" fmla="*/ 4294308 h 6062148"/>
              <a:gd name="connsiteX102" fmla="*/ 3295404 w 4522224"/>
              <a:gd name="connsiteY102" fmla="*/ 4347648 h 6062148"/>
              <a:gd name="connsiteX103" fmla="*/ 3325884 w 4522224"/>
              <a:gd name="connsiteY103" fmla="*/ 4408608 h 6062148"/>
              <a:gd name="connsiteX104" fmla="*/ 3546864 w 4522224"/>
              <a:gd name="connsiteY104" fmla="*/ 4644828 h 6062148"/>
              <a:gd name="connsiteX105" fmla="*/ 3882144 w 4522224"/>
              <a:gd name="connsiteY105" fmla="*/ 5025828 h 6062148"/>
              <a:gd name="connsiteX106" fmla="*/ 4095504 w 4522224"/>
              <a:gd name="connsiteY106" fmla="*/ 5300148 h 6062148"/>
              <a:gd name="connsiteX107" fmla="*/ 4362204 w 4522224"/>
              <a:gd name="connsiteY107" fmla="*/ 5726868 h 6062148"/>
              <a:gd name="connsiteX108" fmla="*/ 4522224 w 4522224"/>
              <a:gd name="connsiteY108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66706 w 4527226"/>
              <a:gd name="connsiteY29" fmla="*/ 3166548 h 6062148"/>
              <a:gd name="connsiteX30" fmla="*/ 351466 w 4527226"/>
              <a:gd name="connsiteY30" fmla="*/ 3105588 h 6062148"/>
              <a:gd name="connsiteX31" fmla="*/ 397186 w 4527226"/>
              <a:gd name="connsiteY31" fmla="*/ 3021768 h 6062148"/>
              <a:gd name="connsiteX32" fmla="*/ 488626 w 4527226"/>
              <a:gd name="connsiteY32" fmla="*/ 2998908 h 6062148"/>
              <a:gd name="connsiteX33" fmla="*/ 465766 w 4527226"/>
              <a:gd name="connsiteY33" fmla="*/ 2930328 h 6062148"/>
              <a:gd name="connsiteX34" fmla="*/ 435286 w 4527226"/>
              <a:gd name="connsiteY34" fmla="*/ 2930328 h 6062148"/>
              <a:gd name="connsiteX35" fmla="*/ 389566 w 4527226"/>
              <a:gd name="connsiteY35" fmla="*/ 2930328 h 6062148"/>
              <a:gd name="connsiteX36" fmla="*/ 305746 w 4527226"/>
              <a:gd name="connsiteY36" fmla="*/ 2876988 h 6062148"/>
              <a:gd name="connsiteX37" fmla="*/ 320986 w 4527226"/>
              <a:gd name="connsiteY37" fmla="*/ 2846508 h 6062148"/>
              <a:gd name="connsiteX38" fmla="*/ 328606 w 4527226"/>
              <a:gd name="connsiteY38" fmla="*/ 2793168 h 6062148"/>
              <a:gd name="connsiteX39" fmla="*/ 313366 w 4527226"/>
              <a:gd name="connsiteY39" fmla="*/ 2732208 h 6062148"/>
              <a:gd name="connsiteX40" fmla="*/ 267646 w 4527226"/>
              <a:gd name="connsiteY40" fmla="*/ 2671248 h 6062148"/>
              <a:gd name="connsiteX41" fmla="*/ 176206 w 4527226"/>
              <a:gd name="connsiteY41" fmla="*/ 2656008 h 6062148"/>
              <a:gd name="connsiteX42" fmla="*/ 54286 w 4527226"/>
              <a:gd name="connsiteY42" fmla="*/ 2610288 h 6062148"/>
              <a:gd name="connsiteX43" fmla="*/ 7931 w 4527226"/>
              <a:gd name="connsiteY43" fmla="*/ 2563298 h 6062148"/>
              <a:gd name="connsiteX44" fmla="*/ 8566 w 4527226"/>
              <a:gd name="connsiteY44" fmla="*/ 2488368 h 6062148"/>
              <a:gd name="connsiteX45" fmla="*/ 92386 w 4527226"/>
              <a:gd name="connsiteY45" fmla="*/ 2335968 h 6062148"/>
              <a:gd name="connsiteX46" fmla="*/ 221926 w 4527226"/>
              <a:gd name="connsiteY46" fmla="*/ 2175948 h 6062148"/>
              <a:gd name="connsiteX47" fmla="*/ 282886 w 4527226"/>
              <a:gd name="connsiteY47" fmla="*/ 2084508 h 6062148"/>
              <a:gd name="connsiteX48" fmla="*/ 328606 w 4527226"/>
              <a:gd name="connsiteY48" fmla="*/ 1977828 h 6062148"/>
              <a:gd name="connsiteX49" fmla="*/ 359086 w 4527226"/>
              <a:gd name="connsiteY49" fmla="*/ 1871148 h 6062148"/>
              <a:gd name="connsiteX50" fmla="*/ 374326 w 4527226"/>
              <a:gd name="connsiteY50" fmla="*/ 1810188 h 6062148"/>
              <a:gd name="connsiteX51" fmla="*/ 343846 w 4527226"/>
              <a:gd name="connsiteY51" fmla="*/ 1756848 h 6062148"/>
              <a:gd name="connsiteX52" fmla="*/ 328606 w 4527226"/>
              <a:gd name="connsiteY52" fmla="*/ 1680648 h 6062148"/>
              <a:gd name="connsiteX53" fmla="*/ 412426 w 4527226"/>
              <a:gd name="connsiteY53" fmla="*/ 1474908 h 6062148"/>
              <a:gd name="connsiteX54" fmla="*/ 442906 w 4527226"/>
              <a:gd name="connsiteY54" fmla="*/ 1307268 h 6062148"/>
              <a:gd name="connsiteX55" fmla="*/ 465766 w 4527226"/>
              <a:gd name="connsiteY55" fmla="*/ 1192968 h 6062148"/>
              <a:gd name="connsiteX56" fmla="*/ 503866 w 4527226"/>
              <a:gd name="connsiteY56" fmla="*/ 1055808 h 6062148"/>
              <a:gd name="connsiteX57" fmla="*/ 557206 w 4527226"/>
              <a:gd name="connsiteY57" fmla="*/ 888168 h 6062148"/>
              <a:gd name="connsiteX58" fmla="*/ 503866 w 4527226"/>
              <a:gd name="connsiteY58" fmla="*/ 888168 h 6062148"/>
              <a:gd name="connsiteX59" fmla="*/ 412426 w 4527226"/>
              <a:gd name="connsiteY59" fmla="*/ 834828 h 6062148"/>
              <a:gd name="connsiteX60" fmla="*/ 328606 w 4527226"/>
              <a:gd name="connsiteY60" fmla="*/ 789108 h 6062148"/>
              <a:gd name="connsiteX61" fmla="*/ 260026 w 4527226"/>
              <a:gd name="connsiteY61" fmla="*/ 773868 h 6062148"/>
              <a:gd name="connsiteX62" fmla="*/ 214306 w 4527226"/>
              <a:gd name="connsiteY62" fmla="*/ 751008 h 6062148"/>
              <a:gd name="connsiteX63" fmla="*/ 260026 w 4527226"/>
              <a:gd name="connsiteY63" fmla="*/ 674808 h 6062148"/>
              <a:gd name="connsiteX64" fmla="*/ 374326 w 4527226"/>
              <a:gd name="connsiteY64" fmla="*/ 606228 h 6062148"/>
              <a:gd name="connsiteX65" fmla="*/ 557206 w 4527226"/>
              <a:gd name="connsiteY65" fmla="*/ 507168 h 6062148"/>
              <a:gd name="connsiteX66" fmla="*/ 656266 w 4527226"/>
              <a:gd name="connsiteY66" fmla="*/ 423348 h 6062148"/>
              <a:gd name="connsiteX67" fmla="*/ 892486 w 4527226"/>
              <a:gd name="connsiteY67" fmla="*/ 232848 h 6062148"/>
              <a:gd name="connsiteX68" fmla="*/ 1174426 w 4527226"/>
              <a:gd name="connsiteY68" fmla="*/ 80448 h 6062148"/>
              <a:gd name="connsiteX69" fmla="*/ 1593526 w 4527226"/>
              <a:gd name="connsiteY69" fmla="*/ 11868 h 6062148"/>
              <a:gd name="connsiteX70" fmla="*/ 1944046 w 4527226"/>
              <a:gd name="connsiteY70" fmla="*/ 4248 h 6062148"/>
              <a:gd name="connsiteX71" fmla="*/ 2172646 w 4527226"/>
              <a:gd name="connsiteY71" fmla="*/ 4248 h 6062148"/>
              <a:gd name="connsiteX72" fmla="*/ 2393626 w 4527226"/>
              <a:gd name="connsiteY72" fmla="*/ 57588 h 6062148"/>
              <a:gd name="connsiteX73" fmla="*/ 2667946 w 4527226"/>
              <a:gd name="connsiteY73" fmla="*/ 133788 h 6062148"/>
              <a:gd name="connsiteX74" fmla="*/ 2820346 w 4527226"/>
              <a:gd name="connsiteY74" fmla="*/ 202368 h 6062148"/>
              <a:gd name="connsiteX75" fmla="*/ 3102286 w 4527226"/>
              <a:gd name="connsiteY75" fmla="*/ 400488 h 6062148"/>
              <a:gd name="connsiteX76" fmla="*/ 3285166 w 4527226"/>
              <a:gd name="connsiteY76" fmla="*/ 651948 h 6062148"/>
              <a:gd name="connsiteX77" fmla="*/ 3407086 w 4527226"/>
              <a:gd name="connsiteY77" fmla="*/ 918648 h 6062148"/>
              <a:gd name="connsiteX78" fmla="*/ 3475666 w 4527226"/>
              <a:gd name="connsiteY78" fmla="*/ 1238688 h 6062148"/>
              <a:gd name="connsiteX79" fmla="*/ 3506146 w 4527226"/>
              <a:gd name="connsiteY79" fmla="*/ 1543488 h 6062148"/>
              <a:gd name="connsiteX80" fmla="*/ 3506146 w 4527226"/>
              <a:gd name="connsiteY80" fmla="*/ 1962588 h 6062148"/>
              <a:gd name="connsiteX81" fmla="*/ 3338506 w 4527226"/>
              <a:gd name="connsiteY81" fmla="*/ 2305488 h 6062148"/>
              <a:gd name="connsiteX82" fmla="*/ 3254686 w 4527226"/>
              <a:gd name="connsiteY82" fmla="*/ 2473128 h 6062148"/>
              <a:gd name="connsiteX83" fmla="*/ 3132766 w 4527226"/>
              <a:gd name="connsiteY83" fmla="*/ 2663628 h 6062148"/>
              <a:gd name="connsiteX84" fmla="*/ 3071806 w 4527226"/>
              <a:gd name="connsiteY84" fmla="*/ 2838888 h 6062148"/>
              <a:gd name="connsiteX85" fmla="*/ 3064186 w 4527226"/>
              <a:gd name="connsiteY85" fmla="*/ 2915088 h 6062148"/>
              <a:gd name="connsiteX86" fmla="*/ 3018466 w 4527226"/>
              <a:gd name="connsiteY86" fmla="*/ 3014148 h 6062148"/>
              <a:gd name="connsiteX87" fmla="*/ 2980366 w 4527226"/>
              <a:gd name="connsiteY87" fmla="*/ 3082728 h 6062148"/>
              <a:gd name="connsiteX88" fmla="*/ 2957506 w 4527226"/>
              <a:gd name="connsiteY88" fmla="*/ 3120828 h 6062148"/>
              <a:gd name="connsiteX89" fmla="*/ 2957506 w 4527226"/>
              <a:gd name="connsiteY89" fmla="*/ 3555168 h 6062148"/>
              <a:gd name="connsiteX90" fmla="*/ 2957506 w 4527226"/>
              <a:gd name="connsiteY90" fmla="*/ 3562788 h 6062148"/>
              <a:gd name="connsiteX91" fmla="*/ 3010846 w 4527226"/>
              <a:gd name="connsiteY91" fmla="*/ 3539928 h 6062148"/>
              <a:gd name="connsiteX92" fmla="*/ 3064186 w 4527226"/>
              <a:gd name="connsiteY92" fmla="*/ 3562788 h 6062148"/>
              <a:gd name="connsiteX93" fmla="*/ 3109906 w 4527226"/>
              <a:gd name="connsiteY93" fmla="*/ 3570408 h 6062148"/>
              <a:gd name="connsiteX94" fmla="*/ 3140386 w 4527226"/>
              <a:gd name="connsiteY94" fmla="*/ 3631368 h 6062148"/>
              <a:gd name="connsiteX95" fmla="*/ 3117526 w 4527226"/>
              <a:gd name="connsiteY95" fmla="*/ 3738048 h 6062148"/>
              <a:gd name="connsiteX96" fmla="*/ 3125146 w 4527226"/>
              <a:gd name="connsiteY96" fmla="*/ 4103808 h 6062148"/>
              <a:gd name="connsiteX97" fmla="*/ 3117526 w 4527226"/>
              <a:gd name="connsiteY97" fmla="*/ 4119048 h 6062148"/>
              <a:gd name="connsiteX98" fmla="*/ 3163246 w 4527226"/>
              <a:gd name="connsiteY98" fmla="*/ 4157148 h 6062148"/>
              <a:gd name="connsiteX99" fmla="*/ 3201346 w 4527226"/>
              <a:gd name="connsiteY99" fmla="*/ 4164768 h 6062148"/>
              <a:gd name="connsiteX100" fmla="*/ 3231826 w 4527226"/>
              <a:gd name="connsiteY100" fmla="*/ 4172388 h 6062148"/>
              <a:gd name="connsiteX101" fmla="*/ 3285166 w 4527226"/>
              <a:gd name="connsiteY101" fmla="*/ 4294308 h 6062148"/>
              <a:gd name="connsiteX102" fmla="*/ 3300406 w 4527226"/>
              <a:gd name="connsiteY102" fmla="*/ 4347648 h 6062148"/>
              <a:gd name="connsiteX103" fmla="*/ 3330886 w 4527226"/>
              <a:gd name="connsiteY103" fmla="*/ 4408608 h 6062148"/>
              <a:gd name="connsiteX104" fmla="*/ 3551866 w 4527226"/>
              <a:gd name="connsiteY104" fmla="*/ 4644828 h 6062148"/>
              <a:gd name="connsiteX105" fmla="*/ 3887146 w 4527226"/>
              <a:gd name="connsiteY105" fmla="*/ 5025828 h 6062148"/>
              <a:gd name="connsiteX106" fmla="*/ 4100506 w 4527226"/>
              <a:gd name="connsiteY106" fmla="*/ 5300148 h 6062148"/>
              <a:gd name="connsiteX107" fmla="*/ 4367206 w 4527226"/>
              <a:gd name="connsiteY107" fmla="*/ 5726868 h 6062148"/>
              <a:gd name="connsiteX108" fmla="*/ 4527226 w 4527226"/>
              <a:gd name="connsiteY108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65766 w 4527226"/>
              <a:gd name="connsiteY32" fmla="*/ 2930328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05746 w 4527226"/>
              <a:gd name="connsiteY35" fmla="*/ 2876988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2957506 w 4527226"/>
              <a:gd name="connsiteY89" fmla="*/ 3562788 h 6062148"/>
              <a:gd name="connsiteX90" fmla="*/ 3010846 w 4527226"/>
              <a:gd name="connsiteY90" fmla="*/ 3539928 h 6062148"/>
              <a:gd name="connsiteX91" fmla="*/ 3064186 w 4527226"/>
              <a:gd name="connsiteY91" fmla="*/ 3562788 h 6062148"/>
              <a:gd name="connsiteX92" fmla="*/ 3109906 w 4527226"/>
              <a:gd name="connsiteY92" fmla="*/ 3570408 h 6062148"/>
              <a:gd name="connsiteX93" fmla="*/ 3140386 w 4527226"/>
              <a:gd name="connsiteY93" fmla="*/ 3631368 h 6062148"/>
              <a:gd name="connsiteX94" fmla="*/ 3117526 w 4527226"/>
              <a:gd name="connsiteY94" fmla="*/ 3738048 h 6062148"/>
              <a:gd name="connsiteX95" fmla="*/ 3125146 w 4527226"/>
              <a:gd name="connsiteY95" fmla="*/ 4103808 h 6062148"/>
              <a:gd name="connsiteX96" fmla="*/ 3117526 w 4527226"/>
              <a:gd name="connsiteY96" fmla="*/ 4119048 h 6062148"/>
              <a:gd name="connsiteX97" fmla="*/ 3163246 w 4527226"/>
              <a:gd name="connsiteY97" fmla="*/ 4157148 h 6062148"/>
              <a:gd name="connsiteX98" fmla="*/ 3201346 w 4527226"/>
              <a:gd name="connsiteY98" fmla="*/ 4164768 h 6062148"/>
              <a:gd name="connsiteX99" fmla="*/ 3231826 w 4527226"/>
              <a:gd name="connsiteY99" fmla="*/ 4172388 h 6062148"/>
              <a:gd name="connsiteX100" fmla="*/ 3285166 w 4527226"/>
              <a:gd name="connsiteY100" fmla="*/ 4294308 h 6062148"/>
              <a:gd name="connsiteX101" fmla="*/ 3300406 w 4527226"/>
              <a:gd name="connsiteY101" fmla="*/ 4347648 h 6062148"/>
              <a:gd name="connsiteX102" fmla="*/ 3330886 w 4527226"/>
              <a:gd name="connsiteY102" fmla="*/ 4408608 h 6062148"/>
              <a:gd name="connsiteX103" fmla="*/ 3551866 w 4527226"/>
              <a:gd name="connsiteY103" fmla="*/ 4644828 h 6062148"/>
              <a:gd name="connsiteX104" fmla="*/ 3887146 w 4527226"/>
              <a:gd name="connsiteY104" fmla="*/ 5025828 h 6062148"/>
              <a:gd name="connsiteX105" fmla="*/ 4100506 w 4527226"/>
              <a:gd name="connsiteY105" fmla="*/ 5300148 h 6062148"/>
              <a:gd name="connsiteX106" fmla="*/ 4367206 w 4527226"/>
              <a:gd name="connsiteY106" fmla="*/ 5726868 h 6062148"/>
              <a:gd name="connsiteX107" fmla="*/ 4527226 w 4527226"/>
              <a:gd name="connsiteY107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65766 w 4527226"/>
              <a:gd name="connsiteY32" fmla="*/ 2930328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2957506 w 4527226"/>
              <a:gd name="connsiteY89" fmla="*/ 3562788 h 6062148"/>
              <a:gd name="connsiteX90" fmla="*/ 3010846 w 4527226"/>
              <a:gd name="connsiteY90" fmla="*/ 3539928 h 6062148"/>
              <a:gd name="connsiteX91" fmla="*/ 3064186 w 4527226"/>
              <a:gd name="connsiteY91" fmla="*/ 3562788 h 6062148"/>
              <a:gd name="connsiteX92" fmla="*/ 3109906 w 4527226"/>
              <a:gd name="connsiteY92" fmla="*/ 3570408 h 6062148"/>
              <a:gd name="connsiteX93" fmla="*/ 3140386 w 4527226"/>
              <a:gd name="connsiteY93" fmla="*/ 3631368 h 6062148"/>
              <a:gd name="connsiteX94" fmla="*/ 3117526 w 4527226"/>
              <a:gd name="connsiteY94" fmla="*/ 3738048 h 6062148"/>
              <a:gd name="connsiteX95" fmla="*/ 3125146 w 4527226"/>
              <a:gd name="connsiteY95" fmla="*/ 4103808 h 6062148"/>
              <a:gd name="connsiteX96" fmla="*/ 3117526 w 4527226"/>
              <a:gd name="connsiteY96" fmla="*/ 4119048 h 6062148"/>
              <a:gd name="connsiteX97" fmla="*/ 3163246 w 4527226"/>
              <a:gd name="connsiteY97" fmla="*/ 4157148 h 6062148"/>
              <a:gd name="connsiteX98" fmla="*/ 3201346 w 4527226"/>
              <a:gd name="connsiteY98" fmla="*/ 4164768 h 6062148"/>
              <a:gd name="connsiteX99" fmla="*/ 3231826 w 4527226"/>
              <a:gd name="connsiteY99" fmla="*/ 4172388 h 6062148"/>
              <a:gd name="connsiteX100" fmla="*/ 3285166 w 4527226"/>
              <a:gd name="connsiteY100" fmla="*/ 4294308 h 6062148"/>
              <a:gd name="connsiteX101" fmla="*/ 3300406 w 4527226"/>
              <a:gd name="connsiteY101" fmla="*/ 4347648 h 6062148"/>
              <a:gd name="connsiteX102" fmla="*/ 3330886 w 4527226"/>
              <a:gd name="connsiteY102" fmla="*/ 4408608 h 6062148"/>
              <a:gd name="connsiteX103" fmla="*/ 3551866 w 4527226"/>
              <a:gd name="connsiteY103" fmla="*/ 4644828 h 6062148"/>
              <a:gd name="connsiteX104" fmla="*/ 3887146 w 4527226"/>
              <a:gd name="connsiteY104" fmla="*/ 5025828 h 6062148"/>
              <a:gd name="connsiteX105" fmla="*/ 4100506 w 4527226"/>
              <a:gd name="connsiteY105" fmla="*/ 5300148 h 6062148"/>
              <a:gd name="connsiteX106" fmla="*/ 4367206 w 4527226"/>
              <a:gd name="connsiteY106" fmla="*/ 5726868 h 6062148"/>
              <a:gd name="connsiteX107" fmla="*/ 4527226 w 4527226"/>
              <a:gd name="connsiteY107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2957506 w 4527226"/>
              <a:gd name="connsiteY89" fmla="*/ 3562788 h 6062148"/>
              <a:gd name="connsiteX90" fmla="*/ 3010846 w 4527226"/>
              <a:gd name="connsiteY90" fmla="*/ 3539928 h 6062148"/>
              <a:gd name="connsiteX91" fmla="*/ 3064186 w 4527226"/>
              <a:gd name="connsiteY91" fmla="*/ 3562788 h 6062148"/>
              <a:gd name="connsiteX92" fmla="*/ 3109906 w 4527226"/>
              <a:gd name="connsiteY92" fmla="*/ 3570408 h 6062148"/>
              <a:gd name="connsiteX93" fmla="*/ 3140386 w 4527226"/>
              <a:gd name="connsiteY93" fmla="*/ 3631368 h 6062148"/>
              <a:gd name="connsiteX94" fmla="*/ 3117526 w 4527226"/>
              <a:gd name="connsiteY94" fmla="*/ 3738048 h 6062148"/>
              <a:gd name="connsiteX95" fmla="*/ 3125146 w 4527226"/>
              <a:gd name="connsiteY95" fmla="*/ 4103808 h 6062148"/>
              <a:gd name="connsiteX96" fmla="*/ 3117526 w 4527226"/>
              <a:gd name="connsiteY96" fmla="*/ 4119048 h 6062148"/>
              <a:gd name="connsiteX97" fmla="*/ 3163246 w 4527226"/>
              <a:gd name="connsiteY97" fmla="*/ 4157148 h 6062148"/>
              <a:gd name="connsiteX98" fmla="*/ 3201346 w 4527226"/>
              <a:gd name="connsiteY98" fmla="*/ 4164768 h 6062148"/>
              <a:gd name="connsiteX99" fmla="*/ 3231826 w 4527226"/>
              <a:gd name="connsiteY99" fmla="*/ 4172388 h 6062148"/>
              <a:gd name="connsiteX100" fmla="*/ 3285166 w 4527226"/>
              <a:gd name="connsiteY100" fmla="*/ 4294308 h 6062148"/>
              <a:gd name="connsiteX101" fmla="*/ 3300406 w 4527226"/>
              <a:gd name="connsiteY101" fmla="*/ 4347648 h 6062148"/>
              <a:gd name="connsiteX102" fmla="*/ 3330886 w 4527226"/>
              <a:gd name="connsiteY102" fmla="*/ 4408608 h 6062148"/>
              <a:gd name="connsiteX103" fmla="*/ 3551866 w 4527226"/>
              <a:gd name="connsiteY103" fmla="*/ 4644828 h 6062148"/>
              <a:gd name="connsiteX104" fmla="*/ 3887146 w 4527226"/>
              <a:gd name="connsiteY104" fmla="*/ 5025828 h 6062148"/>
              <a:gd name="connsiteX105" fmla="*/ 4100506 w 4527226"/>
              <a:gd name="connsiteY105" fmla="*/ 5300148 h 6062148"/>
              <a:gd name="connsiteX106" fmla="*/ 4367206 w 4527226"/>
              <a:gd name="connsiteY106" fmla="*/ 5726868 h 6062148"/>
              <a:gd name="connsiteX107" fmla="*/ 4527226 w 4527226"/>
              <a:gd name="connsiteY107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3010846 w 4527226"/>
              <a:gd name="connsiteY89" fmla="*/ 3539928 h 6062148"/>
              <a:gd name="connsiteX90" fmla="*/ 3064186 w 4527226"/>
              <a:gd name="connsiteY90" fmla="*/ 3562788 h 6062148"/>
              <a:gd name="connsiteX91" fmla="*/ 3109906 w 4527226"/>
              <a:gd name="connsiteY91" fmla="*/ 3570408 h 6062148"/>
              <a:gd name="connsiteX92" fmla="*/ 3140386 w 4527226"/>
              <a:gd name="connsiteY92" fmla="*/ 3631368 h 6062148"/>
              <a:gd name="connsiteX93" fmla="*/ 3117526 w 4527226"/>
              <a:gd name="connsiteY93" fmla="*/ 3738048 h 6062148"/>
              <a:gd name="connsiteX94" fmla="*/ 3125146 w 4527226"/>
              <a:gd name="connsiteY94" fmla="*/ 4103808 h 6062148"/>
              <a:gd name="connsiteX95" fmla="*/ 3117526 w 4527226"/>
              <a:gd name="connsiteY95" fmla="*/ 4119048 h 6062148"/>
              <a:gd name="connsiteX96" fmla="*/ 3163246 w 4527226"/>
              <a:gd name="connsiteY96" fmla="*/ 4157148 h 6062148"/>
              <a:gd name="connsiteX97" fmla="*/ 3201346 w 4527226"/>
              <a:gd name="connsiteY97" fmla="*/ 4164768 h 6062148"/>
              <a:gd name="connsiteX98" fmla="*/ 3231826 w 4527226"/>
              <a:gd name="connsiteY98" fmla="*/ 4172388 h 6062148"/>
              <a:gd name="connsiteX99" fmla="*/ 3285166 w 4527226"/>
              <a:gd name="connsiteY99" fmla="*/ 4294308 h 6062148"/>
              <a:gd name="connsiteX100" fmla="*/ 3300406 w 4527226"/>
              <a:gd name="connsiteY100" fmla="*/ 4347648 h 6062148"/>
              <a:gd name="connsiteX101" fmla="*/ 3330886 w 4527226"/>
              <a:gd name="connsiteY101" fmla="*/ 4408608 h 6062148"/>
              <a:gd name="connsiteX102" fmla="*/ 3551866 w 4527226"/>
              <a:gd name="connsiteY102" fmla="*/ 4644828 h 6062148"/>
              <a:gd name="connsiteX103" fmla="*/ 3887146 w 4527226"/>
              <a:gd name="connsiteY103" fmla="*/ 5025828 h 6062148"/>
              <a:gd name="connsiteX104" fmla="*/ 4100506 w 4527226"/>
              <a:gd name="connsiteY104" fmla="*/ 5300148 h 6062148"/>
              <a:gd name="connsiteX105" fmla="*/ 4367206 w 4527226"/>
              <a:gd name="connsiteY105" fmla="*/ 5726868 h 6062148"/>
              <a:gd name="connsiteX106" fmla="*/ 4527226 w 4527226"/>
              <a:gd name="connsiteY106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3010846 w 4527226"/>
              <a:gd name="connsiteY89" fmla="*/ 3539928 h 6062148"/>
              <a:gd name="connsiteX90" fmla="*/ 3109906 w 4527226"/>
              <a:gd name="connsiteY90" fmla="*/ 3570408 h 6062148"/>
              <a:gd name="connsiteX91" fmla="*/ 3140386 w 4527226"/>
              <a:gd name="connsiteY91" fmla="*/ 3631368 h 6062148"/>
              <a:gd name="connsiteX92" fmla="*/ 3117526 w 4527226"/>
              <a:gd name="connsiteY92" fmla="*/ 3738048 h 6062148"/>
              <a:gd name="connsiteX93" fmla="*/ 3125146 w 4527226"/>
              <a:gd name="connsiteY93" fmla="*/ 4103808 h 6062148"/>
              <a:gd name="connsiteX94" fmla="*/ 3117526 w 4527226"/>
              <a:gd name="connsiteY94" fmla="*/ 4119048 h 6062148"/>
              <a:gd name="connsiteX95" fmla="*/ 3163246 w 4527226"/>
              <a:gd name="connsiteY95" fmla="*/ 4157148 h 6062148"/>
              <a:gd name="connsiteX96" fmla="*/ 3201346 w 4527226"/>
              <a:gd name="connsiteY96" fmla="*/ 4164768 h 6062148"/>
              <a:gd name="connsiteX97" fmla="*/ 3231826 w 4527226"/>
              <a:gd name="connsiteY97" fmla="*/ 4172388 h 6062148"/>
              <a:gd name="connsiteX98" fmla="*/ 3285166 w 4527226"/>
              <a:gd name="connsiteY98" fmla="*/ 4294308 h 6062148"/>
              <a:gd name="connsiteX99" fmla="*/ 3300406 w 4527226"/>
              <a:gd name="connsiteY99" fmla="*/ 4347648 h 6062148"/>
              <a:gd name="connsiteX100" fmla="*/ 3330886 w 4527226"/>
              <a:gd name="connsiteY100" fmla="*/ 4408608 h 6062148"/>
              <a:gd name="connsiteX101" fmla="*/ 3551866 w 4527226"/>
              <a:gd name="connsiteY101" fmla="*/ 4644828 h 6062148"/>
              <a:gd name="connsiteX102" fmla="*/ 3887146 w 4527226"/>
              <a:gd name="connsiteY102" fmla="*/ 5025828 h 6062148"/>
              <a:gd name="connsiteX103" fmla="*/ 4100506 w 4527226"/>
              <a:gd name="connsiteY103" fmla="*/ 5300148 h 6062148"/>
              <a:gd name="connsiteX104" fmla="*/ 4367206 w 4527226"/>
              <a:gd name="connsiteY104" fmla="*/ 5726868 h 6062148"/>
              <a:gd name="connsiteX105" fmla="*/ 4527226 w 4527226"/>
              <a:gd name="connsiteY105" fmla="*/ 6046908 h 6062148"/>
              <a:gd name="connsiteX0" fmla="*/ 328606 w 4527226"/>
              <a:gd name="connsiteY0" fmla="*/ 6062148 h 6062148"/>
              <a:gd name="connsiteX1" fmla="*/ 381946 w 4527226"/>
              <a:gd name="connsiteY1" fmla="*/ 5924988 h 6062148"/>
              <a:gd name="connsiteX2" fmla="*/ 442906 w 4527226"/>
              <a:gd name="connsiteY2" fmla="*/ 5780208 h 6062148"/>
              <a:gd name="connsiteX3" fmla="*/ 473386 w 4527226"/>
              <a:gd name="connsiteY3" fmla="*/ 5665908 h 6062148"/>
              <a:gd name="connsiteX4" fmla="*/ 511486 w 4527226"/>
              <a:gd name="connsiteY4" fmla="*/ 5612568 h 6062148"/>
              <a:gd name="connsiteX5" fmla="*/ 541966 w 4527226"/>
              <a:gd name="connsiteY5" fmla="*/ 5521128 h 6062148"/>
              <a:gd name="connsiteX6" fmla="*/ 564826 w 4527226"/>
              <a:gd name="connsiteY6" fmla="*/ 5353488 h 6062148"/>
              <a:gd name="connsiteX7" fmla="*/ 602926 w 4527226"/>
              <a:gd name="connsiteY7" fmla="*/ 5223948 h 6062148"/>
              <a:gd name="connsiteX8" fmla="*/ 625786 w 4527226"/>
              <a:gd name="connsiteY8" fmla="*/ 5178228 h 6062148"/>
              <a:gd name="connsiteX9" fmla="*/ 701986 w 4527226"/>
              <a:gd name="connsiteY9" fmla="*/ 5071548 h 6062148"/>
              <a:gd name="connsiteX10" fmla="*/ 717226 w 4527226"/>
              <a:gd name="connsiteY10" fmla="*/ 5063928 h 6062148"/>
              <a:gd name="connsiteX11" fmla="*/ 709606 w 4527226"/>
              <a:gd name="connsiteY11" fmla="*/ 5025828 h 6062148"/>
              <a:gd name="connsiteX12" fmla="*/ 701986 w 4527226"/>
              <a:gd name="connsiteY12" fmla="*/ 5002968 h 6062148"/>
              <a:gd name="connsiteX13" fmla="*/ 968686 w 4527226"/>
              <a:gd name="connsiteY13" fmla="*/ 4682928 h 6062148"/>
              <a:gd name="connsiteX14" fmla="*/ 961066 w 4527226"/>
              <a:gd name="connsiteY14" fmla="*/ 4644828 h 6062148"/>
              <a:gd name="connsiteX15" fmla="*/ 1342066 w 4527226"/>
              <a:gd name="connsiteY15" fmla="*/ 4172388 h 6062148"/>
              <a:gd name="connsiteX16" fmla="*/ 1258246 w 4527226"/>
              <a:gd name="connsiteY16" fmla="*/ 4012368 h 6062148"/>
              <a:gd name="connsiteX17" fmla="*/ 1204906 w 4527226"/>
              <a:gd name="connsiteY17" fmla="*/ 3928548 h 6062148"/>
              <a:gd name="connsiteX18" fmla="*/ 1174426 w 4527226"/>
              <a:gd name="connsiteY18" fmla="*/ 3768528 h 6062148"/>
              <a:gd name="connsiteX19" fmla="*/ 1151566 w 4527226"/>
              <a:gd name="connsiteY19" fmla="*/ 3699948 h 6062148"/>
              <a:gd name="connsiteX20" fmla="*/ 1143946 w 4527226"/>
              <a:gd name="connsiteY20" fmla="*/ 3669468 h 6062148"/>
              <a:gd name="connsiteX21" fmla="*/ 1067746 w 4527226"/>
              <a:gd name="connsiteY21" fmla="*/ 3661848 h 6062148"/>
              <a:gd name="connsiteX22" fmla="*/ 938206 w 4527226"/>
              <a:gd name="connsiteY22" fmla="*/ 3669468 h 6062148"/>
              <a:gd name="connsiteX23" fmla="*/ 831526 w 4527226"/>
              <a:gd name="connsiteY23" fmla="*/ 3692328 h 6062148"/>
              <a:gd name="connsiteX24" fmla="*/ 610546 w 4527226"/>
              <a:gd name="connsiteY24" fmla="*/ 3738048 h 6062148"/>
              <a:gd name="connsiteX25" fmla="*/ 389566 w 4527226"/>
              <a:gd name="connsiteY25" fmla="*/ 3638988 h 6062148"/>
              <a:gd name="connsiteX26" fmla="*/ 381946 w 4527226"/>
              <a:gd name="connsiteY26" fmla="*/ 3326568 h 6062148"/>
              <a:gd name="connsiteX27" fmla="*/ 420046 w 4527226"/>
              <a:gd name="connsiteY27" fmla="*/ 3227508 h 6062148"/>
              <a:gd name="connsiteX28" fmla="*/ 389566 w 4527226"/>
              <a:gd name="connsiteY28" fmla="*/ 3166548 h 6062148"/>
              <a:gd name="connsiteX29" fmla="*/ 351466 w 4527226"/>
              <a:gd name="connsiteY29" fmla="*/ 3105588 h 6062148"/>
              <a:gd name="connsiteX30" fmla="*/ 397186 w 4527226"/>
              <a:gd name="connsiteY30" fmla="*/ 3021768 h 6062148"/>
              <a:gd name="connsiteX31" fmla="*/ 488626 w 4527226"/>
              <a:gd name="connsiteY31" fmla="*/ 2998908 h 6062148"/>
              <a:gd name="connsiteX32" fmla="*/ 471956 w 4527226"/>
              <a:gd name="connsiteY32" fmla="*/ 2942709 h 6062148"/>
              <a:gd name="connsiteX33" fmla="*/ 435286 w 4527226"/>
              <a:gd name="connsiteY33" fmla="*/ 2930328 h 6062148"/>
              <a:gd name="connsiteX34" fmla="*/ 389566 w 4527226"/>
              <a:gd name="connsiteY34" fmla="*/ 2930328 h 6062148"/>
              <a:gd name="connsiteX35" fmla="*/ 314000 w 4527226"/>
              <a:gd name="connsiteY35" fmla="*/ 2893495 h 6062148"/>
              <a:gd name="connsiteX36" fmla="*/ 320986 w 4527226"/>
              <a:gd name="connsiteY36" fmla="*/ 2846508 h 6062148"/>
              <a:gd name="connsiteX37" fmla="*/ 328606 w 4527226"/>
              <a:gd name="connsiteY37" fmla="*/ 2793168 h 6062148"/>
              <a:gd name="connsiteX38" fmla="*/ 313366 w 4527226"/>
              <a:gd name="connsiteY38" fmla="*/ 2732208 h 6062148"/>
              <a:gd name="connsiteX39" fmla="*/ 267646 w 4527226"/>
              <a:gd name="connsiteY39" fmla="*/ 2671248 h 6062148"/>
              <a:gd name="connsiteX40" fmla="*/ 176206 w 4527226"/>
              <a:gd name="connsiteY40" fmla="*/ 2656008 h 6062148"/>
              <a:gd name="connsiteX41" fmla="*/ 54286 w 4527226"/>
              <a:gd name="connsiteY41" fmla="*/ 2610288 h 6062148"/>
              <a:gd name="connsiteX42" fmla="*/ 7931 w 4527226"/>
              <a:gd name="connsiteY42" fmla="*/ 2563298 h 6062148"/>
              <a:gd name="connsiteX43" fmla="*/ 8566 w 4527226"/>
              <a:gd name="connsiteY43" fmla="*/ 2488368 h 6062148"/>
              <a:gd name="connsiteX44" fmla="*/ 92386 w 4527226"/>
              <a:gd name="connsiteY44" fmla="*/ 2335968 h 6062148"/>
              <a:gd name="connsiteX45" fmla="*/ 221926 w 4527226"/>
              <a:gd name="connsiteY45" fmla="*/ 2175948 h 6062148"/>
              <a:gd name="connsiteX46" fmla="*/ 282886 w 4527226"/>
              <a:gd name="connsiteY46" fmla="*/ 2084508 h 6062148"/>
              <a:gd name="connsiteX47" fmla="*/ 328606 w 4527226"/>
              <a:gd name="connsiteY47" fmla="*/ 1977828 h 6062148"/>
              <a:gd name="connsiteX48" fmla="*/ 359086 w 4527226"/>
              <a:gd name="connsiteY48" fmla="*/ 1871148 h 6062148"/>
              <a:gd name="connsiteX49" fmla="*/ 374326 w 4527226"/>
              <a:gd name="connsiteY49" fmla="*/ 1810188 h 6062148"/>
              <a:gd name="connsiteX50" fmla="*/ 343846 w 4527226"/>
              <a:gd name="connsiteY50" fmla="*/ 1756848 h 6062148"/>
              <a:gd name="connsiteX51" fmla="*/ 328606 w 4527226"/>
              <a:gd name="connsiteY51" fmla="*/ 1680648 h 6062148"/>
              <a:gd name="connsiteX52" fmla="*/ 412426 w 4527226"/>
              <a:gd name="connsiteY52" fmla="*/ 1474908 h 6062148"/>
              <a:gd name="connsiteX53" fmla="*/ 442906 w 4527226"/>
              <a:gd name="connsiteY53" fmla="*/ 1307268 h 6062148"/>
              <a:gd name="connsiteX54" fmla="*/ 465766 w 4527226"/>
              <a:gd name="connsiteY54" fmla="*/ 1192968 h 6062148"/>
              <a:gd name="connsiteX55" fmla="*/ 503866 w 4527226"/>
              <a:gd name="connsiteY55" fmla="*/ 1055808 h 6062148"/>
              <a:gd name="connsiteX56" fmla="*/ 557206 w 4527226"/>
              <a:gd name="connsiteY56" fmla="*/ 888168 h 6062148"/>
              <a:gd name="connsiteX57" fmla="*/ 503866 w 4527226"/>
              <a:gd name="connsiteY57" fmla="*/ 888168 h 6062148"/>
              <a:gd name="connsiteX58" fmla="*/ 412426 w 4527226"/>
              <a:gd name="connsiteY58" fmla="*/ 834828 h 6062148"/>
              <a:gd name="connsiteX59" fmla="*/ 328606 w 4527226"/>
              <a:gd name="connsiteY59" fmla="*/ 789108 h 6062148"/>
              <a:gd name="connsiteX60" fmla="*/ 260026 w 4527226"/>
              <a:gd name="connsiteY60" fmla="*/ 773868 h 6062148"/>
              <a:gd name="connsiteX61" fmla="*/ 214306 w 4527226"/>
              <a:gd name="connsiteY61" fmla="*/ 751008 h 6062148"/>
              <a:gd name="connsiteX62" fmla="*/ 260026 w 4527226"/>
              <a:gd name="connsiteY62" fmla="*/ 674808 h 6062148"/>
              <a:gd name="connsiteX63" fmla="*/ 374326 w 4527226"/>
              <a:gd name="connsiteY63" fmla="*/ 606228 h 6062148"/>
              <a:gd name="connsiteX64" fmla="*/ 557206 w 4527226"/>
              <a:gd name="connsiteY64" fmla="*/ 507168 h 6062148"/>
              <a:gd name="connsiteX65" fmla="*/ 656266 w 4527226"/>
              <a:gd name="connsiteY65" fmla="*/ 423348 h 6062148"/>
              <a:gd name="connsiteX66" fmla="*/ 892486 w 4527226"/>
              <a:gd name="connsiteY66" fmla="*/ 232848 h 6062148"/>
              <a:gd name="connsiteX67" fmla="*/ 1174426 w 4527226"/>
              <a:gd name="connsiteY67" fmla="*/ 80448 h 6062148"/>
              <a:gd name="connsiteX68" fmla="*/ 1593526 w 4527226"/>
              <a:gd name="connsiteY68" fmla="*/ 11868 h 6062148"/>
              <a:gd name="connsiteX69" fmla="*/ 1944046 w 4527226"/>
              <a:gd name="connsiteY69" fmla="*/ 4248 h 6062148"/>
              <a:gd name="connsiteX70" fmla="*/ 2172646 w 4527226"/>
              <a:gd name="connsiteY70" fmla="*/ 4248 h 6062148"/>
              <a:gd name="connsiteX71" fmla="*/ 2393626 w 4527226"/>
              <a:gd name="connsiteY71" fmla="*/ 57588 h 6062148"/>
              <a:gd name="connsiteX72" fmla="*/ 2667946 w 4527226"/>
              <a:gd name="connsiteY72" fmla="*/ 133788 h 6062148"/>
              <a:gd name="connsiteX73" fmla="*/ 2820346 w 4527226"/>
              <a:gd name="connsiteY73" fmla="*/ 202368 h 6062148"/>
              <a:gd name="connsiteX74" fmla="*/ 3102286 w 4527226"/>
              <a:gd name="connsiteY74" fmla="*/ 400488 h 6062148"/>
              <a:gd name="connsiteX75" fmla="*/ 3285166 w 4527226"/>
              <a:gd name="connsiteY75" fmla="*/ 651948 h 6062148"/>
              <a:gd name="connsiteX76" fmla="*/ 3407086 w 4527226"/>
              <a:gd name="connsiteY76" fmla="*/ 918648 h 6062148"/>
              <a:gd name="connsiteX77" fmla="*/ 3475666 w 4527226"/>
              <a:gd name="connsiteY77" fmla="*/ 1238688 h 6062148"/>
              <a:gd name="connsiteX78" fmla="*/ 3506146 w 4527226"/>
              <a:gd name="connsiteY78" fmla="*/ 1543488 h 6062148"/>
              <a:gd name="connsiteX79" fmla="*/ 3506146 w 4527226"/>
              <a:gd name="connsiteY79" fmla="*/ 1962588 h 6062148"/>
              <a:gd name="connsiteX80" fmla="*/ 3338506 w 4527226"/>
              <a:gd name="connsiteY80" fmla="*/ 2305488 h 6062148"/>
              <a:gd name="connsiteX81" fmla="*/ 3254686 w 4527226"/>
              <a:gd name="connsiteY81" fmla="*/ 2473128 h 6062148"/>
              <a:gd name="connsiteX82" fmla="*/ 3132766 w 4527226"/>
              <a:gd name="connsiteY82" fmla="*/ 2663628 h 6062148"/>
              <a:gd name="connsiteX83" fmla="*/ 3071806 w 4527226"/>
              <a:gd name="connsiteY83" fmla="*/ 2838888 h 6062148"/>
              <a:gd name="connsiteX84" fmla="*/ 3064186 w 4527226"/>
              <a:gd name="connsiteY84" fmla="*/ 2915088 h 6062148"/>
              <a:gd name="connsiteX85" fmla="*/ 3018466 w 4527226"/>
              <a:gd name="connsiteY85" fmla="*/ 3014148 h 6062148"/>
              <a:gd name="connsiteX86" fmla="*/ 2980366 w 4527226"/>
              <a:gd name="connsiteY86" fmla="*/ 3082728 h 6062148"/>
              <a:gd name="connsiteX87" fmla="*/ 2957506 w 4527226"/>
              <a:gd name="connsiteY87" fmla="*/ 3120828 h 6062148"/>
              <a:gd name="connsiteX88" fmla="*/ 2957506 w 4527226"/>
              <a:gd name="connsiteY88" fmla="*/ 3555168 h 6062148"/>
              <a:gd name="connsiteX89" fmla="*/ 3010846 w 4527226"/>
              <a:gd name="connsiteY89" fmla="*/ 3539928 h 6062148"/>
              <a:gd name="connsiteX90" fmla="*/ 3109906 w 4527226"/>
              <a:gd name="connsiteY90" fmla="*/ 3570408 h 6062148"/>
              <a:gd name="connsiteX91" fmla="*/ 3140386 w 4527226"/>
              <a:gd name="connsiteY91" fmla="*/ 3631368 h 6062148"/>
              <a:gd name="connsiteX92" fmla="*/ 3117526 w 4527226"/>
              <a:gd name="connsiteY92" fmla="*/ 3738048 h 6062148"/>
              <a:gd name="connsiteX93" fmla="*/ 3125146 w 4527226"/>
              <a:gd name="connsiteY93" fmla="*/ 4103808 h 6062148"/>
              <a:gd name="connsiteX94" fmla="*/ 3163246 w 4527226"/>
              <a:gd name="connsiteY94" fmla="*/ 4157148 h 6062148"/>
              <a:gd name="connsiteX95" fmla="*/ 3201346 w 4527226"/>
              <a:gd name="connsiteY95" fmla="*/ 4164768 h 6062148"/>
              <a:gd name="connsiteX96" fmla="*/ 3231826 w 4527226"/>
              <a:gd name="connsiteY96" fmla="*/ 4172388 h 6062148"/>
              <a:gd name="connsiteX97" fmla="*/ 3285166 w 4527226"/>
              <a:gd name="connsiteY97" fmla="*/ 4294308 h 6062148"/>
              <a:gd name="connsiteX98" fmla="*/ 3300406 w 4527226"/>
              <a:gd name="connsiteY98" fmla="*/ 4347648 h 6062148"/>
              <a:gd name="connsiteX99" fmla="*/ 3330886 w 4527226"/>
              <a:gd name="connsiteY99" fmla="*/ 4408608 h 6062148"/>
              <a:gd name="connsiteX100" fmla="*/ 3551866 w 4527226"/>
              <a:gd name="connsiteY100" fmla="*/ 4644828 h 6062148"/>
              <a:gd name="connsiteX101" fmla="*/ 3887146 w 4527226"/>
              <a:gd name="connsiteY101" fmla="*/ 5025828 h 6062148"/>
              <a:gd name="connsiteX102" fmla="*/ 4100506 w 4527226"/>
              <a:gd name="connsiteY102" fmla="*/ 5300148 h 6062148"/>
              <a:gd name="connsiteX103" fmla="*/ 4367206 w 4527226"/>
              <a:gd name="connsiteY103" fmla="*/ 5726868 h 6062148"/>
              <a:gd name="connsiteX104" fmla="*/ 4527226 w 4527226"/>
              <a:gd name="connsiteY104" fmla="*/ 6046908 h 6062148"/>
              <a:gd name="connsiteX0" fmla="*/ 381946 w 4527226"/>
              <a:gd name="connsiteY0" fmla="*/ 5924988 h 6046908"/>
              <a:gd name="connsiteX1" fmla="*/ 442906 w 4527226"/>
              <a:gd name="connsiteY1" fmla="*/ 5780208 h 6046908"/>
              <a:gd name="connsiteX2" fmla="*/ 473386 w 4527226"/>
              <a:gd name="connsiteY2" fmla="*/ 5665908 h 6046908"/>
              <a:gd name="connsiteX3" fmla="*/ 511486 w 4527226"/>
              <a:gd name="connsiteY3" fmla="*/ 5612568 h 6046908"/>
              <a:gd name="connsiteX4" fmla="*/ 541966 w 4527226"/>
              <a:gd name="connsiteY4" fmla="*/ 5521128 h 6046908"/>
              <a:gd name="connsiteX5" fmla="*/ 564826 w 4527226"/>
              <a:gd name="connsiteY5" fmla="*/ 5353488 h 6046908"/>
              <a:gd name="connsiteX6" fmla="*/ 602926 w 4527226"/>
              <a:gd name="connsiteY6" fmla="*/ 5223948 h 6046908"/>
              <a:gd name="connsiteX7" fmla="*/ 625786 w 4527226"/>
              <a:gd name="connsiteY7" fmla="*/ 5178228 h 6046908"/>
              <a:gd name="connsiteX8" fmla="*/ 701986 w 4527226"/>
              <a:gd name="connsiteY8" fmla="*/ 5071548 h 6046908"/>
              <a:gd name="connsiteX9" fmla="*/ 717226 w 4527226"/>
              <a:gd name="connsiteY9" fmla="*/ 5063928 h 6046908"/>
              <a:gd name="connsiteX10" fmla="*/ 709606 w 4527226"/>
              <a:gd name="connsiteY10" fmla="*/ 5025828 h 6046908"/>
              <a:gd name="connsiteX11" fmla="*/ 701986 w 4527226"/>
              <a:gd name="connsiteY11" fmla="*/ 5002968 h 6046908"/>
              <a:gd name="connsiteX12" fmla="*/ 968686 w 4527226"/>
              <a:gd name="connsiteY12" fmla="*/ 4682928 h 6046908"/>
              <a:gd name="connsiteX13" fmla="*/ 961066 w 4527226"/>
              <a:gd name="connsiteY13" fmla="*/ 4644828 h 6046908"/>
              <a:gd name="connsiteX14" fmla="*/ 1342066 w 4527226"/>
              <a:gd name="connsiteY14" fmla="*/ 4172388 h 6046908"/>
              <a:gd name="connsiteX15" fmla="*/ 1258246 w 4527226"/>
              <a:gd name="connsiteY15" fmla="*/ 4012368 h 6046908"/>
              <a:gd name="connsiteX16" fmla="*/ 1204906 w 4527226"/>
              <a:gd name="connsiteY16" fmla="*/ 3928548 h 6046908"/>
              <a:gd name="connsiteX17" fmla="*/ 1174426 w 4527226"/>
              <a:gd name="connsiteY17" fmla="*/ 3768528 h 6046908"/>
              <a:gd name="connsiteX18" fmla="*/ 1151566 w 4527226"/>
              <a:gd name="connsiteY18" fmla="*/ 3699948 h 6046908"/>
              <a:gd name="connsiteX19" fmla="*/ 1143946 w 4527226"/>
              <a:gd name="connsiteY19" fmla="*/ 3669468 h 6046908"/>
              <a:gd name="connsiteX20" fmla="*/ 1067746 w 4527226"/>
              <a:gd name="connsiteY20" fmla="*/ 3661848 h 6046908"/>
              <a:gd name="connsiteX21" fmla="*/ 938206 w 4527226"/>
              <a:gd name="connsiteY21" fmla="*/ 3669468 h 6046908"/>
              <a:gd name="connsiteX22" fmla="*/ 831526 w 4527226"/>
              <a:gd name="connsiteY22" fmla="*/ 3692328 h 6046908"/>
              <a:gd name="connsiteX23" fmla="*/ 610546 w 4527226"/>
              <a:gd name="connsiteY23" fmla="*/ 3738048 h 6046908"/>
              <a:gd name="connsiteX24" fmla="*/ 389566 w 4527226"/>
              <a:gd name="connsiteY24" fmla="*/ 3638988 h 6046908"/>
              <a:gd name="connsiteX25" fmla="*/ 381946 w 4527226"/>
              <a:gd name="connsiteY25" fmla="*/ 3326568 h 6046908"/>
              <a:gd name="connsiteX26" fmla="*/ 420046 w 4527226"/>
              <a:gd name="connsiteY26" fmla="*/ 3227508 h 6046908"/>
              <a:gd name="connsiteX27" fmla="*/ 389566 w 4527226"/>
              <a:gd name="connsiteY27" fmla="*/ 3166548 h 6046908"/>
              <a:gd name="connsiteX28" fmla="*/ 351466 w 4527226"/>
              <a:gd name="connsiteY28" fmla="*/ 3105588 h 6046908"/>
              <a:gd name="connsiteX29" fmla="*/ 397186 w 4527226"/>
              <a:gd name="connsiteY29" fmla="*/ 3021768 h 6046908"/>
              <a:gd name="connsiteX30" fmla="*/ 488626 w 4527226"/>
              <a:gd name="connsiteY30" fmla="*/ 2998908 h 6046908"/>
              <a:gd name="connsiteX31" fmla="*/ 471956 w 4527226"/>
              <a:gd name="connsiteY31" fmla="*/ 2942709 h 6046908"/>
              <a:gd name="connsiteX32" fmla="*/ 435286 w 4527226"/>
              <a:gd name="connsiteY32" fmla="*/ 2930328 h 6046908"/>
              <a:gd name="connsiteX33" fmla="*/ 389566 w 4527226"/>
              <a:gd name="connsiteY33" fmla="*/ 2930328 h 6046908"/>
              <a:gd name="connsiteX34" fmla="*/ 314000 w 4527226"/>
              <a:gd name="connsiteY34" fmla="*/ 2893495 h 6046908"/>
              <a:gd name="connsiteX35" fmla="*/ 320986 w 4527226"/>
              <a:gd name="connsiteY35" fmla="*/ 2846508 h 6046908"/>
              <a:gd name="connsiteX36" fmla="*/ 328606 w 4527226"/>
              <a:gd name="connsiteY36" fmla="*/ 2793168 h 6046908"/>
              <a:gd name="connsiteX37" fmla="*/ 313366 w 4527226"/>
              <a:gd name="connsiteY37" fmla="*/ 2732208 h 6046908"/>
              <a:gd name="connsiteX38" fmla="*/ 267646 w 4527226"/>
              <a:gd name="connsiteY38" fmla="*/ 2671248 h 6046908"/>
              <a:gd name="connsiteX39" fmla="*/ 176206 w 4527226"/>
              <a:gd name="connsiteY39" fmla="*/ 2656008 h 6046908"/>
              <a:gd name="connsiteX40" fmla="*/ 54286 w 4527226"/>
              <a:gd name="connsiteY40" fmla="*/ 2610288 h 6046908"/>
              <a:gd name="connsiteX41" fmla="*/ 7931 w 4527226"/>
              <a:gd name="connsiteY41" fmla="*/ 2563298 h 6046908"/>
              <a:gd name="connsiteX42" fmla="*/ 8566 w 4527226"/>
              <a:gd name="connsiteY42" fmla="*/ 2488368 h 6046908"/>
              <a:gd name="connsiteX43" fmla="*/ 92386 w 4527226"/>
              <a:gd name="connsiteY43" fmla="*/ 2335968 h 6046908"/>
              <a:gd name="connsiteX44" fmla="*/ 221926 w 4527226"/>
              <a:gd name="connsiteY44" fmla="*/ 2175948 h 6046908"/>
              <a:gd name="connsiteX45" fmla="*/ 282886 w 4527226"/>
              <a:gd name="connsiteY45" fmla="*/ 2084508 h 6046908"/>
              <a:gd name="connsiteX46" fmla="*/ 328606 w 4527226"/>
              <a:gd name="connsiteY46" fmla="*/ 1977828 h 6046908"/>
              <a:gd name="connsiteX47" fmla="*/ 359086 w 4527226"/>
              <a:gd name="connsiteY47" fmla="*/ 1871148 h 6046908"/>
              <a:gd name="connsiteX48" fmla="*/ 374326 w 4527226"/>
              <a:gd name="connsiteY48" fmla="*/ 1810188 h 6046908"/>
              <a:gd name="connsiteX49" fmla="*/ 343846 w 4527226"/>
              <a:gd name="connsiteY49" fmla="*/ 1756848 h 6046908"/>
              <a:gd name="connsiteX50" fmla="*/ 328606 w 4527226"/>
              <a:gd name="connsiteY50" fmla="*/ 1680648 h 6046908"/>
              <a:gd name="connsiteX51" fmla="*/ 412426 w 4527226"/>
              <a:gd name="connsiteY51" fmla="*/ 1474908 h 6046908"/>
              <a:gd name="connsiteX52" fmla="*/ 442906 w 4527226"/>
              <a:gd name="connsiteY52" fmla="*/ 1307268 h 6046908"/>
              <a:gd name="connsiteX53" fmla="*/ 465766 w 4527226"/>
              <a:gd name="connsiteY53" fmla="*/ 1192968 h 6046908"/>
              <a:gd name="connsiteX54" fmla="*/ 503866 w 4527226"/>
              <a:gd name="connsiteY54" fmla="*/ 1055808 h 6046908"/>
              <a:gd name="connsiteX55" fmla="*/ 557206 w 4527226"/>
              <a:gd name="connsiteY55" fmla="*/ 888168 h 6046908"/>
              <a:gd name="connsiteX56" fmla="*/ 503866 w 4527226"/>
              <a:gd name="connsiteY56" fmla="*/ 888168 h 6046908"/>
              <a:gd name="connsiteX57" fmla="*/ 412426 w 4527226"/>
              <a:gd name="connsiteY57" fmla="*/ 834828 h 6046908"/>
              <a:gd name="connsiteX58" fmla="*/ 328606 w 4527226"/>
              <a:gd name="connsiteY58" fmla="*/ 789108 h 6046908"/>
              <a:gd name="connsiteX59" fmla="*/ 260026 w 4527226"/>
              <a:gd name="connsiteY59" fmla="*/ 773868 h 6046908"/>
              <a:gd name="connsiteX60" fmla="*/ 214306 w 4527226"/>
              <a:gd name="connsiteY60" fmla="*/ 751008 h 6046908"/>
              <a:gd name="connsiteX61" fmla="*/ 260026 w 4527226"/>
              <a:gd name="connsiteY61" fmla="*/ 674808 h 6046908"/>
              <a:gd name="connsiteX62" fmla="*/ 374326 w 4527226"/>
              <a:gd name="connsiteY62" fmla="*/ 606228 h 6046908"/>
              <a:gd name="connsiteX63" fmla="*/ 557206 w 4527226"/>
              <a:gd name="connsiteY63" fmla="*/ 507168 h 6046908"/>
              <a:gd name="connsiteX64" fmla="*/ 656266 w 4527226"/>
              <a:gd name="connsiteY64" fmla="*/ 423348 h 6046908"/>
              <a:gd name="connsiteX65" fmla="*/ 892486 w 4527226"/>
              <a:gd name="connsiteY65" fmla="*/ 232848 h 6046908"/>
              <a:gd name="connsiteX66" fmla="*/ 1174426 w 4527226"/>
              <a:gd name="connsiteY66" fmla="*/ 80448 h 6046908"/>
              <a:gd name="connsiteX67" fmla="*/ 1593526 w 4527226"/>
              <a:gd name="connsiteY67" fmla="*/ 11868 h 6046908"/>
              <a:gd name="connsiteX68" fmla="*/ 1944046 w 4527226"/>
              <a:gd name="connsiteY68" fmla="*/ 4248 h 6046908"/>
              <a:gd name="connsiteX69" fmla="*/ 2172646 w 4527226"/>
              <a:gd name="connsiteY69" fmla="*/ 4248 h 6046908"/>
              <a:gd name="connsiteX70" fmla="*/ 2393626 w 4527226"/>
              <a:gd name="connsiteY70" fmla="*/ 57588 h 6046908"/>
              <a:gd name="connsiteX71" fmla="*/ 2667946 w 4527226"/>
              <a:gd name="connsiteY71" fmla="*/ 133788 h 6046908"/>
              <a:gd name="connsiteX72" fmla="*/ 2820346 w 4527226"/>
              <a:gd name="connsiteY72" fmla="*/ 202368 h 6046908"/>
              <a:gd name="connsiteX73" fmla="*/ 3102286 w 4527226"/>
              <a:gd name="connsiteY73" fmla="*/ 400488 h 6046908"/>
              <a:gd name="connsiteX74" fmla="*/ 3285166 w 4527226"/>
              <a:gd name="connsiteY74" fmla="*/ 651948 h 6046908"/>
              <a:gd name="connsiteX75" fmla="*/ 3407086 w 4527226"/>
              <a:gd name="connsiteY75" fmla="*/ 918648 h 6046908"/>
              <a:gd name="connsiteX76" fmla="*/ 3475666 w 4527226"/>
              <a:gd name="connsiteY76" fmla="*/ 1238688 h 6046908"/>
              <a:gd name="connsiteX77" fmla="*/ 3506146 w 4527226"/>
              <a:gd name="connsiteY77" fmla="*/ 1543488 h 6046908"/>
              <a:gd name="connsiteX78" fmla="*/ 3506146 w 4527226"/>
              <a:gd name="connsiteY78" fmla="*/ 1962588 h 6046908"/>
              <a:gd name="connsiteX79" fmla="*/ 3338506 w 4527226"/>
              <a:gd name="connsiteY79" fmla="*/ 2305488 h 6046908"/>
              <a:gd name="connsiteX80" fmla="*/ 3254686 w 4527226"/>
              <a:gd name="connsiteY80" fmla="*/ 2473128 h 6046908"/>
              <a:gd name="connsiteX81" fmla="*/ 3132766 w 4527226"/>
              <a:gd name="connsiteY81" fmla="*/ 2663628 h 6046908"/>
              <a:gd name="connsiteX82" fmla="*/ 3071806 w 4527226"/>
              <a:gd name="connsiteY82" fmla="*/ 2838888 h 6046908"/>
              <a:gd name="connsiteX83" fmla="*/ 3064186 w 4527226"/>
              <a:gd name="connsiteY83" fmla="*/ 2915088 h 6046908"/>
              <a:gd name="connsiteX84" fmla="*/ 3018466 w 4527226"/>
              <a:gd name="connsiteY84" fmla="*/ 3014148 h 6046908"/>
              <a:gd name="connsiteX85" fmla="*/ 2980366 w 4527226"/>
              <a:gd name="connsiteY85" fmla="*/ 3082728 h 6046908"/>
              <a:gd name="connsiteX86" fmla="*/ 2957506 w 4527226"/>
              <a:gd name="connsiteY86" fmla="*/ 3120828 h 6046908"/>
              <a:gd name="connsiteX87" fmla="*/ 2957506 w 4527226"/>
              <a:gd name="connsiteY87" fmla="*/ 3555168 h 6046908"/>
              <a:gd name="connsiteX88" fmla="*/ 3010846 w 4527226"/>
              <a:gd name="connsiteY88" fmla="*/ 3539928 h 6046908"/>
              <a:gd name="connsiteX89" fmla="*/ 3109906 w 4527226"/>
              <a:gd name="connsiteY89" fmla="*/ 3570408 h 6046908"/>
              <a:gd name="connsiteX90" fmla="*/ 3140386 w 4527226"/>
              <a:gd name="connsiteY90" fmla="*/ 3631368 h 6046908"/>
              <a:gd name="connsiteX91" fmla="*/ 3117526 w 4527226"/>
              <a:gd name="connsiteY91" fmla="*/ 3738048 h 6046908"/>
              <a:gd name="connsiteX92" fmla="*/ 3125146 w 4527226"/>
              <a:gd name="connsiteY92" fmla="*/ 4103808 h 6046908"/>
              <a:gd name="connsiteX93" fmla="*/ 3163246 w 4527226"/>
              <a:gd name="connsiteY93" fmla="*/ 4157148 h 6046908"/>
              <a:gd name="connsiteX94" fmla="*/ 3201346 w 4527226"/>
              <a:gd name="connsiteY94" fmla="*/ 4164768 h 6046908"/>
              <a:gd name="connsiteX95" fmla="*/ 3231826 w 4527226"/>
              <a:gd name="connsiteY95" fmla="*/ 4172388 h 6046908"/>
              <a:gd name="connsiteX96" fmla="*/ 3285166 w 4527226"/>
              <a:gd name="connsiteY96" fmla="*/ 4294308 h 6046908"/>
              <a:gd name="connsiteX97" fmla="*/ 3300406 w 4527226"/>
              <a:gd name="connsiteY97" fmla="*/ 4347648 h 6046908"/>
              <a:gd name="connsiteX98" fmla="*/ 3330886 w 4527226"/>
              <a:gd name="connsiteY98" fmla="*/ 4408608 h 6046908"/>
              <a:gd name="connsiteX99" fmla="*/ 3551866 w 4527226"/>
              <a:gd name="connsiteY99" fmla="*/ 4644828 h 6046908"/>
              <a:gd name="connsiteX100" fmla="*/ 3887146 w 4527226"/>
              <a:gd name="connsiteY100" fmla="*/ 5025828 h 6046908"/>
              <a:gd name="connsiteX101" fmla="*/ 4100506 w 4527226"/>
              <a:gd name="connsiteY101" fmla="*/ 5300148 h 6046908"/>
              <a:gd name="connsiteX102" fmla="*/ 4367206 w 4527226"/>
              <a:gd name="connsiteY102" fmla="*/ 5726868 h 6046908"/>
              <a:gd name="connsiteX103" fmla="*/ 4527226 w 4527226"/>
              <a:gd name="connsiteY103" fmla="*/ 6046908 h 6046908"/>
              <a:gd name="connsiteX0" fmla="*/ 442906 w 4527226"/>
              <a:gd name="connsiteY0" fmla="*/ 5780208 h 6046908"/>
              <a:gd name="connsiteX1" fmla="*/ 473386 w 4527226"/>
              <a:gd name="connsiteY1" fmla="*/ 5665908 h 6046908"/>
              <a:gd name="connsiteX2" fmla="*/ 511486 w 4527226"/>
              <a:gd name="connsiteY2" fmla="*/ 5612568 h 6046908"/>
              <a:gd name="connsiteX3" fmla="*/ 541966 w 4527226"/>
              <a:gd name="connsiteY3" fmla="*/ 5521128 h 6046908"/>
              <a:gd name="connsiteX4" fmla="*/ 564826 w 4527226"/>
              <a:gd name="connsiteY4" fmla="*/ 5353488 h 6046908"/>
              <a:gd name="connsiteX5" fmla="*/ 602926 w 4527226"/>
              <a:gd name="connsiteY5" fmla="*/ 5223948 h 6046908"/>
              <a:gd name="connsiteX6" fmla="*/ 625786 w 4527226"/>
              <a:gd name="connsiteY6" fmla="*/ 5178228 h 6046908"/>
              <a:gd name="connsiteX7" fmla="*/ 701986 w 4527226"/>
              <a:gd name="connsiteY7" fmla="*/ 5071548 h 6046908"/>
              <a:gd name="connsiteX8" fmla="*/ 717226 w 4527226"/>
              <a:gd name="connsiteY8" fmla="*/ 5063928 h 6046908"/>
              <a:gd name="connsiteX9" fmla="*/ 709606 w 4527226"/>
              <a:gd name="connsiteY9" fmla="*/ 5025828 h 6046908"/>
              <a:gd name="connsiteX10" fmla="*/ 701986 w 4527226"/>
              <a:gd name="connsiteY10" fmla="*/ 5002968 h 6046908"/>
              <a:gd name="connsiteX11" fmla="*/ 968686 w 4527226"/>
              <a:gd name="connsiteY11" fmla="*/ 4682928 h 6046908"/>
              <a:gd name="connsiteX12" fmla="*/ 961066 w 4527226"/>
              <a:gd name="connsiteY12" fmla="*/ 4644828 h 6046908"/>
              <a:gd name="connsiteX13" fmla="*/ 1342066 w 4527226"/>
              <a:gd name="connsiteY13" fmla="*/ 4172388 h 6046908"/>
              <a:gd name="connsiteX14" fmla="*/ 1258246 w 4527226"/>
              <a:gd name="connsiteY14" fmla="*/ 4012368 h 6046908"/>
              <a:gd name="connsiteX15" fmla="*/ 1204906 w 4527226"/>
              <a:gd name="connsiteY15" fmla="*/ 3928548 h 6046908"/>
              <a:gd name="connsiteX16" fmla="*/ 1174426 w 4527226"/>
              <a:gd name="connsiteY16" fmla="*/ 3768528 h 6046908"/>
              <a:gd name="connsiteX17" fmla="*/ 1151566 w 4527226"/>
              <a:gd name="connsiteY17" fmla="*/ 3699948 h 6046908"/>
              <a:gd name="connsiteX18" fmla="*/ 1143946 w 4527226"/>
              <a:gd name="connsiteY18" fmla="*/ 3669468 h 6046908"/>
              <a:gd name="connsiteX19" fmla="*/ 1067746 w 4527226"/>
              <a:gd name="connsiteY19" fmla="*/ 3661848 h 6046908"/>
              <a:gd name="connsiteX20" fmla="*/ 938206 w 4527226"/>
              <a:gd name="connsiteY20" fmla="*/ 3669468 h 6046908"/>
              <a:gd name="connsiteX21" fmla="*/ 831526 w 4527226"/>
              <a:gd name="connsiteY21" fmla="*/ 3692328 h 6046908"/>
              <a:gd name="connsiteX22" fmla="*/ 610546 w 4527226"/>
              <a:gd name="connsiteY22" fmla="*/ 3738048 h 6046908"/>
              <a:gd name="connsiteX23" fmla="*/ 389566 w 4527226"/>
              <a:gd name="connsiteY23" fmla="*/ 3638988 h 6046908"/>
              <a:gd name="connsiteX24" fmla="*/ 381946 w 4527226"/>
              <a:gd name="connsiteY24" fmla="*/ 3326568 h 6046908"/>
              <a:gd name="connsiteX25" fmla="*/ 420046 w 4527226"/>
              <a:gd name="connsiteY25" fmla="*/ 3227508 h 6046908"/>
              <a:gd name="connsiteX26" fmla="*/ 389566 w 4527226"/>
              <a:gd name="connsiteY26" fmla="*/ 3166548 h 6046908"/>
              <a:gd name="connsiteX27" fmla="*/ 351466 w 4527226"/>
              <a:gd name="connsiteY27" fmla="*/ 3105588 h 6046908"/>
              <a:gd name="connsiteX28" fmla="*/ 397186 w 4527226"/>
              <a:gd name="connsiteY28" fmla="*/ 3021768 h 6046908"/>
              <a:gd name="connsiteX29" fmla="*/ 488626 w 4527226"/>
              <a:gd name="connsiteY29" fmla="*/ 2998908 h 6046908"/>
              <a:gd name="connsiteX30" fmla="*/ 471956 w 4527226"/>
              <a:gd name="connsiteY30" fmla="*/ 2942709 h 6046908"/>
              <a:gd name="connsiteX31" fmla="*/ 435286 w 4527226"/>
              <a:gd name="connsiteY31" fmla="*/ 2930328 h 6046908"/>
              <a:gd name="connsiteX32" fmla="*/ 389566 w 4527226"/>
              <a:gd name="connsiteY32" fmla="*/ 2930328 h 6046908"/>
              <a:gd name="connsiteX33" fmla="*/ 314000 w 4527226"/>
              <a:gd name="connsiteY33" fmla="*/ 2893495 h 6046908"/>
              <a:gd name="connsiteX34" fmla="*/ 320986 w 4527226"/>
              <a:gd name="connsiteY34" fmla="*/ 2846508 h 6046908"/>
              <a:gd name="connsiteX35" fmla="*/ 328606 w 4527226"/>
              <a:gd name="connsiteY35" fmla="*/ 2793168 h 6046908"/>
              <a:gd name="connsiteX36" fmla="*/ 313366 w 4527226"/>
              <a:gd name="connsiteY36" fmla="*/ 2732208 h 6046908"/>
              <a:gd name="connsiteX37" fmla="*/ 267646 w 4527226"/>
              <a:gd name="connsiteY37" fmla="*/ 2671248 h 6046908"/>
              <a:gd name="connsiteX38" fmla="*/ 176206 w 4527226"/>
              <a:gd name="connsiteY38" fmla="*/ 2656008 h 6046908"/>
              <a:gd name="connsiteX39" fmla="*/ 54286 w 4527226"/>
              <a:gd name="connsiteY39" fmla="*/ 2610288 h 6046908"/>
              <a:gd name="connsiteX40" fmla="*/ 7931 w 4527226"/>
              <a:gd name="connsiteY40" fmla="*/ 2563298 h 6046908"/>
              <a:gd name="connsiteX41" fmla="*/ 8566 w 4527226"/>
              <a:gd name="connsiteY41" fmla="*/ 2488368 h 6046908"/>
              <a:gd name="connsiteX42" fmla="*/ 92386 w 4527226"/>
              <a:gd name="connsiteY42" fmla="*/ 2335968 h 6046908"/>
              <a:gd name="connsiteX43" fmla="*/ 221926 w 4527226"/>
              <a:gd name="connsiteY43" fmla="*/ 2175948 h 6046908"/>
              <a:gd name="connsiteX44" fmla="*/ 282886 w 4527226"/>
              <a:gd name="connsiteY44" fmla="*/ 2084508 h 6046908"/>
              <a:gd name="connsiteX45" fmla="*/ 328606 w 4527226"/>
              <a:gd name="connsiteY45" fmla="*/ 1977828 h 6046908"/>
              <a:gd name="connsiteX46" fmla="*/ 359086 w 4527226"/>
              <a:gd name="connsiteY46" fmla="*/ 1871148 h 6046908"/>
              <a:gd name="connsiteX47" fmla="*/ 374326 w 4527226"/>
              <a:gd name="connsiteY47" fmla="*/ 1810188 h 6046908"/>
              <a:gd name="connsiteX48" fmla="*/ 343846 w 4527226"/>
              <a:gd name="connsiteY48" fmla="*/ 1756848 h 6046908"/>
              <a:gd name="connsiteX49" fmla="*/ 328606 w 4527226"/>
              <a:gd name="connsiteY49" fmla="*/ 1680648 h 6046908"/>
              <a:gd name="connsiteX50" fmla="*/ 412426 w 4527226"/>
              <a:gd name="connsiteY50" fmla="*/ 1474908 h 6046908"/>
              <a:gd name="connsiteX51" fmla="*/ 442906 w 4527226"/>
              <a:gd name="connsiteY51" fmla="*/ 1307268 h 6046908"/>
              <a:gd name="connsiteX52" fmla="*/ 465766 w 4527226"/>
              <a:gd name="connsiteY52" fmla="*/ 1192968 h 6046908"/>
              <a:gd name="connsiteX53" fmla="*/ 503866 w 4527226"/>
              <a:gd name="connsiteY53" fmla="*/ 1055808 h 6046908"/>
              <a:gd name="connsiteX54" fmla="*/ 557206 w 4527226"/>
              <a:gd name="connsiteY54" fmla="*/ 888168 h 6046908"/>
              <a:gd name="connsiteX55" fmla="*/ 503866 w 4527226"/>
              <a:gd name="connsiteY55" fmla="*/ 888168 h 6046908"/>
              <a:gd name="connsiteX56" fmla="*/ 412426 w 4527226"/>
              <a:gd name="connsiteY56" fmla="*/ 834828 h 6046908"/>
              <a:gd name="connsiteX57" fmla="*/ 328606 w 4527226"/>
              <a:gd name="connsiteY57" fmla="*/ 789108 h 6046908"/>
              <a:gd name="connsiteX58" fmla="*/ 260026 w 4527226"/>
              <a:gd name="connsiteY58" fmla="*/ 773868 h 6046908"/>
              <a:gd name="connsiteX59" fmla="*/ 214306 w 4527226"/>
              <a:gd name="connsiteY59" fmla="*/ 751008 h 6046908"/>
              <a:gd name="connsiteX60" fmla="*/ 260026 w 4527226"/>
              <a:gd name="connsiteY60" fmla="*/ 674808 h 6046908"/>
              <a:gd name="connsiteX61" fmla="*/ 374326 w 4527226"/>
              <a:gd name="connsiteY61" fmla="*/ 606228 h 6046908"/>
              <a:gd name="connsiteX62" fmla="*/ 557206 w 4527226"/>
              <a:gd name="connsiteY62" fmla="*/ 507168 h 6046908"/>
              <a:gd name="connsiteX63" fmla="*/ 656266 w 4527226"/>
              <a:gd name="connsiteY63" fmla="*/ 423348 h 6046908"/>
              <a:gd name="connsiteX64" fmla="*/ 892486 w 4527226"/>
              <a:gd name="connsiteY64" fmla="*/ 232848 h 6046908"/>
              <a:gd name="connsiteX65" fmla="*/ 1174426 w 4527226"/>
              <a:gd name="connsiteY65" fmla="*/ 80448 h 6046908"/>
              <a:gd name="connsiteX66" fmla="*/ 1593526 w 4527226"/>
              <a:gd name="connsiteY66" fmla="*/ 11868 h 6046908"/>
              <a:gd name="connsiteX67" fmla="*/ 1944046 w 4527226"/>
              <a:gd name="connsiteY67" fmla="*/ 4248 h 6046908"/>
              <a:gd name="connsiteX68" fmla="*/ 2172646 w 4527226"/>
              <a:gd name="connsiteY68" fmla="*/ 4248 h 6046908"/>
              <a:gd name="connsiteX69" fmla="*/ 2393626 w 4527226"/>
              <a:gd name="connsiteY69" fmla="*/ 57588 h 6046908"/>
              <a:gd name="connsiteX70" fmla="*/ 2667946 w 4527226"/>
              <a:gd name="connsiteY70" fmla="*/ 133788 h 6046908"/>
              <a:gd name="connsiteX71" fmla="*/ 2820346 w 4527226"/>
              <a:gd name="connsiteY71" fmla="*/ 202368 h 6046908"/>
              <a:gd name="connsiteX72" fmla="*/ 3102286 w 4527226"/>
              <a:gd name="connsiteY72" fmla="*/ 400488 h 6046908"/>
              <a:gd name="connsiteX73" fmla="*/ 3285166 w 4527226"/>
              <a:gd name="connsiteY73" fmla="*/ 651948 h 6046908"/>
              <a:gd name="connsiteX74" fmla="*/ 3407086 w 4527226"/>
              <a:gd name="connsiteY74" fmla="*/ 918648 h 6046908"/>
              <a:gd name="connsiteX75" fmla="*/ 3475666 w 4527226"/>
              <a:gd name="connsiteY75" fmla="*/ 1238688 h 6046908"/>
              <a:gd name="connsiteX76" fmla="*/ 3506146 w 4527226"/>
              <a:gd name="connsiteY76" fmla="*/ 1543488 h 6046908"/>
              <a:gd name="connsiteX77" fmla="*/ 3506146 w 4527226"/>
              <a:gd name="connsiteY77" fmla="*/ 1962588 h 6046908"/>
              <a:gd name="connsiteX78" fmla="*/ 3338506 w 4527226"/>
              <a:gd name="connsiteY78" fmla="*/ 2305488 h 6046908"/>
              <a:gd name="connsiteX79" fmla="*/ 3254686 w 4527226"/>
              <a:gd name="connsiteY79" fmla="*/ 2473128 h 6046908"/>
              <a:gd name="connsiteX80" fmla="*/ 3132766 w 4527226"/>
              <a:gd name="connsiteY80" fmla="*/ 2663628 h 6046908"/>
              <a:gd name="connsiteX81" fmla="*/ 3071806 w 4527226"/>
              <a:gd name="connsiteY81" fmla="*/ 2838888 h 6046908"/>
              <a:gd name="connsiteX82" fmla="*/ 3064186 w 4527226"/>
              <a:gd name="connsiteY82" fmla="*/ 2915088 h 6046908"/>
              <a:gd name="connsiteX83" fmla="*/ 3018466 w 4527226"/>
              <a:gd name="connsiteY83" fmla="*/ 3014148 h 6046908"/>
              <a:gd name="connsiteX84" fmla="*/ 2980366 w 4527226"/>
              <a:gd name="connsiteY84" fmla="*/ 3082728 h 6046908"/>
              <a:gd name="connsiteX85" fmla="*/ 2957506 w 4527226"/>
              <a:gd name="connsiteY85" fmla="*/ 3120828 h 6046908"/>
              <a:gd name="connsiteX86" fmla="*/ 2957506 w 4527226"/>
              <a:gd name="connsiteY86" fmla="*/ 3555168 h 6046908"/>
              <a:gd name="connsiteX87" fmla="*/ 3010846 w 4527226"/>
              <a:gd name="connsiteY87" fmla="*/ 3539928 h 6046908"/>
              <a:gd name="connsiteX88" fmla="*/ 3109906 w 4527226"/>
              <a:gd name="connsiteY88" fmla="*/ 3570408 h 6046908"/>
              <a:gd name="connsiteX89" fmla="*/ 3140386 w 4527226"/>
              <a:gd name="connsiteY89" fmla="*/ 3631368 h 6046908"/>
              <a:gd name="connsiteX90" fmla="*/ 3117526 w 4527226"/>
              <a:gd name="connsiteY90" fmla="*/ 3738048 h 6046908"/>
              <a:gd name="connsiteX91" fmla="*/ 3125146 w 4527226"/>
              <a:gd name="connsiteY91" fmla="*/ 4103808 h 6046908"/>
              <a:gd name="connsiteX92" fmla="*/ 3163246 w 4527226"/>
              <a:gd name="connsiteY92" fmla="*/ 4157148 h 6046908"/>
              <a:gd name="connsiteX93" fmla="*/ 3201346 w 4527226"/>
              <a:gd name="connsiteY93" fmla="*/ 4164768 h 6046908"/>
              <a:gd name="connsiteX94" fmla="*/ 3231826 w 4527226"/>
              <a:gd name="connsiteY94" fmla="*/ 4172388 h 6046908"/>
              <a:gd name="connsiteX95" fmla="*/ 3285166 w 4527226"/>
              <a:gd name="connsiteY95" fmla="*/ 4294308 h 6046908"/>
              <a:gd name="connsiteX96" fmla="*/ 3300406 w 4527226"/>
              <a:gd name="connsiteY96" fmla="*/ 4347648 h 6046908"/>
              <a:gd name="connsiteX97" fmla="*/ 3330886 w 4527226"/>
              <a:gd name="connsiteY97" fmla="*/ 4408608 h 6046908"/>
              <a:gd name="connsiteX98" fmla="*/ 3551866 w 4527226"/>
              <a:gd name="connsiteY98" fmla="*/ 4644828 h 6046908"/>
              <a:gd name="connsiteX99" fmla="*/ 3887146 w 4527226"/>
              <a:gd name="connsiteY99" fmla="*/ 5025828 h 6046908"/>
              <a:gd name="connsiteX100" fmla="*/ 4100506 w 4527226"/>
              <a:gd name="connsiteY100" fmla="*/ 5300148 h 6046908"/>
              <a:gd name="connsiteX101" fmla="*/ 4367206 w 4527226"/>
              <a:gd name="connsiteY101" fmla="*/ 5726868 h 6046908"/>
              <a:gd name="connsiteX102" fmla="*/ 4527226 w 4527226"/>
              <a:gd name="connsiteY102" fmla="*/ 6046908 h 6046908"/>
              <a:gd name="connsiteX0" fmla="*/ 473386 w 4527226"/>
              <a:gd name="connsiteY0" fmla="*/ 5665908 h 6046908"/>
              <a:gd name="connsiteX1" fmla="*/ 511486 w 4527226"/>
              <a:gd name="connsiteY1" fmla="*/ 5612568 h 6046908"/>
              <a:gd name="connsiteX2" fmla="*/ 541966 w 4527226"/>
              <a:gd name="connsiteY2" fmla="*/ 5521128 h 6046908"/>
              <a:gd name="connsiteX3" fmla="*/ 564826 w 4527226"/>
              <a:gd name="connsiteY3" fmla="*/ 5353488 h 6046908"/>
              <a:gd name="connsiteX4" fmla="*/ 602926 w 4527226"/>
              <a:gd name="connsiteY4" fmla="*/ 5223948 h 6046908"/>
              <a:gd name="connsiteX5" fmla="*/ 625786 w 4527226"/>
              <a:gd name="connsiteY5" fmla="*/ 5178228 h 6046908"/>
              <a:gd name="connsiteX6" fmla="*/ 701986 w 4527226"/>
              <a:gd name="connsiteY6" fmla="*/ 5071548 h 6046908"/>
              <a:gd name="connsiteX7" fmla="*/ 717226 w 4527226"/>
              <a:gd name="connsiteY7" fmla="*/ 5063928 h 6046908"/>
              <a:gd name="connsiteX8" fmla="*/ 709606 w 4527226"/>
              <a:gd name="connsiteY8" fmla="*/ 5025828 h 6046908"/>
              <a:gd name="connsiteX9" fmla="*/ 701986 w 4527226"/>
              <a:gd name="connsiteY9" fmla="*/ 5002968 h 6046908"/>
              <a:gd name="connsiteX10" fmla="*/ 968686 w 4527226"/>
              <a:gd name="connsiteY10" fmla="*/ 4682928 h 6046908"/>
              <a:gd name="connsiteX11" fmla="*/ 961066 w 4527226"/>
              <a:gd name="connsiteY11" fmla="*/ 4644828 h 6046908"/>
              <a:gd name="connsiteX12" fmla="*/ 1342066 w 4527226"/>
              <a:gd name="connsiteY12" fmla="*/ 4172388 h 6046908"/>
              <a:gd name="connsiteX13" fmla="*/ 1258246 w 4527226"/>
              <a:gd name="connsiteY13" fmla="*/ 4012368 h 6046908"/>
              <a:gd name="connsiteX14" fmla="*/ 1204906 w 4527226"/>
              <a:gd name="connsiteY14" fmla="*/ 3928548 h 6046908"/>
              <a:gd name="connsiteX15" fmla="*/ 1174426 w 4527226"/>
              <a:gd name="connsiteY15" fmla="*/ 3768528 h 6046908"/>
              <a:gd name="connsiteX16" fmla="*/ 1151566 w 4527226"/>
              <a:gd name="connsiteY16" fmla="*/ 3699948 h 6046908"/>
              <a:gd name="connsiteX17" fmla="*/ 1143946 w 4527226"/>
              <a:gd name="connsiteY17" fmla="*/ 3669468 h 6046908"/>
              <a:gd name="connsiteX18" fmla="*/ 1067746 w 4527226"/>
              <a:gd name="connsiteY18" fmla="*/ 3661848 h 6046908"/>
              <a:gd name="connsiteX19" fmla="*/ 938206 w 4527226"/>
              <a:gd name="connsiteY19" fmla="*/ 3669468 h 6046908"/>
              <a:gd name="connsiteX20" fmla="*/ 831526 w 4527226"/>
              <a:gd name="connsiteY20" fmla="*/ 3692328 h 6046908"/>
              <a:gd name="connsiteX21" fmla="*/ 610546 w 4527226"/>
              <a:gd name="connsiteY21" fmla="*/ 3738048 h 6046908"/>
              <a:gd name="connsiteX22" fmla="*/ 389566 w 4527226"/>
              <a:gd name="connsiteY22" fmla="*/ 3638988 h 6046908"/>
              <a:gd name="connsiteX23" fmla="*/ 381946 w 4527226"/>
              <a:gd name="connsiteY23" fmla="*/ 3326568 h 6046908"/>
              <a:gd name="connsiteX24" fmla="*/ 420046 w 4527226"/>
              <a:gd name="connsiteY24" fmla="*/ 3227508 h 6046908"/>
              <a:gd name="connsiteX25" fmla="*/ 389566 w 4527226"/>
              <a:gd name="connsiteY25" fmla="*/ 3166548 h 6046908"/>
              <a:gd name="connsiteX26" fmla="*/ 351466 w 4527226"/>
              <a:gd name="connsiteY26" fmla="*/ 3105588 h 6046908"/>
              <a:gd name="connsiteX27" fmla="*/ 397186 w 4527226"/>
              <a:gd name="connsiteY27" fmla="*/ 3021768 h 6046908"/>
              <a:gd name="connsiteX28" fmla="*/ 488626 w 4527226"/>
              <a:gd name="connsiteY28" fmla="*/ 2998908 h 6046908"/>
              <a:gd name="connsiteX29" fmla="*/ 471956 w 4527226"/>
              <a:gd name="connsiteY29" fmla="*/ 2942709 h 6046908"/>
              <a:gd name="connsiteX30" fmla="*/ 435286 w 4527226"/>
              <a:gd name="connsiteY30" fmla="*/ 2930328 h 6046908"/>
              <a:gd name="connsiteX31" fmla="*/ 389566 w 4527226"/>
              <a:gd name="connsiteY31" fmla="*/ 2930328 h 6046908"/>
              <a:gd name="connsiteX32" fmla="*/ 314000 w 4527226"/>
              <a:gd name="connsiteY32" fmla="*/ 2893495 h 6046908"/>
              <a:gd name="connsiteX33" fmla="*/ 320986 w 4527226"/>
              <a:gd name="connsiteY33" fmla="*/ 2846508 h 6046908"/>
              <a:gd name="connsiteX34" fmla="*/ 328606 w 4527226"/>
              <a:gd name="connsiteY34" fmla="*/ 2793168 h 6046908"/>
              <a:gd name="connsiteX35" fmla="*/ 313366 w 4527226"/>
              <a:gd name="connsiteY35" fmla="*/ 2732208 h 6046908"/>
              <a:gd name="connsiteX36" fmla="*/ 267646 w 4527226"/>
              <a:gd name="connsiteY36" fmla="*/ 2671248 h 6046908"/>
              <a:gd name="connsiteX37" fmla="*/ 176206 w 4527226"/>
              <a:gd name="connsiteY37" fmla="*/ 2656008 h 6046908"/>
              <a:gd name="connsiteX38" fmla="*/ 54286 w 4527226"/>
              <a:gd name="connsiteY38" fmla="*/ 2610288 h 6046908"/>
              <a:gd name="connsiteX39" fmla="*/ 7931 w 4527226"/>
              <a:gd name="connsiteY39" fmla="*/ 2563298 h 6046908"/>
              <a:gd name="connsiteX40" fmla="*/ 8566 w 4527226"/>
              <a:gd name="connsiteY40" fmla="*/ 2488368 h 6046908"/>
              <a:gd name="connsiteX41" fmla="*/ 92386 w 4527226"/>
              <a:gd name="connsiteY41" fmla="*/ 2335968 h 6046908"/>
              <a:gd name="connsiteX42" fmla="*/ 221926 w 4527226"/>
              <a:gd name="connsiteY42" fmla="*/ 2175948 h 6046908"/>
              <a:gd name="connsiteX43" fmla="*/ 282886 w 4527226"/>
              <a:gd name="connsiteY43" fmla="*/ 2084508 h 6046908"/>
              <a:gd name="connsiteX44" fmla="*/ 328606 w 4527226"/>
              <a:gd name="connsiteY44" fmla="*/ 1977828 h 6046908"/>
              <a:gd name="connsiteX45" fmla="*/ 359086 w 4527226"/>
              <a:gd name="connsiteY45" fmla="*/ 1871148 h 6046908"/>
              <a:gd name="connsiteX46" fmla="*/ 374326 w 4527226"/>
              <a:gd name="connsiteY46" fmla="*/ 1810188 h 6046908"/>
              <a:gd name="connsiteX47" fmla="*/ 343846 w 4527226"/>
              <a:gd name="connsiteY47" fmla="*/ 1756848 h 6046908"/>
              <a:gd name="connsiteX48" fmla="*/ 328606 w 4527226"/>
              <a:gd name="connsiteY48" fmla="*/ 1680648 h 6046908"/>
              <a:gd name="connsiteX49" fmla="*/ 412426 w 4527226"/>
              <a:gd name="connsiteY49" fmla="*/ 1474908 h 6046908"/>
              <a:gd name="connsiteX50" fmla="*/ 442906 w 4527226"/>
              <a:gd name="connsiteY50" fmla="*/ 1307268 h 6046908"/>
              <a:gd name="connsiteX51" fmla="*/ 465766 w 4527226"/>
              <a:gd name="connsiteY51" fmla="*/ 1192968 h 6046908"/>
              <a:gd name="connsiteX52" fmla="*/ 503866 w 4527226"/>
              <a:gd name="connsiteY52" fmla="*/ 1055808 h 6046908"/>
              <a:gd name="connsiteX53" fmla="*/ 557206 w 4527226"/>
              <a:gd name="connsiteY53" fmla="*/ 888168 h 6046908"/>
              <a:gd name="connsiteX54" fmla="*/ 503866 w 4527226"/>
              <a:gd name="connsiteY54" fmla="*/ 888168 h 6046908"/>
              <a:gd name="connsiteX55" fmla="*/ 412426 w 4527226"/>
              <a:gd name="connsiteY55" fmla="*/ 834828 h 6046908"/>
              <a:gd name="connsiteX56" fmla="*/ 328606 w 4527226"/>
              <a:gd name="connsiteY56" fmla="*/ 789108 h 6046908"/>
              <a:gd name="connsiteX57" fmla="*/ 260026 w 4527226"/>
              <a:gd name="connsiteY57" fmla="*/ 773868 h 6046908"/>
              <a:gd name="connsiteX58" fmla="*/ 214306 w 4527226"/>
              <a:gd name="connsiteY58" fmla="*/ 751008 h 6046908"/>
              <a:gd name="connsiteX59" fmla="*/ 260026 w 4527226"/>
              <a:gd name="connsiteY59" fmla="*/ 674808 h 6046908"/>
              <a:gd name="connsiteX60" fmla="*/ 374326 w 4527226"/>
              <a:gd name="connsiteY60" fmla="*/ 606228 h 6046908"/>
              <a:gd name="connsiteX61" fmla="*/ 557206 w 4527226"/>
              <a:gd name="connsiteY61" fmla="*/ 507168 h 6046908"/>
              <a:gd name="connsiteX62" fmla="*/ 656266 w 4527226"/>
              <a:gd name="connsiteY62" fmla="*/ 423348 h 6046908"/>
              <a:gd name="connsiteX63" fmla="*/ 892486 w 4527226"/>
              <a:gd name="connsiteY63" fmla="*/ 232848 h 6046908"/>
              <a:gd name="connsiteX64" fmla="*/ 1174426 w 4527226"/>
              <a:gd name="connsiteY64" fmla="*/ 80448 h 6046908"/>
              <a:gd name="connsiteX65" fmla="*/ 1593526 w 4527226"/>
              <a:gd name="connsiteY65" fmla="*/ 11868 h 6046908"/>
              <a:gd name="connsiteX66" fmla="*/ 1944046 w 4527226"/>
              <a:gd name="connsiteY66" fmla="*/ 4248 h 6046908"/>
              <a:gd name="connsiteX67" fmla="*/ 2172646 w 4527226"/>
              <a:gd name="connsiteY67" fmla="*/ 4248 h 6046908"/>
              <a:gd name="connsiteX68" fmla="*/ 2393626 w 4527226"/>
              <a:gd name="connsiteY68" fmla="*/ 57588 h 6046908"/>
              <a:gd name="connsiteX69" fmla="*/ 2667946 w 4527226"/>
              <a:gd name="connsiteY69" fmla="*/ 133788 h 6046908"/>
              <a:gd name="connsiteX70" fmla="*/ 2820346 w 4527226"/>
              <a:gd name="connsiteY70" fmla="*/ 202368 h 6046908"/>
              <a:gd name="connsiteX71" fmla="*/ 3102286 w 4527226"/>
              <a:gd name="connsiteY71" fmla="*/ 400488 h 6046908"/>
              <a:gd name="connsiteX72" fmla="*/ 3285166 w 4527226"/>
              <a:gd name="connsiteY72" fmla="*/ 651948 h 6046908"/>
              <a:gd name="connsiteX73" fmla="*/ 3407086 w 4527226"/>
              <a:gd name="connsiteY73" fmla="*/ 918648 h 6046908"/>
              <a:gd name="connsiteX74" fmla="*/ 3475666 w 4527226"/>
              <a:gd name="connsiteY74" fmla="*/ 1238688 h 6046908"/>
              <a:gd name="connsiteX75" fmla="*/ 3506146 w 4527226"/>
              <a:gd name="connsiteY75" fmla="*/ 1543488 h 6046908"/>
              <a:gd name="connsiteX76" fmla="*/ 3506146 w 4527226"/>
              <a:gd name="connsiteY76" fmla="*/ 1962588 h 6046908"/>
              <a:gd name="connsiteX77" fmla="*/ 3338506 w 4527226"/>
              <a:gd name="connsiteY77" fmla="*/ 2305488 h 6046908"/>
              <a:gd name="connsiteX78" fmla="*/ 3254686 w 4527226"/>
              <a:gd name="connsiteY78" fmla="*/ 2473128 h 6046908"/>
              <a:gd name="connsiteX79" fmla="*/ 3132766 w 4527226"/>
              <a:gd name="connsiteY79" fmla="*/ 2663628 h 6046908"/>
              <a:gd name="connsiteX80" fmla="*/ 3071806 w 4527226"/>
              <a:gd name="connsiteY80" fmla="*/ 2838888 h 6046908"/>
              <a:gd name="connsiteX81" fmla="*/ 3064186 w 4527226"/>
              <a:gd name="connsiteY81" fmla="*/ 2915088 h 6046908"/>
              <a:gd name="connsiteX82" fmla="*/ 3018466 w 4527226"/>
              <a:gd name="connsiteY82" fmla="*/ 3014148 h 6046908"/>
              <a:gd name="connsiteX83" fmla="*/ 2980366 w 4527226"/>
              <a:gd name="connsiteY83" fmla="*/ 3082728 h 6046908"/>
              <a:gd name="connsiteX84" fmla="*/ 2957506 w 4527226"/>
              <a:gd name="connsiteY84" fmla="*/ 3120828 h 6046908"/>
              <a:gd name="connsiteX85" fmla="*/ 2957506 w 4527226"/>
              <a:gd name="connsiteY85" fmla="*/ 3555168 h 6046908"/>
              <a:gd name="connsiteX86" fmla="*/ 3010846 w 4527226"/>
              <a:gd name="connsiteY86" fmla="*/ 3539928 h 6046908"/>
              <a:gd name="connsiteX87" fmla="*/ 3109906 w 4527226"/>
              <a:gd name="connsiteY87" fmla="*/ 3570408 h 6046908"/>
              <a:gd name="connsiteX88" fmla="*/ 3140386 w 4527226"/>
              <a:gd name="connsiteY88" fmla="*/ 3631368 h 6046908"/>
              <a:gd name="connsiteX89" fmla="*/ 3117526 w 4527226"/>
              <a:gd name="connsiteY89" fmla="*/ 3738048 h 6046908"/>
              <a:gd name="connsiteX90" fmla="*/ 3125146 w 4527226"/>
              <a:gd name="connsiteY90" fmla="*/ 4103808 h 6046908"/>
              <a:gd name="connsiteX91" fmla="*/ 3163246 w 4527226"/>
              <a:gd name="connsiteY91" fmla="*/ 4157148 h 6046908"/>
              <a:gd name="connsiteX92" fmla="*/ 3201346 w 4527226"/>
              <a:gd name="connsiteY92" fmla="*/ 4164768 h 6046908"/>
              <a:gd name="connsiteX93" fmla="*/ 3231826 w 4527226"/>
              <a:gd name="connsiteY93" fmla="*/ 4172388 h 6046908"/>
              <a:gd name="connsiteX94" fmla="*/ 3285166 w 4527226"/>
              <a:gd name="connsiteY94" fmla="*/ 4294308 h 6046908"/>
              <a:gd name="connsiteX95" fmla="*/ 3300406 w 4527226"/>
              <a:gd name="connsiteY95" fmla="*/ 4347648 h 6046908"/>
              <a:gd name="connsiteX96" fmla="*/ 3330886 w 4527226"/>
              <a:gd name="connsiteY96" fmla="*/ 4408608 h 6046908"/>
              <a:gd name="connsiteX97" fmla="*/ 3551866 w 4527226"/>
              <a:gd name="connsiteY97" fmla="*/ 4644828 h 6046908"/>
              <a:gd name="connsiteX98" fmla="*/ 3887146 w 4527226"/>
              <a:gd name="connsiteY98" fmla="*/ 5025828 h 6046908"/>
              <a:gd name="connsiteX99" fmla="*/ 4100506 w 4527226"/>
              <a:gd name="connsiteY99" fmla="*/ 5300148 h 6046908"/>
              <a:gd name="connsiteX100" fmla="*/ 4367206 w 4527226"/>
              <a:gd name="connsiteY100" fmla="*/ 5726868 h 6046908"/>
              <a:gd name="connsiteX101" fmla="*/ 4527226 w 4527226"/>
              <a:gd name="connsiteY101" fmla="*/ 6046908 h 6046908"/>
              <a:gd name="connsiteX0" fmla="*/ 511486 w 4527226"/>
              <a:gd name="connsiteY0" fmla="*/ 5612568 h 6046908"/>
              <a:gd name="connsiteX1" fmla="*/ 541966 w 4527226"/>
              <a:gd name="connsiteY1" fmla="*/ 5521128 h 6046908"/>
              <a:gd name="connsiteX2" fmla="*/ 564826 w 4527226"/>
              <a:gd name="connsiteY2" fmla="*/ 5353488 h 6046908"/>
              <a:gd name="connsiteX3" fmla="*/ 602926 w 4527226"/>
              <a:gd name="connsiteY3" fmla="*/ 5223948 h 6046908"/>
              <a:gd name="connsiteX4" fmla="*/ 625786 w 4527226"/>
              <a:gd name="connsiteY4" fmla="*/ 5178228 h 6046908"/>
              <a:gd name="connsiteX5" fmla="*/ 701986 w 4527226"/>
              <a:gd name="connsiteY5" fmla="*/ 5071548 h 6046908"/>
              <a:gd name="connsiteX6" fmla="*/ 717226 w 4527226"/>
              <a:gd name="connsiteY6" fmla="*/ 5063928 h 6046908"/>
              <a:gd name="connsiteX7" fmla="*/ 709606 w 4527226"/>
              <a:gd name="connsiteY7" fmla="*/ 5025828 h 6046908"/>
              <a:gd name="connsiteX8" fmla="*/ 701986 w 4527226"/>
              <a:gd name="connsiteY8" fmla="*/ 5002968 h 6046908"/>
              <a:gd name="connsiteX9" fmla="*/ 968686 w 4527226"/>
              <a:gd name="connsiteY9" fmla="*/ 4682928 h 6046908"/>
              <a:gd name="connsiteX10" fmla="*/ 961066 w 4527226"/>
              <a:gd name="connsiteY10" fmla="*/ 4644828 h 6046908"/>
              <a:gd name="connsiteX11" fmla="*/ 1342066 w 4527226"/>
              <a:gd name="connsiteY11" fmla="*/ 4172388 h 6046908"/>
              <a:gd name="connsiteX12" fmla="*/ 1258246 w 4527226"/>
              <a:gd name="connsiteY12" fmla="*/ 4012368 h 6046908"/>
              <a:gd name="connsiteX13" fmla="*/ 1204906 w 4527226"/>
              <a:gd name="connsiteY13" fmla="*/ 3928548 h 6046908"/>
              <a:gd name="connsiteX14" fmla="*/ 1174426 w 4527226"/>
              <a:gd name="connsiteY14" fmla="*/ 3768528 h 6046908"/>
              <a:gd name="connsiteX15" fmla="*/ 1151566 w 4527226"/>
              <a:gd name="connsiteY15" fmla="*/ 3699948 h 6046908"/>
              <a:gd name="connsiteX16" fmla="*/ 1143946 w 4527226"/>
              <a:gd name="connsiteY16" fmla="*/ 3669468 h 6046908"/>
              <a:gd name="connsiteX17" fmla="*/ 1067746 w 4527226"/>
              <a:gd name="connsiteY17" fmla="*/ 3661848 h 6046908"/>
              <a:gd name="connsiteX18" fmla="*/ 938206 w 4527226"/>
              <a:gd name="connsiteY18" fmla="*/ 3669468 h 6046908"/>
              <a:gd name="connsiteX19" fmla="*/ 831526 w 4527226"/>
              <a:gd name="connsiteY19" fmla="*/ 3692328 h 6046908"/>
              <a:gd name="connsiteX20" fmla="*/ 610546 w 4527226"/>
              <a:gd name="connsiteY20" fmla="*/ 3738048 h 6046908"/>
              <a:gd name="connsiteX21" fmla="*/ 389566 w 4527226"/>
              <a:gd name="connsiteY21" fmla="*/ 3638988 h 6046908"/>
              <a:gd name="connsiteX22" fmla="*/ 381946 w 4527226"/>
              <a:gd name="connsiteY22" fmla="*/ 3326568 h 6046908"/>
              <a:gd name="connsiteX23" fmla="*/ 420046 w 4527226"/>
              <a:gd name="connsiteY23" fmla="*/ 3227508 h 6046908"/>
              <a:gd name="connsiteX24" fmla="*/ 389566 w 4527226"/>
              <a:gd name="connsiteY24" fmla="*/ 3166548 h 6046908"/>
              <a:gd name="connsiteX25" fmla="*/ 351466 w 4527226"/>
              <a:gd name="connsiteY25" fmla="*/ 3105588 h 6046908"/>
              <a:gd name="connsiteX26" fmla="*/ 397186 w 4527226"/>
              <a:gd name="connsiteY26" fmla="*/ 3021768 h 6046908"/>
              <a:gd name="connsiteX27" fmla="*/ 488626 w 4527226"/>
              <a:gd name="connsiteY27" fmla="*/ 2998908 h 6046908"/>
              <a:gd name="connsiteX28" fmla="*/ 471956 w 4527226"/>
              <a:gd name="connsiteY28" fmla="*/ 2942709 h 6046908"/>
              <a:gd name="connsiteX29" fmla="*/ 435286 w 4527226"/>
              <a:gd name="connsiteY29" fmla="*/ 2930328 h 6046908"/>
              <a:gd name="connsiteX30" fmla="*/ 389566 w 4527226"/>
              <a:gd name="connsiteY30" fmla="*/ 2930328 h 6046908"/>
              <a:gd name="connsiteX31" fmla="*/ 314000 w 4527226"/>
              <a:gd name="connsiteY31" fmla="*/ 2893495 h 6046908"/>
              <a:gd name="connsiteX32" fmla="*/ 320986 w 4527226"/>
              <a:gd name="connsiteY32" fmla="*/ 2846508 h 6046908"/>
              <a:gd name="connsiteX33" fmla="*/ 328606 w 4527226"/>
              <a:gd name="connsiteY33" fmla="*/ 2793168 h 6046908"/>
              <a:gd name="connsiteX34" fmla="*/ 313366 w 4527226"/>
              <a:gd name="connsiteY34" fmla="*/ 2732208 h 6046908"/>
              <a:gd name="connsiteX35" fmla="*/ 267646 w 4527226"/>
              <a:gd name="connsiteY35" fmla="*/ 2671248 h 6046908"/>
              <a:gd name="connsiteX36" fmla="*/ 176206 w 4527226"/>
              <a:gd name="connsiteY36" fmla="*/ 2656008 h 6046908"/>
              <a:gd name="connsiteX37" fmla="*/ 54286 w 4527226"/>
              <a:gd name="connsiteY37" fmla="*/ 2610288 h 6046908"/>
              <a:gd name="connsiteX38" fmla="*/ 7931 w 4527226"/>
              <a:gd name="connsiteY38" fmla="*/ 2563298 h 6046908"/>
              <a:gd name="connsiteX39" fmla="*/ 8566 w 4527226"/>
              <a:gd name="connsiteY39" fmla="*/ 2488368 h 6046908"/>
              <a:gd name="connsiteX40" fmla="*/ 92386 w 4527226"/>
              <a:gd name="connsiteY40" fmla="*/ 2335968 h 6046908"/>
              <a:gd name="connsiteX41" fmla="*/ 221926 w 4527226"/>
              <a:gd name="connsiteY41" fmla="*/ 2175948 h 6046908"/>
              <a:gd name="connsiteX42" fmla="*/ 282886 w 4527226"/>
              <a:gd name="connsiteY42" fmla="*/ 2084508 h 6046908"/>
              <a:gd name="connsiteX43" fmla="*/ 328606 w 4527226"/>
              <a:gd name="connsiteY43" fmla="*/ 1977828 h 6046908"/>
              <a:gd name="connsiteX44" fmla="*/ 359086 w 4527226"/>
              <a:gd name="connsiteY44" fmla="*/ 1871148 h 6046908"/>
              <a:gd name="connsiteX45" fmla="*/ 374326 w 4527226"/>
              <a:gd name="connsiteY45" fmla="*/ 1810188 h 6046908"/>
              <a:gd name="connsiteX46" fmla="*/ 343846 w 4527226"/>
              <a:gd name="connsiteY46" fmla="*/ 1756848 h 6046908"/>
              <a:gd name="connsiteX47" fmla="*/ 328606 w 4527226"/>
              <a:gd name="connsiteY47" fmla="*/ 1680648 h 6046908"/>
              <a:gd name="connsiteX48" fmla="*/ 412426 w 4527226"/>
              <a:gd name="connsiteY48" fmla="*/ 1474908 h 6046908"/>
              <a:gd name="connsiteX49" fmla="*/ 442906 w 4527226"/>
              <a:gd name="connsiteY49" fmla="*/ 1307268 h 6046908"/>
              <a:gd name="connsiteX50" fmla="*/ 465766 w 4527226"/>
              <a:gd name="connsiteY50" fmla="*/ 1192968 h 6046908"/>
              <a:gd name="connsiteX51" fmla="*/ 503866 w 4527226"/>
              <a:gd name="connsiteY51" fmla="*/ 1055808 h 6046908"/>
              <a:gd name="connsiteX52" fmla="*/ 557206 w 4527226"/>
              <a:gd name="connsiteY52" fmla="*/ 888168 h 6046908"/>
              <a:gd name="connsiteX53" fmla="*/ 503866 w 4527226"/>
              <a:gd name="connsiteY53" fmla="*/ 888168 h 6046908"/>
              <a:gd name="connsiteX54" fmla="*/ 412426 w 4527226"/>
              <a:gd name="connsiteY54" fmla="*/ 834828 h 6046908"/>
              <a:gd name="connsiteX55" fmla="*/ 328606 w 4527226"/>
              <a:gd name="connsiteY55" fmla="*/ 789108 h 6046908"/>
              <a:gd name="connsiteX56" fmla="*/ 260026 w 4527226"/>
              <a:gd name="connsiteY56" fmla="*/ 773868 h 6046908"/>
              <a:gd name="connsiteX57" fmla="*/ 214306 w 4527226"/>
              <a:gd name="connsiteY57" fmla="*/ 751008 h 6046908"/>
              <a:gd name="connsiteX58" fmla="*/ 260026 w 4527226"/>
              <a:gd name="connsiteY58" fmla="*/ 674808 h 6046908"/>
              <a:gd name="connsiteX59" fmla="*/ 374326 w 4527226"/>
              <a:gd name="connsiteY59" fmla="*/ 606228 h 6046908"/>
              <a:gd name="connsiteX60" fmla="*/ 557206 w 4527226"/>
              <a:gd name="connsiteY60" fmla="*/ 507168 h 6046908"/>
              <a:gd name="connsiteX61" fmla="*/ 656266 w 4527226"/>
              <a:gd name="connsiteY61" fmla="*/ 423348 h 6046908"/>
              <a:gd name="connsiteX62" fmla="*/ 892486 w 4527226"/>
              <a:gd name="connsiteY62" fmla="*/ 232848 h 6046908"/>
              <a:gd name="connsiteX63" fmla="*/ 1174426 w 4527226"/>
              <a:gd name="connsiteY63" fmla="*/ 80448 h 6046908"/>
              <a:gd name="connsiteX64" fmla="*/ 1593526 w 4527226"/>
              <a:gd name="connsiteY64" fmla="*/ 11868 h 6046908"/>
              <a:gd name="connsiteX65" fmla="*/ 1944046 w 4527226"/>
              <a:gd name="connsiteY65" fmla="*/ 4248 h 6046908"/>
              <a:gd name="connsiteX66" fmla="*/ 2172646 w 4527226"/>
              <a:gd name="connsiteY66" fmla="*/ 4248 h 6046908"/>
              <a:gd name="connsiteX67" fmla="*/ 2393626 w 4527226"/>
              <a:gd name="connsiteY67" fmla="*/ 57588 h 6046908"/>
              <a:gd name="connsiteX68" fmla="*/ 2667946 w 4527226"/>
              <a:gd name="connsiteY68" fmla="*/ 133788 h 6046908"/>
              <a:gd name="connsiteX69" fmla="*/ 2820346 w 4527226"/>
              <a:gd name="connsiteY69" fmla="*/ 202368 h 6046908"/>
              <a:gd name="connsiteX70" fmla="*/ 3102286 w 4527226"/>
              <a:gd name="connsiteY70" fmla="*/ 400488 h 6046908"/>
              <a:gd name="connsiteX71" fmla="*/ 3285166 w 4527226"/>
              <a:gd name="connsiteY71" fmla="*/ 651948 h 6046908"/>
              <a:gd name="connsiteX72" fmla="*/ 3407086 w 4527226"/>
              <a:gd name="connsiteY72" fmla="*/ 918648 h 6046908"/>
              <a:gd name="connsiteX73" fmla="*/ 3475666 w 4527226"/>
              <a:gd name="connsiteY73" fmla="*/ 1238688 h 6046908"/>
              <a:gd name="connsiteX74" fmla="*/ 3506146 w 4527226"/>
              <a:gd name="connsiteY74" fmla="*/ 1543488 h 6046908"/>
              <a:gd name="connsiteX75" fmla="*/ 3506146 w 4527226"/>
              <a:gd name="connsiteY75" fmla="*/ 1962588 h 6046908"/>
              <a:gd name="connsiteX76" fmla="*/ 3338506 w 4527226"/>
              <a:gd name="connsiteY76" fmla="*/ 2305488 h 6046908"/>
              <a:gd name="connsiteX77" fmla="*/ 3254686 w 4527226"/>
              <a:gd name="connsiteY77" fmla="*/ 2473128 h 6046908"/>
              <a:gd name="connsiteX78" fmla="*/ 3132766 w 4527226"/>
              <a:gd name="connsiteY78" fmla="*/ 2663628 h 6046908"/>
              <a:gd name="connsiteX79" fmla="*/ 3071806 w 4527226"/>
              <a:gd name="connsiteY79" fmla="*/ 2838888 h 6046908"/>
              <a:gd name="connsiteX80" fmla="*/ 3064186 w 4527226"/>
              <a:gd name="connsiteY80" fmla="*/ 2915088 h 6046908"/>
              <a:gd name="connsiteX81" fmla="*/ 3018466 w 4527226"/>
              <a:gd name="connsiteY81" fmla="*/ 3014148 h 6046908"/>
              <a:gd name="connsiteX82" fmla="*/ 2980366 w 4527226"/>
              <a:gd name="connsiteY82" fmla="*/ 3082728 h 6046908"/>
              <a:gd name="connsiteX83" fmla="*/ 2957506 w 4527226"/>
              <a:gd name="connsiteY83" fmla="*/ 3120828 h 6046908"/>
              <a:gd name="connsiteX84" fmla="*/ 2957506 w 4527226"/>
              <a:gd name="connsiteY84" fmla="*/ 3555168 h 6046908"/>
              <a:gd name="connsiteX85" fmla="*/ 3010846 w 4527226"/>
              <a:gd name="connsiteY85" fmla="*/ 3539928 h 6046908"/>
              <a:gd name="connsiteX86" fmla="*/ 3109906 w 4527226"/>
              <a:gd name="connsiteY86" fmla="*/ 3570408 h 6046908"/>
              <a:gd name="connsiteX87" fmla="*/ 3140386 w 4527226"/>
              <a:gd name="connsiteY87" fmla="*/ 3631368 h 6046908"/>
              <a:gd name="connsiteX88" fmla="*/ 3117526 w 4527226"/>
              <a:gd name="connsiteY88" fmla="*/ 3738048 h 6046908"/>
              <a:gd name="connsiteX89" fmla="*/ 3125146 w 4527226"/>
              <a:gd name="connsiteY89" fmla="*/ 4103808 h 6046908"/>
              <a:gd name="connsiteX90" fmla="*/ 3163246 w 4527226"/>
              <a:gd name="connsiteY90" fmla="*/ 4157148 h 6046908"/>
              <a:gd name="connsiteX91" fmla="*/ 3201346 w 4527226"/>
              <a:gd name="connsiteY91" fmla="*/ 4164768 h 6046908"/>
              <a:gd name="connsiteX92" fmla="*/ 3231826 w 4527226"/>
              <a:gd name="connsiteY92" fmla="*/ 4172388 h 6046908"/>
              <a:gd name="connsiteX93" fmla="*/ 3285166 w 4527226"/>
              <a:gd name="connsiteY93" fmla="*/ 4294308 h 6046908"/>
              <a:gd name="connsiteX94" fmla="*/ 3300406 w 4527226"/>
              <a:gd name="connsiteY94" fmla="*/ 4347648 h 6046908"/>
              <a:gd name="connsiteX95" fmla="*/ 3330886 w 4527226"/>
              <a:gd name="connsiteY95" fmla="*/ 4408608 h 6046908"/>
              <a:gd name="connsiteX96" fmla="*/ 3551866 w 4527226"/>
              <a:gd name="connsiteY96" fmla="*/ 4644828 h 6046908"/>
              <a:gd name="connsiteX97" fmla="*/ 3887146 w 4527226"/>
              <a:gd name="connsiteY97" fmla="*/ 5025828 h 6046908"/>
              <a:gd name="connsiteX98" fmla="*/ 4100506 w 4527226"/>
              <a:gd name="connsiteY98" fmla="*/ 5300148 h 6046908"/>
              <a:gd name="connsiteX99" fmla="*/ 4367206 w 4527226"/>
              <a:gd name="connsiteY99" fmla="*/ 5726868 h 6046908"/>
              <a:gd name="connsiteX100" fmla="*/ 4527226 w 4527226"/>
              <a:gd name="connsiteY100" fmla="*/ 6046908 h 6046908"/>
              <a:gd name="connsiteX0" fmla="*/ 541966 w 4527226"/>
              <a:gd name="connsiteY0" fmla="*/ 5521128 h 6046908"/>
              <a:gd name="connsiteX1" fmla="*/ 564826 w 4527226"/>
              <a:gd name="connsiteY1" fmla="*/ 5353488 h 6046908"/>
              <a:gd name="connsiteX2" fmla="*/ 602926 w 4527226"/>
              <a:gd name="connsiteY2" fmla="*/ 5223948 h 6046908"/>
              <a:gd name="connsiteX3" fmla="*/ 625786 w 4527226"/>
              <a:gd name="connsiteY3" fmla="*/ 5178228 h 6046908"/>
              <a:gd name="connsiteX4" fmla="*/ 701986 w 4527226"/>
              <a:gd name="connsiteY4" fmla="*/ 5071548 h 6046908"/>
              <a:gd name="connsiteX5" fmla="*/ 717226 w 4527226"/>
              <a:gd name="connsiteY5" fmla="*/ 5063928 h 6046908"/>
              <a:gd name="connsiteX6" fmla="*/ 709606 w 4527226"/>
              <a:gd name="connsiteY6" fmla="*/ 5025828 h 6046908"/>
              <a:gd name="connsiteX7" fmla="*/ 701986 w 4527226"/>
              <a:gd name="connsiteY7" fmla="*/ 5002968 h 6046908"/>
              <a:gd name="connsiteX8" fmla="*/ 968686 w 4527226"/>
              <a:gd name="connsiteY8" fmla="*/ 4682928 h 6046908"/>
              <a:gd name="connsiteX9" fmla="*/ 961066 w 4527226"/>
              <a:gd name="connsiteY9" fmla="*/ 4644828 h 6046908"/>
              <a:gd name="connsiteX10" fmla="*/ 1342066 w 4527226"/>
              <a:gd name="connsiteY10" fmla="*/ 4172388 h 6046908"/>
              <a:gd name="connsiteX11" fmla="*/ 1258246 w 4527226"/>
              <a:gd name="connsiteY11" fmla="*/ 4012368 h 6046908"/>
              <a:gd name="connsiteX12" fmla="*/ 1204906 w 4527226"/>
              <a:gd name="connsiteY12" fmla="*/ 3928548 h 6046908"/>
              <a:gd name="connsiteX13" fmla="*/ 1174426 w 4527226"/>
              <a:gd name="connsiteY13" fmla="*/ 3768528 h 6046908"/>
              <a:gd name="connsiteX14" fmla="*/ 1151566 w 4527226"/>
              <a:gd name="connsiteY14" fmla="*/ 3699948 h 6046908"/>
              <a:gd name="connsiteX15" fmla="*/ 1143946 w 4527226"/>
              <a:gd name="connsiteY15" fmla="*/ 3669468 h 6046908"/>
              <a:gd name="connsiteX16" fmla="*/ 1067746 w 4527226"/>
              <a:gd name="connsiteY16" fmla="*/ 3661848 h 6046908"/>
              <a:gd name="connsiteX17" fmla="*/ 938206 w 4527226"/>
              <a:gd name="connsiteY17" fmla="*/ 3669468 h 6046908"/>
              <a:gd name="connsiteX18" fmla="*/ 831526 w 4527226"/>
              <a:gd name="connsiteY18" fmla="*/ 3692328 h 6046908"/>
              <a:gd name="connsiteX19" fmla="*/ 610546 w 4527226"/>
              <a:gd name="connsiteY19" fmla="*/ 3738048 h 6046908"/>
              <a:gd name="connsiteX20" fmla="*/ 389566 w 4527226"/>
              <a:gd name="connsiteY20" fmla="*/ 3638988 h 6046908"/>
              <a:gd name="connsiteX21" fmla="*/ 381946 w 4527226"/>
              <a:gd name="connsiteY21" fmla="*/ 3326568 h 6046908"/>
              <a:gd name="connsiteX22" fmla="*/ 420046 w 4527226"/>
              <a:gd name="connsiteY22" fmla="*/ 3227508 h 6046908"/>
              <a:gd name="connsiteX23" fmla="*/ 389566 w 4527226"/>
              <a:gd name="connsiteY23" fmla="*/ 3166548 h 6046908"/>
              <a:gd name="connsiteX24" fmla="*/ 351466 w 4527226"/>
              <a:gd name="connsiteY24" fmla="*/ 3105588 h 6046908"/>
              <a:gd name="connsiteX25" fmla="*/ 397186 w 4527226"/>
              <a:gd name="connsiteY25" fmla="*/ 3021768 h 6046908"/>
              <a:gd name="connsiteX26" fmla="*/ 488626 w 4527226"/>
              <a:gd name="connsiteY26" fmla="*/ 2998908 h 6046908"/>
              <a:gd name="connsiteX27" fmla="*/ 471956 w 4527226"/>
              <a:gd name="connsiteY27" fmla="*/ 2942709 h 6046908"/>
              <a:gd name="connsiteX28" fmla="*/ 435286 w 4527226"/>
              <a:gd name="connsiteY28" fmla="*/ 2930328 h 6046908"/>
              <a:gd name="connsiteX29" fmla="*/ 389566 w 4527226"/>
              <a:gd name="connsiteY29" fmla="*/ 2930328 h 6046908"/>
              <a:gd name="connsiteX30" fmla="*/ 314000 w 4527226"/>
              <a:gd name="connsiteY30" fmla="*/ 2893495 h 6046908"/>
              <a:gd name="connsiteX31" fmla="*/ 320986 w 4527226"/>
              <a:gd name="connsiteY31" fmla="*/ 2846508 h 6046908"/>
              <a:gd name="connsiteX32" fmla="*/ 328606 w 4527226"/>
              <a:gd name="connsiteY32" fmla="*/ 2793168 h 6046908"/>
              <a:gd name="connsiteX33" fmla="*/ 313366 w 4527226"/>
              <a:gd name="connsiteY33" fmla="*/ 2732208 h 6046908"/>
              <a:gd name="connsiteX34" fmla="*/ 267646 w 4527226"/>
              <a:gd name="connsiteY34" fmla="*/ 2671248 h 6046908"/>
              <a:gd name="connsiteX35" fmla="*/ 176206 w 4527226"/>
              <a:gd name="connsiteY35" fmla="*/ 2656008 h 6046908"/>
              <a:gd name="connsiteX36" fmla="*/ 54286 w 4527226"/>
              <a:gd name="connsiteY36" fmla="*/ 2610288 h 6046908"/>
              <a:gd name="connsiteX37" fmla="*/ 7931 w 4527226"/>
              <a:gd name="connsiteY37" fmla="*/ 2563298 h 6046908"/>
              <a:gd name="connsiteX38" fmla="*/ 8566 w 4527226"/>
              <a:gd name="connsiteY38" fmla="*/ 2488368 h 6046908"/>
              <a:gd name="connsiteX39" fmla="*/ 92386 w 4527226"/>
              <a:gd name="connsiteY39" fmla="*/ 2335968 h 6046908"/>
              <a:gd name="connsiteX40" fmla="*/ 221926 w 4527226"/>
              <a:gd name="connsiteY40" fmla="*/ 2175948 h 6046908"/>
              <a:gd name="connsiteX41" fmla="*/ 282886 w 4527226"/>
              <a:gd name="connsiteY41" fmla="*/ 2084508 h 6046908"/>
              <a:gd name="connsiteX42" fmla="*/ 328606 w 4527226"/>
              <a:gd name="connsiteY42" fmla="*/ 1977828 h 6046908"/>
              <a:gd name="connsiteX43" fmla="*/ 359086 w 4527226"/>
              <a:gd name="connsiteY43" fmla="*/ 1871148 h 6046908"/>
              <a:gd name="connsiteX44" fmla="*/ 374326 w 4527226"/>
              <a:gd name="connsiteY44" fmla="*/ 1810188 h 6046908"/>
              <a:gd name="connsiteX45" fmla="*/ 343846 w 4527226"/>
              <a:gd name="connsiteY45" fmla="*/ 1756848 h 6046908"/>
              <a:gd name="connsiteX46" fmla="*/ 328606 w 4527226"/>
              <a:gd name="connsiteY46" fmla="*/ 1680648 h 6046908"/>
              <a:gd name="connsiteX47" fmla="*/ 412426 w 4527226"/>
              <a:gd name="connsiteY47" fmla="*/ 1474908 h 6046908"/>
              <a:gd name="connsiteX48" fmla="*/ 442906 w 4527226"/>
              <a:gd name="connsiteY48" fmla="*/ 1307268 h 6046908"/>
              <a:gd name="connsiteX49" fmla="*/ 465766 w 4527226"/>
              <a:gd name="connsiteY49" fmla="*/ 1192968 h 6046908"/>
              <a:gd name="connsiteX50" fmla="*/ 503866 w 4527226"/>
              <a:gd name="connsiteY50" fmla="*/ 1055808 h 6046908"/>
              <a:gd name="connsiteX51" fmla="*/ 557206 w 4527226"/>
              <a:gd name="connsiteY51" fmla="*/ 888168 h 6046908"/>
              <a:gd name="connsiteX52" fmla="*/ 503866 w 4527226"/>
              <a:gd name="connsiteY52" fmla="*/ 888168 h 6046908"/>
              <a:gd name="connsiteX53" fmla="*/ 412426 w 4527226"/>
              <a:gd name="connsiteY53" fmla="*/ 834828 h 6046908"/>
              <a:gd name="connsiteX54" fmla="*/ 328606 w 4527226"/>
              <a:gd name="connsiteY54" fmla="*/ 789108 h 6046908"/>
              <a:gd name="connsiteX55" fmla="*/ 260026 w 4527226"/>
              <a:gd name="connsiteY55" fmla="*/ 773868 h 6046908"/>
              <a:gd name="connsiteX56" fmla="*/ 214306 w 4527226"/>
              <a:gd name="connsiteY56" fmla="*/ 751008 h 6046908"/>
              <a:gd name="connsiteX57" fmla="*/ 260026 w 4527226"/>
              <a:gd name="connsiteY57" fmla="*/ 674808 h 6046908"/>
              <a:gd name="connsiteX58" fmla="*/ 374326 w 4527226"/>
              <a:gd name="connsiteY58" fmla="*/ 606228 h 6046908"/>
              <a:gd name="connsiteX59" fmla="*/ 557206 w 4527226"/>
              <a:gd name="connsiteY59" fmla="*/ 507168 h 6046908"/>
              <a:gd name="connsiteX60" fmla="*/ 656266 w 4527226"/>
              <a:gd name="connsiteY60" fmla="*/ 423348 h 6046908"/>
              <a:gd name="connsiteX61" fmla="*/ 892486 w 4527226"/>
              <a:gd name="connsiteY61" fmla="*/ 232848 h 6046908"/>
              <a:gd name="connsiteX62" fmla="*/ 1174426 w 4527226"/>
              <a:gd name="connsiteY62" fmla="*/ 80448 h 6046908"/>
              <a:gd name="connsiteX63" fmla="*/ 1593526 w 4527226"/>
              <a:gd name="connsiteY63" fmla="*/ 11868 h 6046908"/>
              <a:gd name="connsiteX64" fmla="*/ 1944046 w 4527226"/>
              <a:gd name="connsiteY64" fmla="*/ 4248 h 6046908"/>
              <a:gd name="connsiteX65" fmla="*/ 2172646 w 4527226"/>
              <a:gd name="connsiteY65" fmla="*/ 4248 h 6046908"/>
              <a:gd name="connsiteX66" fmla="*/ 2393626 w 4527226"/>
              <a:gd name="connsiteY66" fmla="*/ 57588 h 6046908"/>
              <a:gd name="connsiteX67" fmla="*/ 2667946 w 4527226"/>
              <a:gd name="connsiteY67" fmla="*/ 133788 h 6046908"/>
              <a:gd name="connsiteX68" fmla="*/ 2820346 w 4527226"/>
              <a:gd name="connsiteY68" fmla="*/ 202368 h 6046908"/>
              <a:gd name="connsiteX69" fmla="*/ 3102286 w 4527226"/>
              <a:gd name="connsiteY69" fmla="*/ 400488 h 6046908"/>
              <a:gd name="connsiteX70" fmla="*/ 3285166 w 4527226"/>
              <a:gd name="connsiteY70" fmla="*/ 651948 h 6046908"/>
              <a:gd name="connsiteX71" fmla="*/ 3407086 w 4527226"/>
              <a:gd name="connsiteY71" fmla="*/ 918648 h 6046908"/>
              <a:gd name="connsiteX72" fmla="*/ 3475666 w 4527226"/>
              <a:gd name="connsiteY72" fmla="*/ 1238688 h 6046908"/>
              <a:gd name="connsiteX73" fmla="*/ 3506146 w 4527226"/>
              <a:gd name="connsiteY73" fmla="*/ 1543488 h 6046908"/>
              <a:gd name="connsiteX74" fmla="*/ 3506146 w 4527226"/>
              <a:gd name="connsiteY74" fmla="*/ 1962588 h 6046908"/>
              <a:gd name="connsiteX75" fmla="*/ 3338506 w 4527226"/>
              <a:gd name="connsiteY75" fmla="*/ 2305488 h 6046908"/>
              <a:gd name="connsiteX76" fmla="*/ 3254686 w 4527226"/>
              <a:gd name="connsiteY76" fmla="*/ 2473128 h 6046908"/>
              <a:gd name="connsiteX77" fmla="*/ 3132766 w 4527226"/>
              <a:gd name="connsiteY77" fmla="*/ 2663628 h 6046908"/>
              <a:gd name="connsiteX78" fmla="*/ 3071806 w 4527226"/>
              <a:gd name="connsiteY78" fmla="*/ 2838888 h 6046908"/>
              <a:gd name="connsiteX79" fmla="*/ 3064186 w 4527226"/>
              <a:gd name="connsiteY79" fmla="*/ 2915088 h 6046908"/>
              <a:gd name="connsiteX80" fmla="*/ 3018466 w 4527226"/>
              <a:gd name="connsiteY80" fmla="*/ 3014148 h 6046908"/>
              <a:gd name="connsiteX81" fmla="*/ 2980366 w 4527226"/>
              <a:gd name="connsiteY81" fmla="*/ 3082728 h 6046908"/>
              <a:gd name="connsiteX82" fmla="*/ 2957506 w 4527226"/>
              <a:gd name="connsiteY82" fmla="*/ 3120828 h 6046908"/>
              <a:gd name="connsiteX83" fmla="*/ 2957506 w 4527226"/>
              <a:gd name="connsiteY83" fmla="*/ 3555168 h 6046908"/>
              <a:gd name="connsiteX84" fmla="*/ 3010846 w 4527226"/>
              <a:gd name="connsiteY84" fmla="*/ 3539928 h 6046908"/>
              <a:gd name="connsiteX85" fmla="*/ 3109906 w 4527226"/>
              <a:gd name="connsiteY85" fmla="*/ 3570408 h 6046908"/>
              <a:gd name="connsiteX86" fmla="*/ 3140386 w 4527226"/>
              <a:gd name="connsiteY86" fmla="*/ 3631368 h 6046908"/>
              <a:gd name="connsiteX87" fmla="*/ 3117526 w 4527226"/>
              <a:gd name="connsiteY87" fmla="*/ 3738048 h 6046908"/>
              <a:gd name="connsiteX88" fmla="*/ 3125146 w 4527226"/>
              <a:gd name="connsiteY88" fmla="*/ 4103808 h 6046908"/>
              <a:gd name="connsiteX89" fmla="*/ 3163246 w 4527226"/>
              <a:gd name="connsiteY89" fmla="*/ 4157148 h 6046908"/>
              <a:gd name="connsiteX90" fmla="*/ 3201346 w 4527226"/>
              <a:gd name="connsiteY90" fmla="*/ 4164768 h 6046908"/>
              <a:gd name="connsiteX91" fmla="*/ 3231826 w 4527226"/>
              <a:gd name="connsiteY91" fmla="*/ 4172388 h 6046908"/>
              <a:gd name="connsiteX92" fmla="*/ 3285166 w 4527226"/>
              <a:gd name="connsiteY92" fmla="*/ 4294308 h 6046908"/>
              <a:gd name="connsiteX93" fmla="*/ 3300406 w 4527226"/>
              <a:gd name="connsiteY93" fmla="*/ 4347648 h 6046908"/>
              <a:gd name="connsiteX94" fmla="*/ 3330886 w 4527226"/>
              <a:gd name="connsiteY94" fmla="*/ 4408608 h 6046908"/>
              <a:gd name="connsiteX95" fmla="*/ 3551866 w 4527226"/>
              <a:gd name="connsiteY95" fmla="*/ 4644828 h 6046908"/>
              <a:gd name="connsiteX96" fmla="*/ 3887146 w 4527226"/>
              <a:gd name="connsiteY96" fmla="*/ 5025828 h 6046908"/>
              <a:gd name="connsiteX97" fmla="*/ 4100506 w 4527226"/>
              <a:gd name="connsiteY97" fmla="*/ 5300148 h 6046908"/>
              <a:gd name="connsiteX98" fmla="*/ 4367206 w 4527226"/>
              <a:gd name="connsiteY98" fmla="*/ 5726868 h 6046908"/>
              <a:gd name="connsiteX99" fmla="*/ 4527226 w 4527226"/>
              <a:gd name="connsiteY99" fmla="*/ 6046908 h 6046908"/>
              <a:gd name="connsiteX0" fmla="*/ 564826 w 4527226"/>
              <a:gd name="connsiteY0" fmla="*/ 5353488 h 6046908"/>
              <a:gd name="connsiteX1" fmla="*/ 602926 w 4527226"/>
              <a:gd name="connsiteY1" fmla="*/ 5223948 h 6046908"/>
              <a:gd name="connsiteX2" fmla="*/ 625786 w 4527226"/>
              <a:gd name="connsiteY2" fmla="*/ 5178228 h 6046908"/>
              <a:gd name="connsiteX3" fmla="*/ 701986 w 4527226"/>
              <a:gd name="connsiteY3" fmla="*/ 5071548 h 6046908"/>
              <a:gd name="connsiteX4" fmla="*/ 717226 w 4527226"/>
              <a:gd name="connsiteY4" fmla="*/ 5063928 h 6046908"/>
              <a:gd name="connsiteX5" fmla="*/ 709606 w 4527226"/>
              <a:gd name="connsiteY5" fmla="*/ 5025828 h 6046908"/>
              <a:gd name="connsiteX6" fmla="*/ 701986 w 4527226"/>
              <a:gd name="connsiteY6" fmla="*/ 5002968 h 6046908"/>
              <a:gd name="connsiteX7" fmla="*/ 968686 w 4527226"/>
              <a:gd name="connsiteY7" fmla="*/ 4682928 h 6046908"/>
              <a:gd name="connsiteX8" fmla="*/ 961066 w 4527226"/>
              <a:gd name="connsiteY8" fmla="*/ 4644828 h 6046908"/>
              <a:gd name="connsiteX9" fmla="*/ 1342066 w 4527226"/>
              <a:gd name="connsiteY9" fmla="*/ 4172388 h 6046908"/>
              <a:gd name="connsiteX10" fmla="*/ 1258246 w 4527226"/>
              <a:gd name="connsiteY10" fmla="*/ 4012368 h 6046908"/>
              <a:gd name="connsiteX11" fmla="*/ 1204906 w 4527226"/>
              <a:gd name="connsiteY11" fmla="*/ 3928548 h 6046908"/>
              <a:gd name="connsiteX12" fmla="*/ 1174426 w 4527226"/>
              <a:gd name="connsiteY12" fmla="*/ 3768528 h 6046908"/>
              <a:gd name="connsiteX13" fmla="*/ 1151566 w 4527226"/>
              <a:gd name="connsiteY13" fmla="*/ 3699948 h 6046908"/>
              <a:gd name="connsiteX14" fmla="*/ 1143946 w 4527226"/>
              <a:gd name="connsiteY14" fmla="*/ 3669468 h 6046908"/>
              <a:gd name="connsiteX15" fmla="*/ 1067746 w 4527226"/>
              <a:gd name="connsiteY15" fmla="*/ 3661848 h 6046908"/>
              <a:gd name="connsiteX16" fmla="*/ 938206 w 4527226"/>
              <a:gd name="connsiteY16" fmla="*/ 3669468 h 6046908"/>
              <a:gd name="connsiteX17" fmla="*/ 831526 w 4527226"/>
              <a:gd name="connsiteY17" fmla="*/ 3692328 h 6046908"/>
              <a:gd name="connsiteX18" fmla="*/ 610546 w 4527226"/>
              <a:gd name="connsiteY18" fmla="*/ 3738048 h 6046908"/>
              <a:gd name="connsiteX19" fmla="*/ 389566 w 4527226"/>
              <a:gd name="connsiteY19" fmla="*/ 3638988 h 6046908"/>
              <a:gd name="connsiteX20" fmla="*/ 381946 w 4527226"/>
              <a:gd name="connsiteY20" fmla="*/ 3326568 h 6046908"/>
              <a:gd name="connsiteX21" fmla="*/ 420046 w 4527226"/>
              <a:gd name="connsiteY21" fmla="*/ 3227508 h 6046908"/>
              <a:gd name="connsiteX22" fmla="*/ 389566 w 4527226"/>
              <a:gd name="connsiteY22" fmla="*/ 3166548 h 6046908"/>
              <a:gd name="connsiteX23" fmla="*/ 351466 w 4527226"/>
              <a:gd name="connsiteY23" fmla="*/ 3105588 h 6046908"/>
              <a:gd name="connsiteX24" fmla="*/ 397186 w 4527226"/>
              <a:gd name="connsiteY24" fmla="*/ 3021768 h 6046908"/>
              <a:gd name="connsiteX25" fmla="*/ 488626 w 4527226"/>
              <a:gd name="connsiteY25" fmla="*/ 2998908 h 6046908"/>
              <a:gd name="connsiteX26" fmla="*/ 471956 w 4527226"/>
              <a:gd name="connsiteY26" fmla="*/ 2942709 h 6046908"/>
              <a:gd name="connsiteX27" fmla="*/ 435286 w 4527226"/>
              <a:gd name="connsiteY27" fmla="*/ 2930328 h 6046908"/>
              <a:gd name="connsiteX28" fmla="*/ 389566 w 4527226"/>
              <a:gd name="connsiteY28" fmla="*/ 2930328 h 6046908"/>
              <a:gd name="connsiteX29" fmla="*/ 314000 w 4527226"/>
              <a:gd name="connsiteY29" fmla="*/ 2893495 h 6046908"/>
              <a:gd name="connsiteX30" fmla="*/ 320986 w 4527226"/>
              <a:gd name="connsiteY30" fmla="*/ 2846508 h 6046908"/>
              <a:gd name="connsiteX31" fmla="*/ 328606 w 4527226"/>
              <a:gd name="connsiteY31" fmla="*/ 2793168 h 6046908"/>
              <a:gd name="connsiteX32" fmla="*/ 313366 w 4527226"/>
              <a:gd name="connsiteY32" fmla="*/ 2732208 h 6046908"/>
              <a:gd name="connsiteX33" fmla="*/ 267646 w 4527226"/>
              <a:gd name="connsiteY33" fmla="*/ 2671248 h 6046908"/>
              <a:gd name="connsiteX34" fmla="*/ 176206 w 4527226"/>
              <a:gd name="connsiteY34" fmla="*/ 2656008 h 6046908"/>
              <a:gd name="connsiteX35" fmla="*/ 54286 w 4527226"/>
              <a:gd name="connsiteY35" fmla="*/ 2610288 h 6046908"/>
              <a:gd name="connsiteX36" fmla="*/ 7931 w 4527226"/>
              <a:gd name="connsiteY36" fmla="*/ 2563298 h 6046908"/>
              <a:gd name="connsiteX37" fmla="*/ 8566 w 4527226"/>
              <a:gd name="connsiteY37" fmla="*/ 2488368 h 6046908"/>
              <a:gd name="connsiteX38" fmla="*/ 92386 w 4527226"/>
              <a:gd name="connsiteY38" fmla="*/ 2335968 h 6046908"/>
              <a:gd name="connsiteX39" fmla="*/ 221926 w 4527226"/>
              <a:gd name="connsiteY39" fmla="*/ 2175948 h 6046908"/>
              <a:gd name="connsiteX40" fmla="*/ 282886 w 4527226"/>
              <a:gd name="connsiteY40" fmla="*/ 2084508 h 6046908"/>
              <a:gd name="connsiteX41" fmla="*/ 328606 w 4527226"/>
              <a:gd name="connsiteY41" fmla="*/ 1977828 h 6046908"/>
              <a:gd name="connsiteX42" fmla="*/ 359086 w 4527226"/>
              <a:gd name="connsiteY42" fmla="*/ 1871148 h 6046908"/>
              <a:gd name="connsiteX43" fmla="*/ 374326 w 4527226"/>
              <a:gd name="connsiteY43" fmla="*/ 1810188 h 6046908"/>
              <a:gd name="connsiteX44" fmla="*/ 343846 w 4527226"/>
              <a:gd name="connsiteY44" fmla="*/ 1756848 h 6046908"/>
              <a:gd name="connsiteX45" fmla="*/ 328606 w 4527226"/>
              <a:gd name="connsiteY45" fmla="*/ 1680648 h 6046908"/>
              <a:gd name="connsiteX46" fmla="*/ 412426 w 4527226"/>
              <a:gd name="connsiteY46" fmla="*/ 1474908 h 6046908"/>
              <a:gd name="connsiteX47" fmla="*/ 442906 w 4527226"/>
              <a:gd name="connsiteY47" fmla="*/ 1307268 h 6046908"/>
              <a:gd name="connsiteX48" fmla="*/ 465766 w 4527226"/>
              <a:gd name="connsiteY48" fmla="*/ 1192968 h 6046908"/>
              <a:gd name="connsiteX49" fmla="*/ 503866 w 4527226"/>
              <a:gd name="connsiteY49" fmla="*/ 1055808 h 6046908"/>
              <a:gd name="connsiteX50" fmla="*/ 557206 w 4527226"/>
              <a:gd name="connsiteY50" fmla="*/ 888168 h 6046908"/>
              <a:gd name="connsiteX51" fmla="*/ 503866 w 4527226"/>
              <a:gd name="connsiteY51" fmla="*/ 888168 h 6046908"/>
              <a:gd name="connsiteX52" fmla="*/ 412426 w 4527226"/>
              <a:gd name="connsiteY52" fmla="*/ 834828 h 6046908"/>
              <a:gd name="connsiteX53" fmla="*/ 328606 w 4527226"/>
              <a:gd name="connsiteY53" fmla="*/ 789108 h 6046908"/>
              <a:gd name="connsiteX54" fmla="*/ 260026 w 4527226"/>
              <a:gd name="connsiteY54" fmla="*/ 773868 h 6046908"/>
              <a:gd name="connsiteX55" fmla="*/ 214306 w 4527226"/>
              <a:gd name="connsiteY55" fmla="*/ 751008 h 6046908"/>
              <a:gd name="connsiteX56" fmla="*/ 260026 w 4527226"/>
              <a:gd name="connsiteY56" fmla="*/ 674808 h 6046908"/>
              <a:gd name="connsiteX57" fmla="*/ 374326 w 4527226"/>
              <a:gd name="connsiteY57" fmla="*/ 606228 h 6046908"/>
              <a:gd name="connsiteX58" fmla="*/ 557206 w 4527226"/>
              <a:gd name="connsiteY58" fmla="*/ 507168 h 6046908"/>
              <a:gd name="connsiteX59" fmla="*/ 656266 w 4527226"/>
              <a:gd name="connsiteY59" fmla="*/ 423348 h 6046908"/>
              <a:gd name="connsiteX60" fmla="*/ 892486 w 4527226"/>
              <a:gd name="connsiteY60" fmla="*/ 232848 h 6046908"/>
              <a:gd name="connsiteX61" fmla="*/ 1174426 w 4527226"/>
              <a:gd name="connsiteY61" fmla="*/ 80448 h 6046908"/>
              <a:gd name="connsiteX62" fmla="*/ 1593526 w 4527226"/>
              <a:gd name="connsiteY62" fmla="*/ 11868 h 6046908"/>
              <a:gd name="connsiteX63" fmla="*/ 1944046 w 4527226"/>
              <a:gd name="connsiteY63" fmla="*/ 4248 h 6046908"/>
              <a:gd name="connsiteX64" fmla="*/ 2172646 w 4527226"/>
              <a:gd name="connsiteY64" fmla="*/ 4248 h 6046908"/>
              <a:gd name="connsiteX65" fmla="*/ 2393626 w 4527226"/>
              <a:gd name="connsiteY65" fmla="*/ 57588 h 6046908"/>
              <a:gd name="connsiteX66" fmla="*/ 2667946 w 4527226"/>
              <a:gd name="connsiteY66" fmla="*/ 133788 h 6046908"/>
              <a:gd name="connsiteX67" fmla="*/ 2820346 w 4527226"/>
              <a:gd name="connsiteY67" fmla="*/ 202368 h 6046908"/>
              <a:gd name="connsiteX68" fmla="*/ 3102286 w 4527226"/>
              <a:gd name="connsiteY68" fmla="*/ 400488 h 6046908"/>
              <a:gd name="connsiteX69" fmla="*/ 3285166 w 4527226"/>
              <a:gd name="connsiteY69" fmla="*/ 651948 h 6046908"/>
              <a:gd name="connsiteX70" fmla="*/ 3407086 w 4527226"/>
              <a:gd name="connsiteY70" fmla="*/ 918648 h 6046908"/>
              <a:gd name="connsiteX71" fmla="*/ 3475666 w 4527226"/>
              <a:gd name="connsiteY71" fmla="*/ 1238688 h 6046908"/>
              <a:gd name="connsiteX72" fmla="*/ 3506146 w 4527226"/>
              <a:gd name="connsiteY72" fmla="*/ 1543488 h 6046908"/>
              <a:gd name="connsiteX73" fmla="*/ 3506146 w 4527226"/>
              <a:gd name="connsiteY73" fmla="*/ 1962588 h 6046908"/>
              <a:gd name="connsiteX74" fmla="*/ 3338506 w 4527226"/>
              <a:gd name="connsiteY74" fmla="*/ 2305488 h 6046908"/>
              <a:gd name="connsiteX75" fmla="*/ 3254686 w 4527226"/>
              <a:gd name="connsiteY75" fmla="*/ 2473128 h 6046908"/>
              <a:gd name="connsiteX76" fmla="*/ 3132766 w 4527226"/>
              <a:gd name="connsiteY76" fmla="*/ 2663628 h 6046908"/>
              <a:gd name="connsiteX77" fmla="*/ 3071806 w 4527226"/>
              <a:gd name="connsiteY77" fmla="*/ 2838888 h 6046908"/>
              <a:gd name="connsiteX78" fmla="*/ 3064186 w 4527226"/>
              <a:gd name="connsiteY78" fmla="*/ 2915088 h 6046908"/>
              <a:gd name="connsiteX79" fmla="*/ 3018466 w 4527226"/>
              <a:gd name="connsiteY79" fmla="*/ 3014148 h 6046908"/>
              <a:gd name="connsiteX80" fmla="*/ 2980366 w 4527226"/>
              <a:gd name="connsiteY80" fmla="*/ 3082728 h 6046908"/>
              <a:gd name="connsiteX81" fmla="*/ 2957506 w 4527226"/>
              <a:gd name="connsiteY81" fmla="*/ 3120828 h 6046908"/>
              <a:gd name="connsiteX82" fmla="*/ 2957506 w 4527226"/>
              <a:gd name="connsiteY82" fmla="*/ 3555168 h 6046908"/>
              <a:gd name="connsiteX83" fmla="*/ 3010846 w 4527226"/>
              <a:gd name="connsiteY83" fmla="*/ 3539928 h 6046908"/>
              <a:gd name="connsiteX84" fmla="*/ 3109906 w 4527226"/>
              <a:gd name="connsiteY84" fmla="*/ 3570408 h 6046908"/>
              <a:gd name="connsiteX85" fmla="*/ 3140386 w 4527226"/>
              <a:gd name="connsiteY85" fmla="*/ 3631368 h 6046908"/>
              <a:gd name="connsiteX86" fmla="*/ 3117526 w 4527226"/>
              <a:gd name="connsiteY86" fmla="*/ 3738048 h 6046908"/>
              <a:gd name="connsiteX87" fmla="*/ 3125146 w 4527226"/>
              <a:gd name="connsiteY87" fmla="*/ 4103808 h 6046908"/>
              <a:gd name="connsiteX88" fmla="*/ 3163246 w 4527226"/>
              <a:gd name="connsiteY88" fmla="*/ 4157148 h 6046908"/>
              <a:gd name="connsiteX89" fmla="*/ 3201346 w 4527226"/>
              <a:gd name="connsiteY89" fmla="*/ 4164768 h 6046908"/>
              <a:gd name="connsiteX90" fmla="*/ 3231826 w 4527226"/>
              <a:gd name="connsiteY90" fmla="*/ 4172388 h 6046908"/>
              <a:gd name="connsiteX91" fmla="*/ 3285166 w 4527226"/>
              <a:gd name="connsiteY91" fmla="*/ 4294308 h 6046908"/>
              <a:gd name="connsiteX92" fmla="*/ 3300406 w 4527226"/>
              <a:gd name="connsiteY92" fmla="*/ 4347648 h 6046908"/>
              <a:gd name="connsiteX93" fmla="*/ 3330886 w 4527226"/>
              <a:gd name="connsiteY93" fmla="*/ 4408608 h 6046908"/>
              <a:gd name="connsiteX94" fmla="*/ 3551866 w 4527226"/>
              <a:gd name="connsiteY94" fmla="*/ 4644828 h 6046908"/>
              <a:gd name="connsiteX95" fmla="*/ 3887146 w 4527226"/>
              <a:gd name="connsiteY95" fmla="*/ 5025828 h 6046908"/>
              <a:gd name="connsiteX96" fmla="*/ 4100506 w 4527226"/>
              <a:gd name="connsiteY96" fmla="*/ 5300148 h 6046908"/>
              <a:gd name="connsiteX97" fmla="*/ 4367206 w 4527226"/>
              <a:gd name="connsiteY97" fmla="*/ 5726868 h 6046908"/>
              <a:gd name="connsiteX98" fmla="*/ 4527226 w 4527226"/>
              <a:gd name="connsiteY98" fmla="*/ 6046908 h 6046908"/>
              <a:gd name="connsiteX0" fmla="*/ 602926 w 4527226"/>
              <a:gd name="connsiteY0" fmla="*/ 5223948 h 6046908"/>
              <a:gd name="connsiteX1" fmla="*/ 625786 w 4527226"/>
              <a:gd name="connsiteY1" fmla="*/ 5178228 h 6046908"/>
              <a:gd name="connsiteX2" fmla="*/ 701986 w 4527226"/>
              <a:gd name="connsiteY2" fmla="*/ 5071548 h 6046908"/>
              <a:gd name="connsiteX3" fmla="*/ 717226 w 4527226"/>
              <a:gd name="connsiteY3" fmla="*/ 5063928 h 6046908"/>
              <a:gd name="connsiteX4" fmla="*/ 709606 w 4527226"/>
              <a:gd name="connsiteY4" fmla="*/ 5025828 h 6046908"/>
              <a:gd name="connsiteX5" fmla="*/ 701986 w 4527226"/>
              <a:gd name="connsiteY5" fmla="*/ 5002968 h 6046908"/>
              <a:gd name="connsiteX6" fmla="*/ 968686 w 4527226"/>
              <a:gd name="connsiteY6" fmla="*/ 4682928 h 6046908"/>
              <a:gd name="connsiteX7" fmla="*/ 961066 w 4527226"/>
              <a:gd name="connsiteY7" fmla="*/ 4644828 h 6046908"/>
              <a:gd name="connsiteX8" fmla="*/ 1342066 w 4527226"/>
              <a:gd name="connsiteY8" fmla="*/ 4172388 h 6046908"/>
              <a:gd name="connsiteX9" fmla="*/ 1258246 w 4527226"/>
              <a:gd name="connsiteY9" fmla="*/ 4012368 h 6046908"/>
              <a:gd name="connsiteX10" fmla="*/ 1204906 w 4527226"/>
              <a:gd name="connsiteY10" fmla="*/ 3928548 h 6046908"/>
              <a:gd name="connsiteX11" fmla="*/ 1174426 w 4527226"/>
              <a:gd name="connsiteY11" fmla="*/ 3768528 h 6046908"/>
              <a:gd name="connsiteX12" fmla="*/ 1151566 w 4527226"/>
              <a:gd name="connsiteY12" fmla="*/ 3699948 h 6046908"/>
              <a:gd name="connsiteX13" fmla="*/ 1143946 w 4527226"/>
              <a:gd name="connsiteY13" fmla="*/ 3669468 h 6046908"/>
              <a:gd name="connsiteX14" fmla="*/ 1067746 w 4527226"/>
              <a:gd name="connsiteY14" fmla="*/ 3661848 h 6046908"/>
              <a:gd name="connsiteX15" fmla="*/ 938206 w 4527226"/>
              <a:gd name="connsiteY15" fmla="*/ 3669468 h 6046908"/>
              <a:gd name="connsiteX16" fmla="*/ 831526 w 4527226"/>
              <a:gd name="connsiteY16" fmla="*/ 3692328 h 6046908"/>
              <a:gd name="connsiteX17" fmla="*/ 610546 w 4527226"/>
              <a:gd name="connsiteY17" fmla="*/ 3738048 h 6046908"/>
              <a:gd name="connsiteX18" fmla="*/ 389566 w 4527226"/>
              <a:gd name="connsiteY18" fmla="*/ 3638988 h 6046908"/>
              <a:gd name="connsiteX19" fmla="*/ 381946 w 4527226"/>
              <a:gd name="connsiteY19" fmla="*/ 3326568 h 6046908"/>
              <a:gd name="connsiteX20" fmla="*/ 420046 w 4527226"/>
              <a:gd name="connsiteY20" fmla="*/ 3227508 h 6046908"/>
              <a:gd name="connsiteX21" fmla="*/ 389566 w 4527226"/>
              <a:gd name="connsiteY21" fmla="*/ 3166548 h 6046908"/>
              <a:gd name="connsiteX22" fmla="*/ 351466 w 4527226"/>
              <a:gd name="connsiteY22" fmla="*/ 3105588 h 6046908"/>
              <a:gd name="connsiteX23" fmla="*/ 397186 w 4527226"/>
              <a:gd name="connsiteY23" fmla="*/ 3021768 h 6046908"/>
              <a:gd name="connsiteX24" fmla="*/ 488626 w 4527226"/>
              <a:gd name="connsiteY24" fmla="*/ 2998908 h 6046908"/>
              <a:gd name="connsiteX25" fmla="*/ 471956 w 4527226"/>
              <a:gd name="connsiteY25" fmla="*/ 2942709 h 6046908"/>
              <a:gd name="connsiteX26" fmla="*/ 435286 w 4527226"/>
              <a:gd name="connsiteY26" fmla="*/ 2930328 h 6046908"/>
              <a:gd name="connsiteX27" fmla="*/ 389566 w 4527226"/>
              <a:gd name="connsiteY27" fmla="*/ 2930328 h 6046908"/>
              <a:gd name="connsiteX28" fmla="*/ 314000 w 4527226"/>
              <a:gd name="connsiteY28" fmla="*/ 2893495 h 6046908"/>
              <a:gd name="connsiteX29" fmla="*/ 320986 w 4527226"/>
              <a:gd name="connsiteY29" fmla="*/ 2846508 h 6046908"/>
              <a:gd name="connsiteX30" fmla="*/ 328606 w 4527226"/>
              <a:gd name="connsiteY30" fmla="*/ 2793168 h 6046908"/>
              <a:gd name="connsiteX31" fmla="*/ 313366 w 4527226"/>
              <a:gd name="connsiteY31" fmla="*/ 2732208 h 6046908"/>
              <a:gd name="connsiteX32" fmla="*/ 267646 w 4527226"/>
              <a:gd name="connsiteY32" fmla="*/ 2671248 h 6046908"/>
              <a:gd name="connsiteX33" fmla="*/ 176206 w 4527226"/>
              <a:gd name="connsiteY33" fmla="*/ 2656008 h 6046908"/>
              <a:gd name="connsiteX34" fmla="*/ 54286 w 4527226"/>
              <a:gd name="connsiteY34" fmla="*/ 2610288 h 6046908"/>
              <a:gd name="connsiteX35" fmla="*/ 7931 w 4527226"/>
              <a:gd name="connsiteY35" fmla="*/ 2563298 h 6046908"/>
              <a:gd name="connsiteX36" fmla="*/ 8566 w 4527226"/>
              <a:gd name="connsiteY36" fmla="*/ 2488368 h 6046908"/>
              <a:gd name="connsiteX37" fmla="*/ 92386 w 4527226"/>
              <a:gd name="connsiteY37" fmla="*/ 2335968 h 6046908"/>
              <a:gd name="connsiteX38" fmla="*/ 221926 w 4527226"/>
              <a:gd name="connsiteY38" fmla="*/ 2175948 h 6046908"/>
              <a:gd name="connsiteX39" fmla="*/ 282886 w 4527226"/>
              <a:gd name="connsiteY39" fmla="*/ 2084508 h 6046908"/>
              <a:gd name="connsiteX40" fmla="*/ 328606 w 4527226"/>
              <a:gd name="connsiteY40" fmla="*/ 1977828 h 6046908"/>
              <a:gd name="connsiteX41" fmla="*/ 359086 w 4527226"/>
              <a:gd name="connsiteY41" fmla="*/ 1871148 h 6046908"/>
              <a:gd name="connsiteX42" fmla="*/ 374326 w 4527226"/>
              <a:gd name="connsiteY42" fmla="*/ 1810188 h 6046908"/>
              <a:gd name="connsiteX43" fmla="*/ 343846 w 4527226"/>
              <a:gd name="connsiteY43" fmla="*/ 1756848 h 6046908"/>
              <a:gd name="connsiteX44" fmla="*/ 328606 w 4527226"/>
              <a:gd name="connsiteY44" fmla="*/ 1680648 h 6046908"/>
              <a:gd name="connsiteX45" fmla="*/ 412426 w 4527226"/>
              <a:gd name="connsiteY45" fmla="*/ 1474908 h 6046908"/>
              <a:gd name="connsiteX46" fmla="*/ 442906 w 4527226"/>
              <a:gd name="connsiteY46" fmla="*/ 1307268 h 6046908"/>
              <a:gd name="connsiteX47" fmla="*/ 465766 w 4527226"/>
              <a:gd name="connsiteY47" fmla="*/ 1192968 h 6046908"/>
              <a:gd name="connsiteX48" fmla="*/ 503866 w 4527226"/>
              <a:gd name="connsiteY48" fmla="*/ 1055808 h 6046908"/>
              <a:gd name="connsiteX49" fmla="*/ 557206 w 4527226"/>
              <a:gd name="connsiteY49" fmla="*/ 888168 h 6046908"/>
              <a:gd name="connsiteX50" fmla="*/ 503866 w 4527226"/>
              <a:gd name="connsiteY50" fmla="*/ 888168 h 6046908"/>
              <a:gd name="connsiteX51" fmla="*/ 412426 w 4527226"/>
              <a:gd name="connsiteY51" fmla="*/ 834828 h 6046908"/>
              <a:gd name="connsiteX52" fmla="*/ 328606 w 4527226"/>
              <a:gd name="connsiteY52" fmla="*/ 789108 h 6046908"/>
              <a:gd name="connsiteX53" fmla="*/ 260026 w 4527226"/>
              <a:gd name="connsiteY53" fmla="*/ 773868 h 6046908"/>
              <a:gd name="connsiteX54" fmla="*/ 214306 w 4527226"/>
              <a:gd name="connsiteY54" fmla="*/ 751008 h 6046908"/>
              <a:gd name="connsiteX55" fmla="*/ 260026 w 4527226"/>
              <a:gd name="connsiteY55" fmla="*/ 674808 h 6046908"/>
              <a:gd name="connsiteX56" fmla="*/ 374326 w 4527226"/>
              <a:gd name="connsiteY56" fmla="*/ 606228 h 6046908"/>
              <a:gd name="connsiteX57" fmla="*/ 557206 w 4527226"/>
              <a:gd name="connsiteY57" fmla="*/ 507168 h 6046908"/>
              <a:gd name="connsiteX58" fmla="*/ 656266 w 4527226"/>
              <a:gd name="connsiteY58" fmla="*/ 423348 h 6046908"/>
              <a:gd name="connsiteX59" fmla="*/ 892486 w 4527226"/>
              <a:gd name="connsiteY59" fmla="*/ 232848 h 6046908"/>
              <a:gd name="connsiteX60" fmla="*/ 1174426 w 4527226"/>
              <a:gd name="connsiteY60" fmla="*/ 80448 h 6046908"/>
              <a:gd name="connsiteX61" fmla="*/ 1593526 w 4527226"/>
              <a:gd name="connsiteY61" fmla="*/ 11868 h 6046908"/>
              <a:gd name="connsiteX62" fmla="*/ 1944046 w 4527226"/>
              <a:gd name="connsiteY62" fmla="*/ 4248 h 6046908"/>
              <a:gd name="connsiteX63" fmla="*/ 2172646 w 4527226"/>
              <a:gd name="connsiteY63" fmla="*/ 4248 h 6046908"/>
              <a:gd name="connsiteX64" fmla="*/ 2393626 w 4527226"/>
              <a:gd name="connsiteY64" fmla="*/ 57588 h 6046908"/>
              <a:gd name="connsiteX65" fmla="*/ 2667946 w 4527226"/>
              <a:gd name="connsiteY65" fmla="*/ 133788 h 6046908"/>
              <a:gd name="connsiteX66" fmla="*/ 2820346 w 4527226"/>
              <a:gd name="connsiteY66" fmla="*/ 202368 h 6046908"/>
              <a:gd name="connsiteX67" fmla="*/ 3102286 w 4527226"/>
              <a:gd name="connsiteY67" fmla="*/ 400488 h 6046908"/>
              <a:gd name="connsiteX68" fmla="*/ 3285166 w 4527226"/>
              <a:gd name="connsiteY68" fmla="*/ 651948 h 6046908"/>
              <a:gd name="connsiteX69" fmla="*/ 3407086 w 4527226"/>
              <a:gd name="connsiteY69" fmla="*/ 918648 h 6046908"/>
              <a:gd name="connsiteX70" fmla="*/ 3475666 w 4527226"/>
              <a:gd name="connsiteY70" fmla="*/ 1238688 h 6046908"/>
              <a:gd name="connsiteX71" fmla="*/ 3506146 w 4527226"/>
              <a:gd name="connsiteY71" fmla="*/ 1543488 h 6046908"/>
              <a:gd name="connsiteX72" fmla="*/ 3506146 w 4527226"/>
              <a:gd name="connsiteY72" fmla="*/ 1962588 h 6046908"/>
              <a:gd name="connsiteX73" fmla="*/ 3338506 w 4527226"/>
              <a:gd name="connsiteY73" fmla="*/ 2305488 h 6046908"/>
              <a:gd name="connsiteX74" fmla="*/ 3254686 w 4527226"/>
              <a:gd name="connsiteY74" fmla="*/ 2473128 h 6046908"/>
              <a:gd name="connsiteX75" fmla="*/ 3132766 w 4527226"/>
              <a:gd name="connsiteY75" fmla="*/ 2663628 h 6046908"/>
              <a:gd name="connsiteX76" fmla="*/ 3071806 w 4527226"/>
              <a:gd name="connsiteY76" fmla="*/ 2838888 h 6046908"/>
              <a:gd name="connsiteX77" fmla="*/ 3064186 w 4527226"/>
              <a:gd name="connsiteY77" fmla="*/ 2915088 h 6046908"/>
              <a:gd name="connsiteX78" fmla="*/ 3018466 w 4527226"/>
              <a:gd name="connsiteY78" fmla="*/ 3014148 h 6046908"/>
              <a:gd name="connsiteX79" fmla="*/ 2980366 w 4527226"/>
              <a:gd name="connsiteY79" fmla="*/ 3082728 h 6046908"/>
              <a:gd name="connsiteX80" fmla="*/ 2957506 w 4527226"/>
              <a:gd name="connsiteY80" fmla="*/ 3120828 h 6046908"/>
              <a:gd name="connsiteX81" fmla="*/ 2957506 w 4527226"/>
              <a:gd name="connsiteY81" fmla="*/ 3555168 h 6046908"/>
              <a:gd name="connsiteX82" fmla="*/ 3010846 w 4527226"/>
              <a:gd name="connsiteY82" fmla="*/ 3539928 h 6046908"/>
              <a:gd name="connsiteX83" fmla="*/ 3109906 w 4527226"/>
              <a:gd name="connsiteY83" fmla="*/ 3570408 h 6046908"/>
              <a:gd name="connsiteX84" fmla="*/ 3140386 w 4527226"/>
              <a:gd name="connsiteY84" fmla="*/ 3631368 h 6046908"/>
              <a:gd name="connsiteX85" fmla="*/ 3117526 w 4527226"/>
              <a:gd name="connsiteY85" fmla="*/ 3738048 h 6046908"/>
              <a:gd name="connsiteX86" fmla="*/ 3125146 w 4527226"/>
              <a:gd name="connsiteY86" fmla="*/ 4103808 h 6046908"/>
              <a:gd name="connsiteX87" fmla="*/ 3163246 w 4527226"/>
              <a:gd name="connsiteY87" fmla="*/ 4157148 h 6046908"/>
              <a:gd name="connsiteX88" fmla="*/ 3201346 w 4527226"/>
              <a:gd name="connsiteY88" fmla="*/ 4164768 h 6046908"/>
              <a:gd name="connsiteX89" fmla="*/ 3231826 w 4527226"/>
              <a:gd name="connsiteY89" fmla="*/ 4172388 h 6046908"/>
              <a:gd name="connsiteX90" fmla="*/ 3285166 w 4527226"/>
              <a:gd name="connsiteY90" fmla="*/ 4294308 h 6046908"/>
              <a:gd name="connsiteX91" fmla="*/ 3300406 w 4527226"/>
              <a:gd name="connsiteY91" fmla="*/ 4347648 h 6046908"/>
              <a:gd name="connsiteX92" fmla="*/ 3330886 w 4527226"/>
              <a:gd name="connsiteY92" fmla="*/ 4408608 h 6046908"/>
              <a:gd name="connsiteX93" fmla="*/ 3551866 w 4527226"/>
              <a:gd name="connsiteY93" fmla="*/ 4644828 h 6046908"/>
              <a:gd name="connsiteX94" fmla="*/ 3887146 w 4527226"/>
              <a:gd name="connsiteY94" fmla="*/ 5025828 h 6046908"/>
              <a:gd name="connsiteX95" fmla="*/ 4100506 w 4527226"/>
              <a:gd name="connsiteY95" fmla="*/ 5300148 h 6046908"/>
              <a:gd name="connsiteX96" fmla="*/ 4367206 w 4527226"/>
              <a:gd name="connsiteY96" fmla="*/ 5726868 h 6046908"/>
              <a:gd name="connsiteX97" fmla="*/ 4527226 w 4527226"/>
              <a:gd name="connsiteY97" fmla="*/ 6046908 h 6046908"/>
              <a:gd name="connsiteX0" fmla="*/ 625786 w 4527226"/>
              <a:gd name="connsiteY0" fmla="*/ 5178228 h 6046908"/>
              <a:gd name="connsiteX1" fmla="*/ 701986 w 4527226"/>
              <a:gd name="connsiteY1" fmla="*/ 5071548 h 6046908"/>
              <a:gd name="connsiteX2" fmla="*/ 717226 w 4527226"/>
              <a:gd name="connsiteY2" fmla="*/ 5063928 h 6046908"/>
              <a:gd name="connsiteX3" fmla="*/ 709606 w 4527226"/>
              <a:gd name="connsiteY3" fmla="*/ 5025828 h 6046908"/>
              <a:gd name="connsiteX4" fmla="*/ 701986 w 4527226"/>
              <a:gd name="connsiteY4" fmla="*/ 5002968 h 6046908"/>
              <a:gd name="connsiteX5" fmla="*/ 968686 w 4527226"/>
              <a:gd name="connsiteY5" fmla="*/ 4682928 h 6046908"/>
              <a:gd name="connsiteX6" fmla="*/ 961066 w 4527226"/>
              <a:gd name="connsiteY6" fmla="*/ 4644828 h 6046908"/>
              <a:gd name="connsiteX7" fmla="*/ 1342066 w 4527226"/>
              <a:gd name="connsiteY7" fmla="*/ 4172388 h 6046908"/>
              <a:gd name="connsiteX8" fmla="*/ 1258246 w 4527226"/>
              <a:gd name="connsiteY8" fmla="*/ 4012368 h 6046908"/>
              <a:gd name="connsiteX9" fmla="*/ 1204906 w 4527226"/>
              <a:gd name="connsiteY9" fmla="*/ 3928548 h 6046908"/>
              <a:gd name="connsiteX10" fmla="*/ 1174426 w 4527226"/>
              <a:gd name="connsiteY10" fmla="*/ 3768528 h 6046908"/>
              <a:gd name="connsiteX11" fmla="*/ 1151566 w 4527226"/>
              <a:gd name="connsiteY11" fmla="*/ 3699948 h 6046908"/>
              <a:gd name="connsiteX12" fmla="*/ 1143946 w 4527226"/>
              <a:gd name="connsiteY12" fmla="*/ 3669468 h 6046908"/>
              <a:gd name="connsiteX13" fmla="*/ 1067746 w 4527226"/>
              <a:gd name="connsiteY13" fmla="*/ 3661848 h 6046908"/>
              <a:gd name="connsiteX14" fmla="*/ 938206 w 4527226"/>
              <a:gd name="connsiteY14" fmla="*/ 3669468 h 6046908"/>
              <a:gd name="connsiteX15" fmla="*/ 831526 w 4527226"/>
              <a:gd name="connsiteY15" fmla="*/ 3692328 h 6046908"/>
              <a:gd name="connsiteX16" fmla="*/ 610546 w 4527226"/>
              <a:gd name="connsiteY16" fmla="*/ 3738048 h 6046908"/>
              <a:gd name="connsiteX17" fmla="*/ 389566 w 4527226"/>
              <a:gd name="connsiteY17" fmla="*/ 3638988 h 6046908"/>
              <a:gd name="connsiteX18" fmla="*/ 381946 w 4527226"/>
              <a:gd name="connsiteY18" fmla="*/ 3326568 h 6046908"/>
              <a:gd name="connsiteX19" fmla="*/ 420046 w 4527226"/>
              <a:gd name="connsiteY19" fmla="*/ 3227508 h 6046908"/>
              <a:gd name="connsiteX20" fmla="*/ 389566 w 4527226"/>
              <a:gd name="connsiteY20" fmla="*/ 3166548 h 6046908"/>
              <a:gd name="connsiteX21" fmla="*/ 351466 w 4527226"/>
              <a:gd name="connsiteY21" fmla="*/ 3105588 h 6046908"/>
              <a:gd name="connsiteX22" fmla="*/ 397186 w 4527226"/>
              <a:gd name="connsiteY22" fmla="*/ 3021768 h 6046908"/>
              <a:gd name="connsiteX23" fmla="*/ 488626 w 4527226"/>
              <a:gd name="connsiteY23" fmla="*/ 2998908 h 6046908"/>
              <a:gd name="connsiteX24" fmla="*/ 471956 w 4527226"/>
              <a:gd name="connsiteY24" fmla="*/ 2942709 h 6046908"/>
              <a:gd name="connsiteX25" fmla="*/ 435286 w 4527226"/>
              <a:gd name="connsiteY25" fmla="*/ 2930328 h 6046908"/>
              <a:gd name="connsiteX26" fmla="*/ 389566 w 4527226"/>
              <a:gd name="connsiteY26" fmla="*/ 2930328 h 6046908"/>
              <a:gd name="connsiteX27" fmla="*/ 314000 w 4527226"/>
              <a:gd name="connsiteY27" fmla="*/ 2893495 h 6046908"/>
              <a:gd name="connsiteX28" fmla="*/ 320986 w 4527226"/>
              <a:gd name="connsiteY28" fmla="*/ 2846508 h 6046908"/>
              <a:gd name="connsiteX29" fmla="*/ 328606 w 4527226"/>
              <a:gd name="connsiteY29" fmla="*/ 2793168 h 6046908"/>
              <a:gd name="connsiteX30" fmla="*/ 313366 w 4527226"/>
              <a:gd name="connsiteY30" fmla="*/ 2732208 h 6046908"/>
              <a:gd name="connsiteX31" fmla="*/ 267646 w 4527226"/>
              <a:gd name="connsiteY31" fmla="*/ 2671248 h 6046908"/>
              <a:gd name="connsiteX32" fmla="*/ 176206 w 4527226"/>
              <a:gd name="connsiteY32" fmla="*/ 2656008 h 6046908"/>
              <a:gd name="connsiteX33" fmla="*/ 54286 w 4527226"/>
              <a:gd name="connsiteY33" fmla="*/ 2610288 h 6046908"/>
              <a:gd name="connsiteX34" fmla="*/ 7931 w 4527226"/>
              <a:gd name="connsiteY34" fmla="*/ 2563298 h 6046908"/>
              <a:gd name="connsiteX35" fmla="*/ 8566 w 4527226"/>
              <a:gd name="connsiteY35" fmla="*/ 2488368 h 6046908"/>
              <a:gd name="connsiteX36" fmla="*/ 92386 w 4527226"/>
              <a:gd name="connsiteY36" fmla="*/ 2335968 h 6046908"/>
              <a:gd name="connsiteX37" fmla="*/ 221926 w 4527226"/>
              <a:gd name="connsiteY37" fmla="*/ 2175948 h 6046908"/>
              <a:gd name="connsiteX38" fmla="*/ 282886 w 4527226"/>
              <a:gd name="connsiteY38" fmla="*/ 2084508 h 6046908"/>
              <a:gd name="connsiteX39" fmla="*/ 328606 w 4527226"/>
              <a:gd name="connsiteY39" fmla="*/ 1977828 h 6046908"/>
              <a:gd name="connsiteX40" fmla="*/ 359086 w 4527226"/>
              <a:gd name="connsiteY40" fmla="*/ 1871148 h 6046908"/>
              <a:gd name="connsiteX41" fmla="*/ 374326 w 4527226"/>
              <a:gd name="connsiteY41" fmla="*/ 1810188 h 6046908"/>
              <a:gd name="connsiteX42" fmla="*/ 343846 w 4527226"/>
              <a:gd name="connsiteY42" fmla="*/ 1756848 h 6046908"/>
              <a:gd name="connsiteX43" fmla="*/ 328606 w 4527226"/>
              <a:gd name="connsiteY43" fmla="*/ 1680648 h 6046908"/>
              <a:gd name="connsiteX44" fmla="*/ 412426 w 4527226"/>
              <a:gd name="connsiteY44" fmla="*/ 1474908 h 6046908"/>
              <a:gd name="connsiteX45" fmla="*/ 442906 w 4527226"/>
              <a:gd name="connsiteY45" fmla="*/ 1307268 h 6046908"/>
              <a:gd name="connsiteX46" fmla="*/ 465766 w 4527226"/>
              <a:gd name="connsiteY46" fmla="*/ 1192968 h 6046908"/>
              <a:gd name="connsiteX47" fmla="*/ 503866 w 4527226"/>
              <a:gd name="connsiteY47" fmla="*/ 1055808 h 6046908"/>
              <a:gd name="connsiteX48" fmla="*/ 557206 w 4527226"/>
              <a:gd name="connsiteY48" fmla="*/ 888168 h 6046908"/>
              <a:gd name="connsiteX49" fmla="*/ 503866 w 4527226"/>
              <a:gd name="connsiteY49" fmla="*/ 888168 h 6046908"/>
              <a:gd name="connsiteX50" fmla="*/ 412426 w 4527226"/>
              <a:gd name="connsiteY50" fmla="*/ 834828 h 6046908"/>
              <a:gd name="connsiteX51" fmla="*/ 328606 w 4527226"/>
              <a:gd name="connsiteY51" fmla="*/ 789108 h 6046908"/>
              <a:gd name="connsiteX52" fmla="*/ 260026 w 4527226"/>
              <a:gd name="connsiteY52" fmla="*/ 773868 h 6046908"/>
              <a:gd name="connsiteX53" fmla="*/ 214306 w 4527226"/>
              <a:gd name="connsiteY53" fmla="*/ 751008 h 6046908"/>
              <a:gd name="connsiteX54" fmla="*/ 260026 w 4527226"/>
              <a:gd name="connsiteY54" fmla="*/ 674808 h 6046908"/>
              <a:gd name="connsiteX55" fmla="*/ 374326 w 4527226"/>
              <a:gd name="connsiteY55" fmla="*/ 606228 h 6046908"/>
              <a:gd name="connsiteX56" fmla="*/ 557206 w 4527226"/>
              <a:gd name="connsiteY56" fmla="*/ 507168 h 6046908"/>
              <a:gd name="connsiteX57" fmla="*/ 656266 w 4527226"/>
              <a:gd name="connsiteY57" fmla="*/ 423348 h 6046908"/>
              <a:gd name="connsiteX58" fmla="*/ 892486 w 4527226"/>
              <a:gd name="connsiteY58" fmla="*/ 232848 h 6046908"/>
              <a:gd name="connsiteX59" fmla="*/ 1174426 w 4527226"/>
              <a:gd name="connsiteY59" fmla="*/ 80448 h 6046908"/>
              <a:gd name="connsiteX60" fmla="*/ 1593526 w 4527226"/>
              <a:gd name="connsiteY60" fmla="*/ 11868 h 6046908"/>
              <a:gd name="connsiteX61" fmla="*/ 1944046 w 4527226"/>
              <a:gd name="connsiteY61" fmla="*/ 4248 h 6046908"/>
              <a:gd name="connsiteX62" fmla="*/ 2172646 w 4527226"/>
              <a:gd name="connsiteY62" fmla="*/ 4248 h 6046908"/>
              <a:gd name="connsiteX63" fmla="*/ 2393626 w 4527226"/>
              <a:gd name="connsiteY63" fmla="*/ 57588 h 6046908"/>
              <a:gd name="connsiteX64" fmla="*/ 2667946 w 4527226"/>
              <a:gd name="connsiteY64" fmla="*/ 133788 h 6046908"/>
              <a:gd name="connsiteX65" fmla="*/ 2820346 w 4527226"/>
              <a:gd name="connsiteY65" fmla="*/ 202368 h 6046908"/>
              <a:gd name="connsiteX66" fmla="*/ 3102286 w 4527226"/>
              <a:gd name="connsiteY66" fmla="*/ 400488 h 6046908"/>
              <a:gd name="connsiteX67" fmla="*/ 3285166 w 4527226"/>
              <a:gd name="connsiteY67" fmla="*/ 651948 h 6046908"/>
              <a:gd name="connsiteX68" fmla="*/ 3407086 w 4527226"/>
              <a:gd name="connsiteY68" fmla="*/ 918648 h 6046908"/>
              <a:gd name="connsiteX69" fmla="*/ 3475666 w 4527226"/>
              <a:gd name="connsiteY69" fmla="*/ 1238688 h 6046908"/>
              <a:gd name="connsiteX70" fmla="*/ 3506146 w 4527226"/>
              <a:gd name="connsiteY70" fmla="*/ 1543488 h 6046908"/>
              <a:gd name="connsiteX71" fmla="*/ 3506146 w 4527226"/>
              <a:gd name="connsiteY71" fmla="*/ 1962588 h 6046908"/>
              <a:gd name="connsiteX72" fmla="*/ 3338506 w 4527226"/>
              <a:gd name="connsiteY72" fmla="*/ 2305488 h 6046908"/>
              <a:gd name="connsiteX73" fmla="*/ 3254686 w 4527226"/>
              <a:gd name="connsiteY73" fmla="*/ 2473128 h 6046908"/>
              <a:gd name="connsiteX74" fmla="*/ 3132766 w 4527226"/>
              <a:gd name="connsiteY74" fmla="*/ 2663628 h 6046908"/>
              <a:gd name="connsiteX75" fmla="*/ 3071806 w 4527226"/>
              <a:gd name="connsiteY75" fmla="*/ 2838888 h 6046908"/>
              <a:gd name="connsiteX76" fmla="*/ 3064186 w 4527226"/>
              <a:gd name="connsiteY76" fmla="*/ 2915088 h 6046908"/>
              <a:gd name="connsiteX77" fmla="*/ 3018466 w 4527226"/>
              <a:gd name="connsiteY77" fmla="*/ 3014148 h 6046908"/>
              <a:gd name="connsiteX78" fmla="*/ 2980366 w 4527226"/>
              <a:gd name="connsiteY78" fmla="*/ 3082728 h 6046908"/>
              <a:gd name="connsiteX79" fmla="*/ 2957506 w 4527226"/>
              <a:gd name="connsiteY79" fmla="*/ 3120828 h 6046908"/>
              <a:gd name="connsiteX80" fmla="*/ 2957506 w 4527226"/>
              <a:gd name="connsiteY80" fmla="*/ 3555168 h 6046908"/>
              <a:gd name="connsiteX81" fmla="*/ 3010846 w 4527226"/>
              <a:gd name="connsiteY81" fmla="*/ 3539928 h 6046908"/>
              <a:gd name="connsiteX82" fmla="*/ 3109906 w 4527226"/>
              <a:gd name="connsiteY82" fmla="*/ 3570408 h 6046908"/>
              <a:gd name="connsiteX83" fmla="*/ 3140386 w 4527226"/>
              <a:gd name="connsiteY83" fmla="*/ 3631368 h 6046908"/>
              <a:gd name="connsiteX84" fmla="*/ 3117526 w 4527226"/>
              <a:gd name="connsiteY84" fmla="*/ 3738048 h 6046908"/>
              <a:gd name="connsiteX85" fmla="*/ 3125146 w 4527226"/>
              <a:gd name="connsiteY85" fmla="*/ 4103808 h 6046908"/>
              <a:gd name="connsiteX86" fmla="*/ 3163246 w 4527226"/>
              <a:gd name="connsiteY86" fmla="*/ 4157148 h 6046908"/>
              <a:gd name="connsiteX87" fmla="*/ 3201346 w 4527226"/>
              <a:gd name="connsiteY87" fmla="*/ 4164768 h 6046908"/>
              <a:gd name="connsiteX88" fmla="*/ 3231826 w 4527226"/>
              <a:gd name="connsiteY88" fmla="*/ 4172388 h 6046908"/>
              <a:gd name="connsiteX89" fmla="*/ 3285166 w 4527226"/>
              <a:gd name="connsiteY89" fmla="*/ 4294308 h 6046908"/>
              <a:gd name="connsiteX90" fmla="*/ 3300406 w 4527226"/>
              <a:gd name="connsiteY90" fmla="*/ 4347648 h 6046908"/>
              <a:gd name="connsiteX91" fmla="*/ 3330886 w 4527226"/>
              <a:gd name="connsiteY91" fmla="*/ 4408608 h 6046908"/>
              <a:gd name="connsiteX92" fmla="*/ 3551866 w 4527226"/>
              <a:gd name="connsiteY92" fmla="*/ 4644828 h 6046908"/>
              <a:gd name="connsiteX93" fmla="*/ 3887146 w 4527226"/>
              <a:gd name="connsiteY93" fmla="*/ 5025828 h 6046908"/>
              <a:gd name="connsiteX94" fmla="*/ 4100506 w 4527226"/>
              <a:gd name="connsiteY94" fmla="*/ 5300148 h 6046908"/>
              <a:gd name="connsiteX95" fmla="*/ 4367206 w 4527226"/>
              <a:gd name="connsiteY95" fmla="*/ 5726868 h 6046908"/>
              <a:gd name="connsiteX96" fmla="*/ 4527226 w 4527226"/>
              <a:gd name="connsiteY96" fmla="*/ 6046908 h 6046908"/>
              <a:gd name="connsiteX0" fmla="*/ 701986 w 4527226"/>
              <a:gd name="connsiteY0" fmla="*/ 5071548 h 6046908"/>
              <a:gd name="connsiteX1" fmla="*/ 717226 w 4527226"/>
              <a:gd name="connsiteY1" fmla="*/ 5063928 h 6046908"/>
              <a:gd name="connsiteX2" fmla="*/ 709606 w 4527226"/>
              <a:gd name="connsiteY2" fmla="*/ 5025828 h 6046908"/>
              <a:gd name="connsiteX3" fmla="*/ 701986 w 4527226"/>
              <a:gd name="connsiteY3" fmla="*/ 5002968 h 6046908"/>
              <a:gd name="connsiteX4" fmla="*/ 968686 w 4527226"/>
              <a:gd name="connsiteY4" fmla="*/ 4682928 h 6046908"/>
              <a:gd name="connsiteX5" fmla="*/ 961066 w 4527226"/>
              <a:gd name="connsiteY5" fmla="*/ 4644828 h 6046908"/>
              <a:gd name="connsiteX6" fmla="*/ 1342066 w 4527226"/>
              <a:gd name="connsiteY6" fmla="*/ 4172388 h 6046908"/>
              <a:gd name="connsiteX7" fmla="*/ 1258246 w 4527226"/>
              <a:gd name="connsiteY7" fmla="*/ 4012368 h 6046908"/>
              <a:gd name="connsiteX8" fmla="*/ 1204906 w 4527226"/>
              <a:gd name="connsiteY8" fmla="*/ 3928548 h 6046908"/>
              <a:gd name="connsiteX9" fmla="*/ 1174426 w 4527226"/>
              <a:gd name="connsiteY9" fmla="*/ 3768528 h 6046908"/>
              <a:gd name="connsiteX10" fmla="*/ 1151566 w 4527226"/>
              <a:gd name="connsiteY10" fmla="*/ 3699948 h 6046908"/>
              <a:gd name="connsiteX11" fmla="*/ 1143946 w 4527226"/>
              <a:gd name="connsiteY11" fmla="*/ 3669468 h 6046908"/>
              <a:gd name="connsiteX12" fmla="*/ 1067746 w 4527226"/>
              <a:gd name="connsiteY12" fmla="*/ 3661848 h 6046908"/>
              <a:gd name="connsiteX13" fmla="*/ 938206 w 4527226"/>
              <a:gd name="connsiteY13" fmla="*/ 3669468 h 6046908"/>
              <a:gd name="connsiteX14" fmla="*/ 831526 w 4527226"/>
              <a:gd name="connsiteY14" fmla="*/ 3692328 h 6046908"/>
              <a:gd name="connsiteX15" fmla="*/ 610546 w 4527226"/>
              <a:gd name="connsiteY15" fmla="*/ 3738048 h 6046908"/>
              <a:gd name="connsiteX16" fmla="*/ 389566 w 4527226"/>
              <a:gd name="connsiteY16" fmla="*/ 3638988 h 6046908"/>
              <a:gd name="connsiteX17" fmla="*/ 381946 w 4527226"/>
              <a:gd name="connsiteY17" fmla="*/ 3326568 h 6046908"/>
              <a:gd name="connsiteX18" fmla="*/ 420046 w 4527226"/>
              <a:gd name="connsiteY18" fmla="*/ 3227508 h 6046908"/>
              <a:gd name="connsiteX19" fmla="*/ 389566 w 4527226"/>
              <a:gd name="connsiteY19" fmla="*/ 3166548 h 6046908"/>
              <a:gd name="connsiteX20" fmla="*/ 351466 w 4527226"/>
              <a:gd name="connsiteY20" fmla="*/ 3105588 h 6046908"/>
              <a:gd name="connsiteX21" fmla="*/ 397186 w 4527226"/>
              <a:gd name="connsiteY21" fmla="*/ 3021768 h 6046908"/>
              <a:gd name="connsiteX22" fmla="*/ 488626 w 4527226"/>
              <a:gd name="connsiteY22" fmla="*/ 2998908 h 6046908"/>
              <a:gd name="connsiteX23" fmla="*/ 471956 w 4527226"/>
              <a:gd name="connsiteY23" fmla="*/ 2942709 h 6046908"/>
              <a:gd name="connsiteX24" fmla="*/ 435286 w 4527226"/>
              <a:gd name="connsiteY24" fmla="*/ 2930328 h 6046908"/>
              <a:gd name="connsiteX25" fmla="*/ 389566 w 4527226"/>
              <a:gd name="connsiteY25" fmla="*/ 2930328 h 6046908"/>
              <a:gd name="connsiteX26" fmla="*/ 314000 w 4527226"/>
              <a:gd name="connsiteY26" fmla="*/ 2893495 h 6046908"/>
              <a:gd name="connsiteX27" fmla="*/ 320986 w 4527226"/>
              <a:gd name="connsiteY27" fmla="*/ 2846508 h 6046908"/>
              <a:gd name="connsiteX28" fmla="*/ 328606 w 4527226"/>
              <a:gd name="connsiteY28" fmla="*/ 2793168 h 6046908"/>
              <a:gd name="connsiteX29" fmla="*/ 313366 w 4527226"/>
              <a:gd name="connsiteY29" fmla="*/ 2732208 h 6046908"/>
              <a:gd name="connsiteX30" fmla="*/ 267646 w 4527226"/>
              <a:gd name="connsiteY30" fmla="*/ 2671248 h 6046908"/>
              <a:gd name="connsiteX31" fmla="*/ 176206 w 4527226"/>
              <a:gd name="connsiteY31" fmla="*/ 2656008 h 6046908"/>
              <a:gd name="connsiteX32" fmla="*/ 54286 w 4527226"/>
              <a:gd name="connsiteY32" fmla="*/ 2610288 h 6046908"/>
              <a:gd name="connsiteX33" fmla="*/ 7931 w 4527226"/>
              <a:gd name="connsiteY33" fmla="*/ 2563298 h 6046908"/>
              <a:gd name="connsiteX34" fmla="*/ 8566 w 4527226"/>
              <a:gd name="connsiteY34" fmla="*/ 2488368 h 6046908"/>
              <a:gd name="connsiteX35" fmla="*/ 92386 w 4527226"/>
              <a:gd name="connsiteY35" fmla="*/ 2335968 h 6046908"/>
              <a:gd name="connsiteX36" fmla="*/ 221926 w 4527226"/>
              <a:gd name="connsiteY36" fmla="*/ 2175948 h 6046908"/>
              <a:gd name="connsiteX37" fmla="*/ 282886 w 4527226"/>
              <a:gd name="connsiteY37" fmla="*/ 2084508 h 6046908"/>
              <a:gd name="connsiteX38" fmla="*/ 328606 w 4527226"/>
              <a:gd name="connsiteY38" fmla="*/ 1977828 h 6046908"/>
              <a:gd name="connsiteX39" fmla="*/ 359086 w 4527226"/>
              <a:gd name="connsiteY39" fmla="*/ 1871148 h 6046908"/>
              <a:gd name="connsiteX40" fmla="*/ 374326 w 4527226"/>
              <a:gd name="connsiteY40" fmla="*/ 1810188 h 6046908"/>
              <a:gd name="connsiteX41" fmla="*/ 343846 w 4527226"/>
              <a:gd name="connsiteY41" fmla="*/ 1756848 h 6046908"/>
              <a:gd name="connsiteX42" fmla="*/ 328606 w 4527226"/>
              <a:gd name="connsiteY42" fmla="*/ 1680648 h 6046908"/>
              <a:gd name="connsiteX43" fmla="*/ 412426 w 4527226"/>
              <a:gd name="connsiteY43" fmla="*/ 1474908 h 6046908"/>
              <a:gd name="connsiteX44" fmla="*/ 442906 w 4527226"/>
              <a:gd name="connsiteY44" fmla="*/ 1307268 h 6046908"/>
              <a:gd name="connsiteX45" fmla="*/ 465766 w 4527226"/>
              <a:gd name="connsiteY45" fmla="*/ 1192968 h 6046908"/>
              <a:gd name="connsiteX46" fmla="*/ 503866 w 4527226"/>
              <a:gd name="connsiteY46" fmla="*/ 1055808 h 6046908"/>
              <a:gd name="connsiteX47" fmla="*/ 557206 w 4527226"/>
              <a:gd name="connsiteY47" fmla="*/ 888168 h 6046908"/>
              <a:gd name="connsiteX48" fmla="*/ 503866 w 4527226"/>
              <a:gd name="connsiteY48" fmla="*/ 888168 h 6046908"/>
              <a:gd name="connsiteX49" fmla="*/ 412426 w 4527226"/>
              <a:gd name="connsiteY49" fmla="*/ 834828 h 6046908"/>
              <a:gd name="connsiteX50" fmla="*/ 328606 w 4527226"/>
              <a:gd name="connsiteY50" fmla="*/ 789108 h 6046908"/>
              <a:gd name="connsiteX51" fmla="*/ 260026 w 4527226"/>
              <a:gd name="connsiteY51" fmla="*/ 773868 h 6046908"/>
              <a:gd name="connsiteX52" fmla="*/ 214306 w 4527226"/>
              <a:gd name="connsiteY52" fmla="*/ 751008 h 6046908"/>
              <a:gd name="connsiteX53" fmla="*/ 260026 w 4527226"/>
              <a:gd name="connsiteY53" fmla="*/ 674808 h 6046908"/>
              <a:gd name="connsiteX54" fmla="*/ 374326 w 4527226"/>
              <a:gd name="connsiteY54" fmla="*/ 606228 h 6046908"/>
              <a:gd name="connsiteX55" fmla="*/ 557206 w 4527226"/>
              <a:gd name="connsiteY55" fmla="*/ 507168 h 6046908"/>
              <a:gd name="connsiteX56" fmla="*/ 656266 w 4527226"/>
              <a:gd name="connsiteY56" fmla="*/ 423348 h 6046908"/>
              <a:gd name="connsiteX57" fmla="*/ 892486 w 4527226"/>
              <a:gd name="connsiteY57" fmla="*/ 232848 h 6046908"/>
              <a:gd name="connsiteX58" fmla="*/ 1174426 w 4527226"/>
              <a:gd name="connsiteY58" fmla="*/ 80448 h 6046908"/>
              <a:gd name="connsiteX59" fmla="*/ 1593526 w 4527226"/>
              <a:gd name="connsiteY59" fmla="*/ 11868 h 6046908"/>
              <a:gd name="connsiteX60" fmla="*/ 1944046 w 4527226"/>
              <a:gd name="connsiteY60" fmla="*/ 4248 h 6046908"/>
              <a:gd name="connsiteX61" fmla="*/ 2172646 w 4527226"/>
              <a:gd name="connsiteY61" fmla="*/ 4248 h 6046908"/>
              <a:gd name="connsiteX62" fmla="*/ 2393626 w 4527226"/>
              <a:gd name="connsiteY62" fmla="*/ 57588 h 6046908"/>
              <a:gd name="connsiteX63" fmla="*/ 2667946 w 4527226"/>
              <a:gd name="connsiteY63" fmla="*/ 133788 h 6046908"/>
              <a:gd name="connsiteX64" fmla="*/ 2820346 w 4527226"/>
              <a:gd name="connsiteY64" fmla="*/ 202368 h 6046908"/>
              <a:gd name="connsiteX65" fmla="*/ 3102286 w 4527226"/>
              <a:gd name="connsiteY65" fmla="*/ 400488 h 6046908"/>
              <a:gd name="connsiteX66" fmla="*/ 3285166 w 4527226"/>
              <a:gd name="connsiteY66" fmla="*/ 651948 h 6046908"/>
              <a:gd name="connsiteX67" fmla="*/ 3407086 w 4527226"/>
              <a:gd name="connsiteY67" fmla="*/ 918648 h 6046908"/>
              <a:gd name="connsiteX68" fmla="*/ 3475666 w 4527226"/>
              <a:gd name="connsiteY68" fmla="*/ 1238688 h 6046908"/>
              <a:gd name="connsiteX69" fmla="*/ 3506146 w 4527226"/>
              <a:gd name="connsiteY69" fmla="*/ 1543488 h 6046908"/>
              <a:gd name="connsiteX70" fmla="*/ 3506146 w 4527226"/>
              <a:gd name="connsiteY70" fmla="*/ 1962588 h 6046908"/>
              <a:gd name="connsiteX71" fmla="*/ 3338506 w 4527226"/>
              <a:gd name="connsiteY71" fmla="*/ 2305488 h 6046908"/>
              <a:gd name="connsiteX72" fmla="*/ 3254686 w 4527226"/>
              <a:gd name="connsiteY72" fmla="*/ 2473128 h 6046908"/>
              <a:gd name="connsiteX73" fmla="*/ 3132766 w 4527226"/>
              <a:gd name="connsiteY73" fmla="*/ 2663628 h 6046908"/>
              <a:gd name="connsiteX74" fmla="*/ 3071806 w 4527226"/>
              <a:gd name="connsiteY74" fmla="*/ 2838888 h 6046908"/>
              <a:gd name="connsiteX75" fmla="*/ 3064186 w 4527226"/>
              <a:gd name="connsiteY75" fmla="*/ 2915088 h 6046908"/>
              <a:gd name="connsiteX76" fmla="*/ 3018466 w 4527226"/>
              <a:gd name="connsiteY76" fmla="*/ 3014148 h 6046908"/>
              <a:gd name="connsiteX77" fmla="*/ 2980366 w 4527226"/>
              <a:gd name="connsiteY77" fmla="*/ 3082728 h 6046908"/>
              <a:gd name="connsiteX78" fmla="*/ 2957506 w 4527226"/>
              <a:gd name="connsiteY78" fmla="*/ 3120828 h 6046908"/>
              <a:gd name="connsiteX79" fmla="*/ 2957506 w 4527226"/>
              <a:gd name="connsiteY79" fmla="*/ 3555168 h 6046908"/>
              <a:gd name="connsiteX80" fmla="*/ 3010846 w 4527226"/>
              <a:gd name="connsiteY80" fmla="*/ 3539928 h 6046908"/>
              <a:gd name="connsiteX81" fmla="*/ 3109906 w 4527226"/>
              <a:gd name="connsiteY81" fmla="*/ 3570408 h 6046908"/>
              <a:gd name="connsiteX82" fmla="*/ 3140386 w 4527226"/>
              <a:gd name="connsiteY82" fmla="*/ 3631368 h 6046908"/>
              <a:gd name="connsiteX83" fmla="*/ 3117526 w 4527226"/>
              <a:gd name="connsiteY83" fmla="*/ 3738048 h 6046908"/>
              <a:gd name="connsiteX84" fmla="*/ 3125146 w 4527226"/>
              <a:gd name="connsiteY84" fmla="*/ 4103808 h 6046908"/>
              <a:gd name="connsiteX85" fmla="*/ 3163246 w 4527226"/>
              <a:gd name="connsiteY85" fmla="*/ 4157148 h 6046908"/>
              <a:gd name="connsiteX86" fmla="*/ 3201346 w 4527226"/>
              <a:gd name="connsiteY86" fmla="*/ 4164768 h 6046908"/>
              <a:gd name="connsiteX87" fmla="*/ 3231826 w 4527226"/>
              <a:gd name="connsiteY87" fmla="*/ 4172388 h 6046908"/>
              <a:gd name="connsiteX88" fmla="*/ 3285166 w 4527226"/>
              <a:gd name="connsiteY88" fmla="*/ 4294308 h 6046908"/>
              <a:gd name="connsiteX89" fmla="*/ 3300406 w 4527226"/>
              <a:gd name="connsiteY89" fmla="*/ 4347648 h 6046908"/>
              <a:gd name="connsiteX90" fmla="*/ 3330886 w 4527226"/>
              <a:gd name="connsiteY90" fmla="*/ 4408608 h 6046908"/>
              <a:gd name="connsiteX91" fmla="*/ 3551866 w 4527226"/>
              <a:gd name="connsiteY91" fmla="*/ 4644828 h 6046908"/>
              <a:gd name="connsiteX92" fmla="*/ 3887146 w 4527226"/>
              <a:gd name="connsiteY92" fmla="*/ 5025828 h 6046908"/>
              <a:gd name="connsiteX93" fmla="*/ 4100506 w 4527226"/>
              <a:gd name="connsiteY93" fmla="*/ 5300148 h 6046908"/>
              <a:gd name="connsiteX94" fmla="*/ 4367206 w 4527226"/>
              <a:gd name="connsiteY94" fmla="*/ 5726868 h 6046908"/>
              <a:gd name="connsiteX95" fmla="*/ 4527226 w 4527226"/>
              <a:gd name="connsiteY95" fmla="*/ 6046908 h 6046908"/>
              <a:gd name="connsiteX0" fmla="*/ 717226 w 4527226"/>
              <a:gd name="connsiteY0" fmla="*/ 5063928 h 6046908"/>
              <a:gd name="connsiteX1" fmla="*/ 709606 w 4527226"/>
              <a:gd name="connsiteY1" fmla="*/ 5025828 h 6046908"/>
              <a:gd name="connsiteX2" fmla="*/ 701986 w 4527226"/>
              <a:gd name="connsiteY2" fmla="*/ 5002968 h 6046908"/>
              <a:gd name="connsiteX3" fmla="*/ 968686 w 4527226"/>
              <a:gd name="connsiteY3" fmla="*/ 4682928 h 6046908"/>
              <a:gd name="connsiteX4" fmla="*/ 961066 w 4527226"/>
              <a:gd name="connsiteY4" fmla="*/ 4644828 h 6046908"/>
              <a:gd name="connsiteX5" fmla="*/ 1342066 w 4527226"/>
              <a:gd name="connsiteY5" fmla="*/ 4172388 h 6046908"/>
              <a:gd name="connsiteX6" fmla="*/ 1258246 w 4527226"/>
              <a:gd name="connsiteY6" fmla="*/ 4012368 h 6046908"/>
              <a:gd name="connsiteX7" fmla="*/ 1204906 w 4527226"/>
              <a:gd name="connsiteY7" fmla="*/ 3928548 h 6046908"/>
              <a:gd name="connsiteX8" fmla="*/ 1174426 w 4527226"/>
              <a:gd name="connsiteY8" fmla="*/ 3768528 h 6046908"/>
              <a:gd name="connsiteX9" fmla="*/ 1151566 w 4527226"/>
              <a:gd name="connsiteY9" fmla="*/ 3699948 h 6046908"/>
              <a:gd name="connsiteX10" fmla="*/ 1143946 w 4527226"/>
              <a:gd name="connsiteY10" fmla="*/ 3669468 h 6046908"/>
              <a:gd name="connsiteX11" fmla="*/ 1067746 w 4527226"/>
              <a:gd name="connsiteY11" fmla="*/ 3661848 h 6046908"/>
              <a:gd name="connsiteX12" fmla="*/ 938206 w 4527226"/>
              <a:gd name="connsiteY12" fmla="*/ 3669468 h 6046908"/>
              <a:gd name="connsiteX13" fmla="*/ 831526 w 4527226"/>
              <a:gd name="connsiteY13" fmla="*/ 3692328 h 6046908"/>
              <a:gd name="connsiteX14" fmla="*/ 610546 w 4527226"/>
              <a:gd name="connsiteY14" fmla="*/ 3738048 h 6046908"/>
              <a:gd name="connsiteX15" fmla="*/ 389566 w 4527226"/>
              <a:gd name="connsiteY15" fmla="*/ 3638988 h 6046908"/>
              <a:gd name="connsiteX16" fmla="*/ 381946 w 4527226"/>
              <a:gd name="connsiteY16" fmla="*/ 3326568 h 6046908"/>
              <a:gd name="connsiteX17" fmla="*/ 420046 w 4527226"/>
              <a:gd name="connsiteY17" fmla="*/ 3227508 h 6046908"/>
              <a:gd name="connsiteX18" fmla="*/ 389566 w 4527226"/>
              <a:gd name="connsiteY18" fmla="*/ 3166548 h 6046908"/>
              <a:gd name="connsiteX19" fmla="*/ 351466 w 4527226"/>
              <a:gd name="connsiteY19" fmla="*/ 3105588 h 6046908"/>
              <a:gd name="connsiteX20" fmla="*/ 397186 w 4527226"/>
              <a:gd name="connsiteY20" fmla="*/ 3021768 h 6046908"/>
              <a:gd name="connsiteX21" fmla="*/ 488626 w 4527226"/>
              <a:gd name="connsiteY21" fmla="*/ 2998908 h 6046908"/>
              <a:gd name="connsiteX22" fmla="*/ 471956 w 4527226"/>
              <a:gd name="connsiteY22" fmla="*/ 2942709 h 6046908"/>
              <a:gd name="connsiteX23" fmla="*/ 435286 w 4527226"/>
              <a:gd name="connsiteY23" fmla="*/ 2930328 h 6046908"/>
              <a:gd name="connsiteX24" fmla="*/ 389566 w 4527226"/>
              <a:gd name="connsiteY24" fmla="*/ 2930328 h 6046908"/>
              <a:gd name="connsiteX25" fmla="*/ 314000 w 4527226"/>
              <a:gd name="connsiteY25" fmla="*/ 2893495 h 6046908"/>
              <a:gd name="connsiteX26" fmla="*/ 320986 w 4527226"/>
              <a:gd name="connsiteY26" fmla="*/ 2846508 h 6046908"/>
              <a:gd name="connsiteX27" fmla="*/ 328606 w 4527226"/>
              <a:gd name="connsiteY27" fmla="*/ 2793168 h 6046908"/>
              <a:gd name="connsiteX28" fmla="*/ 313366 w 4527226"/>
              <a:gd name="connsiteY28" fmla="*/ 2732208 h 6046908"/>
              <a:gd name="connsiteX29" fmla="*/ 267646 w 4527226"/>
              <a:gd name="connsiteY29" fmla="*/ 2671248 h 6046908"/>
              <a:gd name="connsiteX30" fmla="*/ 176206 w 4527226"/>
              <a:gd name="connsiteY30" fmla="*/ 2656008 h 6046908"/>
              <a:gd name="connsiteX31" fmla="*/ 54286 w 4527226"/>
              <a:gd name="connsiteY31" fmla="*/ 2610288 h 6046908"/>
              <a:gd name="connsiteX32" fmla="*/ 7931 w 4527226"/>
              <a:gd name="connsiteY32" fmla="*/ 2563298 h 6046908"/>
              <a:gd name="connsiteX33" fmla="*/ 8566 w 4527226"/>
              <a:gd name="connsiteY33" fmla="*/ 2488368 h 6046908"/>
              <a:gd name="connsiteX34" fmla="*/ 92386 w 4527226"/>
              <a:gd name="connsiteY34" fmla="*/ 2335968 h 6046908"/>
              <a:gd name="connsiteX35" fmla="*/ 221926 w 4527226"/>
              <a:gd name="connsiteY35" fmla="*/ 2175948 h 6046908"/>
              <a:gd name="connsiteX36" fmla="*/ 282886 w 4527226"/>
              <a:gd name="connsiteY36" fmla="*/ 2084508 h 6046908"/>
              <a:gd name="connsiteX37" fmla="*/ 328606 w 4527226"/>
              <a:gd name="connsiteY37" fmla="*/ 1977828 h 6046908"/>
              <a:gd name="connsiteX38" fmla="*/ 359086 w 4527226"/>
              <a:gd name="connsiteY38" fmla="*/ 1871148 h 6046908"/>
              <a:gd name="connsiteX39" fmla="*/ 374326 w 4527226"/>
              <a:gd name="connsiteY39" fmla="*/ 1810188 h 6046908"/>
              <a:gd name="connsiteX40" fmla="*/ 343846 w 4527226"/>
              <a:gd name="connsiteY40" fmla="*/ 1756848 h 6046908"/>
              <a:gd name="connsiteX41" fmla="*/ 328606 w 4527226"/>
              <a:gd name="connsiteY41" fmla="*/ 1680648 h 6046908"/>
              <a:gd name="connsiteX42" fmla="*/ 412426 w 4527226"/>
              <a:gd name="connsiteY42" fmla="*/ 1474908 h 6046908"/>
              <a:gd name="connsiteX43" fmla="*/ 442906 w 4527226"/>
              <a:gd name="connsiteY43" fmla="*/ 1307268 h 6046908"/>
              <a:gd name="connsiteX44" fmla="*/ 465766 w 4527226"/>
              <a:gd name="connsiteY44" fmla="*/ 1192968 h 6046908"/>
              <a:gd name="connsiteX45" fmla="*/ 503866 w 4527226"/>
              <a:gd name="connsiteY45" fmla="*/ 1055808 h 6046908"/>
              <a:gd name="connsiteX46" fmla="*/ 557206 w 4527226"/>
              <a:gd name="connsiteY46" fmla="*/ 888168 h 6046908"/>
              <a:gd name="connsiteX47" fmla="*/ 503866 w 4527226"/>
              <a:gd name="connsiteY47" fmla="*/ 888168 h 6046908"/>
              <a:gd name="connsiteX48" fmla="*/ 412426 w 4527226"/>
              <a:gd name="connsiteY48" fmla="*/ 834828 h 6046908"/>
              <a:gd name="connsiteX49" fmla="*/ 328606 w 4527226"/>
              <a:gd name="connsiteY49" fmla="*/ 789108 h 6046908"/>
              <a:gd name="connsiteX50" fmla="*/ 260026 w 4527226"/>
              <a:gd name="connsiteY50" fmla="*/ 773868 h 6046908"/>
              <a:gd name="connsiteX51" fmla="*/ 214306 w 4527226"/>
              <a:gd name="connsiteY51" fmla="*/ 751008 h 6046908"/>
              <a:gd name="connsiteX52" fmla="*/ 260026 w 4527226"/>
              <a:gd name="connsiteY52" fmla="*/ 674808 h 6046908"/>
              <a:gd name="connsiteX53" fmla="*/ 374326 w 4527226"/>
              <a:gd name="connsiteY53" fmla="*/ 606228 h 6046908"/>
              <a:gd name="connsiteX54" fmla="*/ 557206 w 4527226"/>
              <a:gd name="connsiteY54" fmla="*/ 507168 h 6046908"/>
              <a:gd name="connsiteX55" fmla="*/ 656266 w 4527226"/>
              <a:gd name="connsiteY55" fmla="*/ 423348 h 6046908"/>
              <a:gd name="connsiteX56" fmla="*/ 892486 w 4527226"/>
              <a:gd name="connsiteY56" fmla="*/ 232848 h 6046908"/>
              <a:gd name="connsiteX57" fmla="*/ 1174426 w 4527226"/>
              <a:gd name="connsiteY57" fmla="*/ 80448 h 6046908"/>
              <a:gd name="connsiteX58" fmla="*/ 1593526 w 4527226"/>
              <a:gd name="connsiteY58" fmla="*/ 11868 h 6046908"/>
              <a:gd name="connsiteX59" fmla="*/ 1944046 w 4527226"/>
              <a:gd name="connsiteY59" fmla="*/ 4248 h 6046908"/>
              <a:gd name="connsiteX60" fmla="*/ 2172646 w 4527226"/>
              <a:gd name="connsiteY60" fmla="*/ 4248 h 6046908"/>
              <a:gd name="connsiteX61" fmla="*/ 2393626 w 4527226"/>
              <a:gd name="connsiteY61" fmla="*/ 57588 h 6046908"/>
              <a:gd name="connsiteX62" fmla="*/ 2667946 w 4527226"/>
              <a:gd name="connsiteY62" fmla="*/ 133788 h 6046908"/>
              <a:gd name="connsiteX63" fmla="*/ 2820346 w 4527226"/>
              <a:gd name="connsiteY63" fmla="*/ 202368 h 6046908"/>
              <a:gd name="connsiteX64" fmla="*/ 3102286 w 4527226"/>
              <a:gd name="connsiteY64" fmla="*/ 400488 h 6046908"/>
              <a:gd name="connsiteX65" fmla="*/ 3285166 w 4527226"/>
              <a:gd name="connsiteY65" fmla="*/ 651948 h 6046908"/>
              <a:gd name="connsiteX66" fmla="*/ 3407086 w 4527226"/>
              <a:gd name="connsiteY66" fmla="*/ 918648 h 6046908"/>
              <a:gd name="connsiteX67" fmla="*/ 3475666 w 4527226"/>
              <a:gd name="connsiteY67" fmla="*/ 1238688 h 6046908"/>
              <a:gd name="connsiteX68" fmla="*/ 3506146 w 4527226"/>
              <a:gd name="connsiteY68" fmla="*/ 1543488 h 6046908"/>
              <a:gd name="connsiteX69" fmla="*/ 3506146 w 4527226"/>
              <a:gd name="connsiteY69" fmla="*/ 1962588 h 6046908"/>
              <a:gd name="connsiteX70" fmla="*/ 3338506 w 4527226"/>
              <a:gd name="connsiteY70" fmla="*/ 2305488 h 6046908"/>
              <a:gd name="connsiteX71" fmla="*/ 3254686 w 4527226"/>
              <a:gd name="connsiteY71" fmla="*/ 2473128 h 6046908"/>
              <a:gd name="connsiteX72" fmla="*/ 3132766 w 4527226"/>
              <a:gd name="connsiteY72" fmla="*/ 2663628 h 6046908"/>
              <a:gd name="connsiteX73" fmla="*/ 3071806 w 4527226"/>
              <a:gd name="connsiteY73" fmla="*/ 2838888 h 6046908"/>
              <a:gd name="connsiteX74" fmla="*/ 3064186 w 4527226"/>
              <a:gd name="connsiteY74" fmla="*/ 2915088 h 6046908"/>
              <a:gd name="connsiteX75" fmla="*/ 3018466 w 4527226"/>
              <a:gd name="connsiteY75" fmla="*/ 3014148 h 6046908"/>
              <a:gd name="connsiteX76" fmla="*/ 2980366 w 4527226"/>
              <a:gd name="connsiteY76" fmla="*/ 3082728 h 6046908"/>
              <a:gd name="connsiteX77" fmla="*/ 2957506 w 4527226"/>
              <a:gd name="connsiteY77" fmla="*/ 3120828 h 6046908"/>
              <a:gd name="connsiteX78" fmla="*/ 2957506 w 4527226"/>
              <a:gd name="connsiteY78" fmla="*/ 3555168 h 6046908"/>
              <a:gd name="connsiteX79" fmla="*/ 3010846 w 4527226"/>
              <a:gd name="connsiteY79" fmla="*/ 3539928 h 6046908"/>
              <a:gd name="connsiteX80" fmla="*/ 3109906 w 4527226"/>
              <a:gd name="connsiteY80" fmla="*/ 3570408 h 6046908"/>
              <a:gd name="connsiteX81" fmla="*/ 3140386 w 4527226"/>
              <a:gd name="connsiteY81" fmla="*/ 3631368 h 6046908"/>
              <a:gd name="connsiteX82" fmla="*/ 3117526 w 4527226"/>
              <a:gd name="connsiteY82" fmla="*/ 3738048 h 6046908"/>
              <a:gd name="connsiteX83" fmla="*/ 3125146 w 4527226"/>
              <a:gd name="connsiteY83" fmla="*/ 4103808 h 6046908"/>
              <a:gd name="connsiteX84" fmla="*/ 3163246 w 4527226"/>
              <a:gd name="connsiteY84" fmla="*/ 4157148 h 6046908"/>
              <a:gd name="connsiteX85" fmla="*/ 3201346 w 4527226"/>
              <a:gd name="connsiteY85" fmla="*/ 4164768 h 6046908"/>
              <a:gd name="connsiteX86" fmla="*/ 3231826 w 4527226"/>
              <a:gd name="connsiteY86" fmla="*/ 4172388 h 6046908"/>
              <a:gd name="connsiteX87" fmla="*/ 3285166 w 4527226"/>
              <a:gd name="connsiteY87" fmla="*/ 4294308 h 6046908"/>
              <a:gd name="connsiteX88" fmla="*/ 3300406 w 4527226"/>
              <a:gd name="connsiteY88" fmla="*/ 4347648 h 6046908"/>
              <a:gd name="connsiteX89" fmla="*/ 3330886 w 4527226"/>
              <a:gd name="connsiteY89" fmla="*/ 4408608 h 6046908"/>
              <a:gd name="connsiteX90" fmla="*/ 3551866 w 4527226"/>
              <a:gd name="connsiteY90" fmla="*/ 4644828 h 6046908"/>
              <a:gd name="connsiteX91" fmla="*/ 3887146 w 4527226"/>
              <a:gd name="connsiteY91" fmla="*/ 5025828 h 6046908"/>
              <a:gd name="connsiteX92" fmla="*/ 4100506 w 4527226"/>
              <a:gd name="connsiteY92" fmla="*/ 5300148 h 6046908"/>
              <a:gd name="connsiteX93" fmla="*/ 4367206 w 4527226"/>
              <a:gd name="connsiteY93" fmla="*/ 5726868 h 6046908"/>
              <a:gd name="connsiteX94" fmla="*/ 4527226 w 4527226"/>
              <a:gd name="connsiteY94" fmla="*/ 6046908 h 6046908"/>
              <a:gd name="connsiteX0" fmla="*/ 709606 w 4527226"/>
              <a:gd name="connsiteY0" fmla="*/ 5025828 h 6046908"/>
              <a:gd name="connsiteX1" fmla="*/ 701986 w 4527226"/>
              <a:gd name="connsiteY1" fmla="*/ 5002968 h 6046908"/>
              <a:gd name="connsiteX2" fmla="*/ 968686 w 4527226"/>
              <a:gd name="connsiteY2" fmla="*/ 4682928 h 6046908"/>
              <a:gd name="connsiteX3" fmla="*/ 961066 w 4527226"/>
              <a:gd name="connsiteY3" fmla="*/ 4644828 h 6046908"/>
              <a:gd name="connsiteX4" fmla="*/ 1342066 w 4527226"/>
              <a:gd name="connsiteY4" fmla="*/ 4172388 h 6046908"/>
              <a:gd name="connsiteX5" fmla="*/ 1258246 w 4527226"/>
              <a:gd name="connsiteY5" fmla="*/ 4012368 h 6046908"/>
              <a:gd name="connsiteX6" fmla="*/ 1204906 w 4527226"/>
              <a:gd name="connsiteY6" fmla="*/ 3928548 h 6046908"/>
              <a:gd name="connsiteX7" fmla="*/ 1174426 w 4527226"/>
              <a:gd name="connsiteY7" fmla="*/ 3768528 h 6046908"/>
              <a:gd name="connsiteX8" fmla="*/ 1151566 w 4527226"/>
              <a:gd name="connsiteY8" fmla="*/ 3699948 h 6046908"/>
              <a:gd name="connsiteX9" fmla="*/ 1143946 w 4527226"/>
              <a:gd name="connsiteY9" fmla="*/ 3669468 h 6046908"/>
              <a:gd name="connsiteX10" fmla="*/ 1067746 w 4527226"/>
              <a:gd name="connsiteY10" fmla="*/ 3661848 h 6046908"/>
              <a:gd name="connsiteX11" fmla="*/ 938206 w 4527226"/>
              <a:gd name="connsiteY11" fmla="*/ 3669468 h 6046908"/>
              <a:gd name="connsiteX12" fmla="*/ 831526 w 4527226"/>
              <a:gd name="connsiteY12" fmla="*/ 3692328 h 6046908"/>
              <a:gd name="connsiteX13" fmla="*/ 610546 w 4527226"/>
              <a:gd name="connsiteY13" fmla="*/ 3738048 h 6046908"/>
              <a:gd name="connsiteX14" fmla="*/ 389566 w 4527226"/>
              <a:gd name="connsiteY14" fmla="*/ 3638988 h 6046908"/>
              <a:gd name="connsiteX15" fmla="*/ 381946 w 4527226"/>
              <a:gd name="connsiteY15" fmla="*/ 3326568 h 6046908"/>
              <a:gd name="connsiteX16" fmla="*/ 420046 w 4527226"/>
              <a:gd name="connsiteY16" fmla="*/ 3227508 h 6046908"/>
              <a:gd name="connsiteX17" fmla="*/ 389566 w 4527226"/>
              <a:gd name="connsiteY17" fmla="*/ 3166548 h 6046908"/>
              <a:gd name="connsiteX18" fmla="*/ 351466 w 4527226"/>
              <a:gd name="connsiteY18" fmla="*/ 3105588 h 6046908"/>
              <a:gd name="connsiteX19" fmla="*/ 397186 w 4527226"/>
              <a:gd name="connsiteY19" fmla="*/ 3021768 h 6046908"/>
              <a:gd name="connsiteX20" fmla="*/ 488626 w 4527226"/>
              <a:gd name="connsiteY20" fmla="*/ 2998908 h 6046908"/>
              <a:gd name="connsiteX21" fmla="*/ 471956 w 4527226"/>
              <a:gd name="connsiteY21" fmla="*/ 2942709 h 6046908"/>
              <a:gd name="connsiteX22" fmla="*/ 435286 w 4527226"/>
              <a:gd name="connsiteY22" fmla="*/ 2930328 h 6046908"/>
              <a:gd name="connsiteX23" fmla="*/ 389566 w 4527226"/>
              <a:gd name="connsiteY23" fmla="*/ 2930328 h 6046908"/>
              <a:gd name="connsiteX24" fmla="*/ 314000 w 4527226"/>
              <a:gd name="connsiteY24" fmla="*/ 2893495 h 6046908"/>
              <a:gd name="connsiteX25" fmla="*/ 320986 w 4527226"/>
              <a:gd name="connsiteY25" fmla="*/ 2846508 h 6046908"/>
              <a:gd name="connsiteX26" fmla="*/ 328606 w 4527226"/>
              <a:gd name="connsiteY26" fmla="*/ 2793168 h 6046908"/>
              <a:gd name="connsiteX27" fmla="*/ 313366 w 4527226"/>
              <a:gd name="connsiteY27" fmla="*/ 2732208 h 6046908"/>
              <a:gd name="connsiteX28" fmla="*/ 267646 w 4527226"/>
              <a:gd name="connsiteY28" fmla="*/ 2671248 h 6046908"/>
              <a:gd name="connsiteX29" fmla="*/ 176206 w 4527226"/>
              <a:gd name="connsiteY29" fmla="*/ 2656008 h 6046908"/>
              <a:gd name="connsiteX30" fmla="*/ 54286 w 4527226"/>
              <a:gd name="connsiteY30" fmla="*/ 2610288 h 6046908"/>
              <a:gd name="connsiteX31" fmla="*/ 7931 w 4527226"/>
              <a:gd name="connsiteY31" fmla="*/ 2563298 h 6046908"/>
              <a:gd name="connsiteX32" fmla="*/ 8566 w 4527226"/>
              <a:gd name="connsiteY32" fmla="*/ 2488368 h 6046908"/>
              <a:gd name="connsiteX33" fmla="*/ 92386 w 4527226"/>
              <a:gd name="connsiteY33" fmla="*/ 2335968 h 6046908"/>
              <a:gd name="connsiteX34" fmla="*/ 221926 w 4527226"/>
              <a:gd name="connsiteY34" fmla="*/ 2175948 h 6046908"/>
              <a:gd name="connsiteX35" fmla="*/ 282886 w 4527226"/>
              <a:gd name="connsiteY35" fmla="*/ 2084508 h 6046908"/>
              <a:gd name="connsiteX36" fmla="*/ 328606 w 4527226"/>
              <a:gd name="connsiteY36" fmla="*/ 1977828 h 6046908"/>
              <a:gd name="connsiteX37" fmla="*/ 359086 w 4527226"/>
              <a:gd name="connsiteY37" fmla="*/ 1871148 h 6046908"/>
              <a:gd name="connsiteX38" fmla="*/ 374326 w 4527226"/>
              <a:gd name="connsiteY38" fmla="*/ 1810188 h 6046908"/>
              <a:gd name="connsiteX39" fmla="*/ 343846 w 4527226"/>
              <a:gd name="connsiteY39" fmla="*/ 1756848 h 6046908"/>
              <a:gd name="connsiteX40" fmla="*/ 328606 w 4527226"/>
              <a:gd name="connsiteY40" fmla="*/ 1680648 h 6046908"/>
              <a:gd name="connsiteX41" fmla="*/ 412426 w 4527226"/>
              <a:gd name="connsiteY41" fmla="*/ 1474908 h 6046908"/>
              <a:gd name="connsiteX42" fmla="*/ 442906 w 4527226"/>
              <a:gd name="connsiteY42" fmla="*/ 1307268 h 6046908"/>
              <a:gd name="connsiteX43" fmla="*/ 465766 w 4527226"/>
              <a:gd name="connsiteY43" fmla="*/ 1192968 h 6046908"/>
              <a:gd name="connsiteX44" fmla="*/ 503866 w 4527226"/>
              <a:gd name="connsiteY44" fmla="*/ 1055808 h 6046908"/>
              <a:gd name="connsiteX45" fmla="*/ 557206 w 4527226"/>
              <a:gd name="connsiteY45" fmla="*/ 888168 h 6046908"/>
              <a:gd name="connsiteX46" fmla="*/ 503866 w 4527226"/>
              <a:gd name="connsiteY46" fmla="*/ 888168 h 6046908"/>
              <a:gd name="connsiteX47" fmla="*/ 412426 w 4527226"/>
              <a:gd name="connsiteY47" fmla="*/ 834828 h 6046908"/>
              <a:gd name="connsiteX48" fmla="*/ 328606 w 4527226"/>
              <a:gd name="connsiteY48" fmla="*/ 789108 h 6046908"/>
              <a:gd name="connsiteX49" fmla="*/ 260026 w 4527226"/>
              <a:gd name="connsiteY49" fmla="*/ 773868 h 6046908"/>
              <a:gd name="connsiteX50" fmla="*/ 214306 w 4527226"/>
              <a:gd name="connsiteY50" fmla="*/ 751008 h 6046908"/>
              <a:gd name="connsiteX51" fmla="*/ 260026 w 4527226"/>
              <a:gd name="connsiteY51" fmla="*/ 674808 h 6046908"/>
              <a:gd name="connsiteX52" fmla="*/ 374326 w 4527226"/>
              <a:gd name="connsiteY52" fmla="*/ 606228 h 6046908"/>
              <a:gd name="connsiteX53" fmla="*/ 557206 w 4527226"/>
              <a:gd name="connsiteY53" fmla="*/ 507168 h 6046908"/>
              <a:gd name="connsiteX54" fmla="*/ 656266 w 4527226"/>
              <a:gd name="connsiteY54" fmla="*/ 423348 h 6046908"/>
              <a:gd name="connsiteX55" fmla="*/ 892486 w 4527226"/>
              <a:gd name="connsiteY55" fmla="*/ 232848 h 6046908"/>
              <a:gd name="connsiteX56" fmla="*/ 1174426 w 4527226"/>
              <a:gd name="connsiteY56" fmla="*/ 80448 h 6046908"/>
              <a:gd name="connsiteX57" fmla="*/ 1593526 w 4527226"/>
              <a:gd name="connsiteY57" fmla="*/ 11868 h 6046908"/>
              <a:gd name="connsiteX58" fmla="*/ 1944046 w 4527226"/>
              <a:gd name="connsiteY58" fmla="*/ 4248 h 6046908"/>
              <a:gd name="connsiteX59" fmla="*/ 2172646 w 4527226"/>
              <a:gd name="connsiteY59" fmla="*/ 4248 h 6046908"/>
              <a:gd name="connsiteX60" fmla="*/ 2393626 w 4527226"/>
              <a:gd name="connsiteY60" fmla="*/ 57588 h 6046908"/>
              <a:gd name="connsiteX61" fmla="*/ 2667946 w 4527226"/>
              <a:gd name="connsiteY61" fmla="*/ 133788 h 6046908"/>
              <a:gd name="connsiteX62" fmla="*/ 2820346 w 4527226"/>
              <a:gd name="connsiteY62" fmla="*/ 202368 h 6046908"/>
              <a:gd name="connsiteX63" fmla="*/ 3102286 w 4527226"/>
              <a:gd name="connsiteY63" fmla="*/ 400488 h 6046908"/>
              <a:gd name="connsiteX64" fmla="*/ 3285166 w 4527226"/>
              <a:gd name="connsiteY64" fmla="*/ 651948 h 6046908"/>
              <a:gd name="connsiteX65" fmla="*/ 3407086 w 4527226"/>
              <a:gd name="connsiteY65" fmla="*/ 918648 h 6046908"/>
              <a:gd name="connsiteX66" fmla="*/ 3475666 w 4527226"/>
              <a:gd name="connsiteY66" fmla="*/ 1238688 h 6046908"/>
              <a:gd name="connsiteX67" fmla="*/ 3506146 w 4527226"/>
              <a:gd name="connsiteY67" fmla="*/ 1543488 h 6046908"/>
              <a:gd name="connsiteX68" fmla="*/ 3506146 w 4527226"/>
              <a:gd name="connsiteY68" fmla="*/ 1962588 h 6046908"/>
              <a:gd name="connsiteX69" fmla="*/ 3338506 w 4527226"/>
              <a:gd name="connsiteY69" fmla="*/ 2305488 h 6046908"/>
              <a:gd name="connsiteX70" fmla="*/ 3254686 w 4527226"/>
              <a:gd name="connsiteY70" fmla="*/ 2473128 h 6046908"/>
              <a:gd name="connsiteX71" fmla="*/ 3132766 w 4527226"/>
              <a:gd name="connsiteY71" fmla="*/ 2663628 h 6046908"/>
              <a:gd name="connsiteX72" fmla="*/ 3071806 w 4527226"/>
              <a:gd name="connsiteY72" fmla="*/ 2838888 h 6046908"/>
              <a:gd name="connsiteX73" fmla="*/ 3064186 w 4527226"/>
              <a:gd name="connsiteY73" fmla="*/ 2915088 h 6046908"/>
              <a:gd name="connsiteX74" fmla="*/ 3018466 w 4527226"/>
              <a:gd name="connsiteY74" fmla="*/ 3014148 h 6046908"/>
              <a:gd name="connsiteX75" fmla="*/ 2980366 w 4527226"/>
              <a:gd name="connsiteY75" fmla="*/ 3082728 h 6046908"/>
              <a:gd name="connsiteX76" fmla="*/ 2957506 w 4527226"/>
              <a:gd name="connsiteY76" fmla="*/ 3120828 h 6046908"/>
              <a:gd name="connsiteX77" fmla="*/ 2957506 w 4527226"/>
              <a:gd name="connsiteY77" fmla="*/ 3555168 h 6046908"/>
              <a:gd name="connsiteX78" fmla="*/ 3010846 w 4527226"/>
              <a:gd name="connsiteY78" fmla="*/ 3539928 h 6046908"/>
              <a:gd name="connsiteX79" fmla="*/ 3109906 w 4527226"/>
              <a:gd name="connsiteY79" fmla="*/ 3570408 h 6046908"/>
              <a:gd name="connsiteX80" fmla="*/ 3140386 w 4527226"/>
              <a:gd name="connsiteY80" fmla="*/ 3631368 h 6046908"/>
              <a:gd name="connsiteX81" fmla="*/ 3117526 w 4527226"/>
              <a:gd name="connsiteY81" fmla="*/ 3738048 h 6046908"/>
              <a:gd name="connsiteX82" fmla="*/ 3125146 w 4527226"/>
              <a:gd name="connsiteY82" fmla="*/ 4103808 h 6046908"/>
              <a:gd name="connsiteX83" fmla="*/ 3163246 w 4527226"/>
              <a:gd name="connsiteY83" fmla="*/ 4157148 h 6046908"/>
              <a:gd name="connsiteX84" fmla="*/ 3201346 w 4527226"/>
              <a:gd name="connsiteY84" fmla="*/ 4164768 h 6046908"/>
              <a:gd name="connsiteX85" fmla="*/ 3231826 w 4527226"/>
              <a:gd name="connsiteY85" fmla="*/ 4172388 h 6046908"/>
              <a:gd name="connsiteX86" fmla="*/ 3285166 w 4527226"/>
              <a:gd name="connsiteY86" fmla="*/ 4294308 h 6046908"/>
              <a:gd name="connsiteX87" fmla="*/ 3300406 w 4527226"/>
              <a:gd name="connsiteY87" fmla="*/ 4347648 h 6046908"/>
              <a:gd name="connsiteX88" fmla="*/ 3330886 w 4527226"/>
              <a:gd name="connsiteY88" fmla="*/ 4408608 h 6046908"/>
              <a:gd name="connsiteX89" fmla="*/ 3551866 w 4527226"/>
              <a:gd name="connsiteY89" fmla="*/ 4644828 h 6046908"/>
              <a:gd name="connsiteX90" fmla="*/ 3887146 w 4527226"/>
              <a:gd name="connsiteY90" fmla="*/ 5025828 h 6046908"/>
              <a:gd name="connsiteX91" fmla="*/ 4100506 w 4527226"/>
              <a:gd name="connsiteY91" fmla="*/ 5300148 h 6046908"/>
              <a:gd name="connsiteX92" fmla="*/ 4367206 w 4527226"/>
              <a:gd name="connsiteY92" fmla="*/ 5726868 h 6046908"/>
              <a:gd name="connsiteX93" fmla="*/ 4527226 w 4527226"/>
              <a:gd name="connsiteY93" fmla="*/ 6046908 h 6046908"/>
              <a:gd name="connsiteX0" fmla="*/ 701986 w 4527226"/>
              <a:gd name="connsiteY0" fmla="*/ 5002968 h 6046908"/>
              <a:gd name="connsiteX1" fmla="*/ 968686 w 4527226"/>
              <a:gd name="connsiteY1" fmla="*/ 4682928 h 6046908"/>
              <a:gd name="connsiteX2" fmla="*/ 961066 w 4527226"/>
              <a:gd name="connsiteY2" fmla="*/ 4644828 h 6046908"/>
              <a:gd name="connsiteX3" fmla="*/ 1342066 w 4527226"/>
              <a:gd name="connsiteY3" fmla="*/ 4172388 h 6046908"/>
              <a:gd name="connsiteX4" fmla="*/ 1258246 w 4527226"/>
              <a:gd name="connsiteY4" fmla="*/ 4012368 h 6046908"/>
              <a:gd name="connsiteX5" fmla="*/ 1204906 w 4527226"/>
              <a:gd name="connsiteY5" fmla="*/ 3928548 h 6046908"/>
              <a:gd name="connsiteX6" fmla="*/ 1174426 w 4527226"/>
              <a:gd name="connsiteY6" fmla="*/ 3768528 h 6046908"/>
              <a:gd name="connsiteX7" fmla="*/ 1151566 w 4527226"/>
              <a:gd name="connsiteY7" fmla="*/ 3699948 h 6046908"/>
              <a:gd name="connsiteX8" fmla="*/ 1143946 w 4527226"/>
              <a:gd name="connsiteY8" fmla="*/ 3669468 h 6046908"/>
              <a:gd name="connsiteX9" fmla="*/ 1067746 w 4527226"/>
              <a:gd name="connsiteY9" fmla="*/ 3661848 h 6046908"/>
              <a:gd name="connsiteX10" fmla="*/ 938206 w 4527226"/>
              <a:gd name="connsiteY10" fmla="*/ 3669468 h 6046908"/>
              <a:gd name="connsiteX11" fmla="*/ 831526 w 4527226"/>
              <a:gd name="connsiteY11" fmla="*/ 3692328 h 6046908"/>
              <a:gd name="connsiteX12" fmla="*/ 610546 w 4527226"/>
              <a:gd name="connsiteY12" fmla="*/ 3738048 h 6046908"/>
              <a:gd name="connsiteX13" fmla="*/ 389566 w 4527226"/>
              <a:gd name="connsiteY13" fmla="*/ 3638988 h 6046908"/>
              <a:gd name="connsiteX14" fmla="*/ 381946 w 4527226"/>
              <a:gd name="connsiteY14" fmla="*/ 3326568 h 6046908"/>
              <a:gd name="connsiteX15" fmla="*/ 420046 w 4527226"/>
              <a:gd name="connsiteY15" fmla="*/ 3227508 h 6046908"/>
              <a:gd name="connsiteX16" fmla="*/ 389566 w 4527226"/>
              <a:gd name="connsiteY16" fmla="*/ 3166548 h 6046908"/>
              <a:gd name="connsiteX17" fmla="*/ 351466 w 4527226"/>
              <a:gd name="connsiteY17" fmla="*/ 3105588 h 6046908"/>
              <a:gd name="connsiteX18" fmla="*/ 397186 w 4527226"/>
              <a:gd name="connsiteY18" fmla="*/ 3021768 h 6046908"/>
              <a:gd name="connsiteX19" fmla="*/ 488626 w 4527226"/>
              <a:gd name="connsiteY19" fmla="*/ 2998908 h 6046908"/>
              <a:gd name="connsiteX20" fmla="*/ 471956 w 4527226"/>
              <a:gd name="connsiteY20" fmla="*/ 2942709 h 6046908"/>
              <a:gd name="connsiteX21" fmla="*/ 435286 w 4527226"/>
              <a:gd name="connsiteY21" fmla="*/ 2930328 h 6046908"/>
              <a:gd name="connsiteX22" fmla="*/ 389566 w 4527226"/>
              <a:gd name="connsiteY22" fmla="*/ 2930328 h 6046908"/>
              <a:gd name="connsiteX23" fmla="*/ 314000 w 4527226"/>
              <a:gd name="connsiteY23" fmla="*/ 2893495 h 6046908"/>
              <a:gd name="connsiteX24" fmla="*/ 320986 w 4527226"/>
              <a:gd name="connsiteY24" fmla="*/ 2846508 h 6046908"/>
              <a:gd name="connsiteX25" fmla="*/ 328606 w 4527226"/>
              <a:gd name="connsiteY25" fmla="*/ 2793168 h 6046908"/>
              <a:gd name="connsiteX26" fmla="*/ 313366 w 4527226"/>
              <a:gd name="connsiteY26" fmla="*/ 2732208 h 6046908"/>
              <a:gd name="connsiteX27" fmla="*/ 267646 w 4527226"/>
              <a:gd name="connsiteY27" fmla="*/ 2671248 h 6046908"/>
              <a:gd name="connsiteX28" fmla="*/ 176206 w 4527226"/>
              <a:gd name="connsiteY28" fmla="*/ 2656008 h 6046908"/>
              <a:gd name="connsiteX29" fmla="*/ 54286 w 4527226"/>
              <a:gd name="connsiteY29" fmla="*/ 2610288 h 6046908"/>
              <a:gd name="connsiteX30" fmla="*/ 7931 w 4527226"/>
              <a:gd name="connsiteY30" fmla="*/ 2563298 h 6046908"/>
              <a:gd name="connsiteX31" fmla="*/ 8566 w 4527226"/>
              <a:gd name="connsiteY31" fmla="*/ 2488368 h 6046908"/>
              <a:gd name="connsiteX32" fmla="*/ 92386 w 4527226"/>
              <a:gd name="connsiteY32" fmla="*/ 2335968 h 6046908"/>
              <a:gd name="connsiteX33" fmla="*/ 221926 w 4527226"/>
              <a:gd name="connsiteY33" fmla="*/ 2175948 h 6046908"/>
              <a:gd name="connsiteX34" fmla="*/ 282886 w 4527226"/>
              <a:gd name="connsiteY34" fmla="*/ 2084508 h 6046908"/>
              <a:gd name="connsiteX35" fmla="*/ 328606 w 4527226"/>
              <a:gd name="connsiteY35" fmla="*/ 1977828 h 6046908"/>
              <a:gd name="connsiteX36" fmla="*/ 359086 w 4527226"/>
              <a:gd name="connsiteY36" fmla="*/ 1871148 h 6046908"/>
              <a:gd name="connsiteX37" fmla="*/ 374326 w 4527226"/>
              <a:gd name="connsiteY37" fmla="*/ 1810188 h 6046908"/>
              <a:gd name="connsiteX38" fmla="*/ 343846 w 4527226"/>
              <a:gd name="connsiteY38" fmla="*/ 1756848 h 6046908"/>
              <a:gd name="connsiteX39" fmla="*/ 328606 w 4527226"/>
              <a:gd name="connsiteY39" fmla="*/ 1680648 h 6046908"/>
              <a:gd name="connsiteX40" fmla="*/ 412426 w 4527226"/>
              <a:gd name="connsiteY40" fmla="*/ 1474908 h 6046908"/>
              <a:gd name="connsiteX41" fmla="*/ 442906 w 4527226"/>
              <a:gd name="connsiteY41" fmla="*/ 1307268 h 6046908"/>
              <a:gd name="connsiteX42" fmla="*/ 465766 w 4527226"/>
              <a:gd name="connsiteY42" fmla="*/ 1192968 h 6046908"/>
              <a:gd name="connsiteX43" fmla="*/ 503866 w 4527226"/>
              <a:gd name="connsiteY43" fmla="*/ 1055808 h 6046908"/>
              <a:gd name="connsiteX44" fmla="*/ 557206 w 4527226"/>
              <a:gd name="connsiteY44" fmla="*/ 888168 h 6046908"/>
              <a:gd name="connsiteX45" fmla="*/ 503866 w 4527226"/>
              <a:gd name="connsiteY45" fmla="*/ 888168 h 6046908"/>
              <a:gd name="connsiteX46" fmla="*/ 412426 w 4527226"/>
              <a:gd name="connsiteY46" fmla="*/ 834828 h 6046908"/>
              <a:gd name="connsiteX47" fmla="*/ 328606 w 4527226"/>
              <a:gd name="connsiteY47" fmla="*/ 789108 h 6046908"/>
              <a:gd name="connsiteX48" fmla="*/ 260026 w 4527226"/>
              <a:gd name="connsiteY48" fmla="*/ 773868 h 6046908"/>
              <a:gd name="connsiteX49" fmla="*/ 214306 w 4527226"/>
              <a:gd name="connsiteY49" fmla="*/ 751008 h 6046908"/>
              <a:gd name="connsiteX50" fmla="*/ 260026 w 4527226"/>
              <a:gd name="connsiteY50" fmla="*/ 674808 h 6046908"/>
              <a:gd name="connsiteX51" fmla="*/ 374326 w 4527226"/>
              <a:gd name="connsiteY51" fmla="*/ 606228 h 6046908"/>
              <a:gd name="connsiteX52" fmla="*/ 557206 w 4527226"/>
              <a:gd name="connsiteY52" fmla="*/ 507168 h 6046908"/>
              <a:gd name="connsiteX53" fmla="*/ 656266 w 4527226"/>
              <a:gd name="connsiteY53" fmla="*/ 423348 h 6046908"/>
              <a:gd name="connsiteX54" fmla="*/ 892486 w 4527226"/>
              <a:gd name="connsiteY54" fmla="*/ 232848 h 6046908"/>
              <a:gd name="connsiteX55" fmla="*/ 1174426 w 4527226"/>
              <a:gd name="connsiteY55" fmla="*/ 80448 h 6046908"/>
              <a:gd name="connsiteX56" fmla="*/ 1593526 w 4527226"/>
              <a:gd name="connsiteY56" fmla="*/ 11868 h 6046908"/>
              <a:gd name="connsiteX57" fmla="*/ 1944046 w 4527226"/>
              <a:gd name="connsiteY57" fmla="*/ 4248 h 6046908"/>
              <a:gd name="connsiteX58" fmla="*/ 2172646 w 4527226"/>
              <a:gd name="connsiteY58" fmla="*/ 4248 h 6046908"/>
              <a:gd name="connsiteX59" fmla="*/ 2393626 w 4527226"/>
              <a:gd name="connsiteY59" fmla="*/ 57588 h 6046908"/>
              <a:gd name="connsiteX60" fmla="*/ 2667946 w 4527226"/>
              <a:gd name="connsiteY60" fmla="*/ 133788 h 6046908"/>
              <a:gd name="connsiteX61" fmla="*/ 2820346 w 4527226"/>
              <a:gd name="connsiteY61" fmla="*/ 202368 h 6046908"/>
              <a:gd name="connsiteX62" fmla="*/ 3102286 w 4527226"/>
              <a:gd name="connsiteY62" fmla="*/ 400488 h 6046908"/>
              <a:gd name="connsiteX63" fmla="*/ 3285166 w 4527226"/>
              <a:gd name="connsiteY63" fmla="*/ 651948 h 6046908"/>
              <a:gd name="connsiteX64" fmla="*/ 3407086 w 4527226"/>
              <a:gd name="connsiteY64" fmla="*/ 918648 h 6046908"/>
              <a:gd name="connsiteX65" fmla="*/ 3475666 w 4527226"/>
              <a:gd name="connsiteY65" fmla="*/ 1238688 h 6046908"/>
              <a:gd name="connsiteX66" fmla="*/ 3506146 w 4527226"/>
              <a:gd name="connsiteY66" fmla="*/ 1543488 h 6046908"/>
              <a:gd name="connsiteX67" fmla="*/ 3506146 w 4527226"/>
              <a:gd name="connsiteY67" fmla="*/ 1962588 h 6046908"/>
              <a:gd name="connsiteX68" fmla="*/ 3338506 w 4527226"/>
              <a:gd name="connsiteY68" fmla="*/ 2305488 h 6046908"/>
              <a:gd name="connsiteX69" fmla="*/ 3254686 w 4527226"/>
              <a:gd name="connsiteY69" fmla="*/ 2473128 h 6046908"/>
              <a:gd name="connsiteX70" fmla="*/ 3132766 w 4527226"/>
              <a:gd name="connsiteY70" fmla="*/ 2663628 h 6046908"/>
              <a:gd name="connsiteX71" fmla="*/ 3071806 w 4527226"/>
              <a:gd name="connsiteY71" fmla="*/ 2838888 h 6046908"/>
              <a:gd name="connsiteX72" fmla="*/ 3064186 w 4527226"/>
              <a:gd name="connsiteY72" fmla="*/ 2915088 h 6046908"/>
              <a:gd name="connsiteX73" fmla="*/ 3018466 w 4527226"/>
              <a:gd name="connsiteY73" fmla="*/ 3014148 h 6046908"/>
              <a:gd name="connsiteX74" fmla="*/ 2980366 w 4527226"/>
              <a:gd name="connsiteY74" fmla="*/ 3082728 h 6046908"/>
              <a:gd name="connsiteX75" fmla="*/ 2957506 w 4527226"/>
              <a:gd name="connsiteY75" fmla="*/ 3120828 h 6046908"/>
              <a:gd name="connsiteX76" fmla="*/ 2957506 w 4527226"/>
              <a:gd name="connsiteY76" fmla="*/ 3555168 h 6046908"/>
              <a:gd name="connsiteX77" fmla="*/ 3010846 w 4527226"/>
              <a:gd name="connsiteY77" fmla="*/ 3539928 h 6046908"/>
              <a:gd name="connsiteX78" fmla="*/ 3109906 w 4527226"/>
              <a:gd name="connsiteY78" fmla="*/ 3570408 h 6046908"/>
              <a:gd name="connsiteX79" fmla="*/ 3140386 w 4527226"/>
              <a:gd name="connsiteY79" fmla="*/ 3631368 h 6046908"/>
              <a:gd name="connsiteX80" fmla="*/ 3117526 w 4527226"/>
              <a:gd name="connsiteY80" fmla="*/ 3738048 h 6046908"/>
              <a:gd name="connsiteX81" fmla="*/ 3125146 w 4527226"/>
              <a:gd name="connsiteY81" fmla="*/ 4103808 h 6046908"/>
              <a:gd name="connsiteX82" fmla="*/ 3163246 w 4527226"/>
              <a:gd name="connsiteY82" fmla="*/ 4157148 h 6046908"/>
              <a:gd name="connsiteX83" fmla="*/ 3201346 w 4527226"/>
              <a:gd name="connsiteY83" fmla="*/ 4164768 h 6046908"/>
              <a:gd name="connsiteX84" fmla="*/ 3231826 w 4527226"/>
              <a:gd name="connsiteY84" fmla="*/ 4172388 h 6046908"/>
              <a:gd name="connsiteX85" fmla="*/ 3285166 w 4527226"/>
              <a:gd name="connsiteY85" fmla="*/ 4294308 h 6046908"/>
              <a:gd name="connsiteX86" fmla="*/ 3300406 w 4527226"/>
              <a:gd name="connsiteY86" fmla="*/ 4347648 h 6046908"/>
              <a:gd name="connsiteX87" fmla="*/ 3330886 w 4527226"/>
              <a:gd name="connsiteY87" fmla="*/ 4408608 h 6046908"/>
              <a:gd name="connsiteX88" fmla="*/ 3551866 w 4527226"/>
              <a:gd name="connsiteY88" fmla="*/ 4644828 h 6046908"/>
              <a:gd name="connsiteX89" fmla="*/ 3887146 w 4527226"/>
              <a:gd name="connsiteY89" fmla="*/ 5025828 h 6046908"/>
              <a:gd name="connsiteX90" fmla="*/ 4100506 w 4527226"/>
              <a:gd name="connsiteY90" fmla="*/ 5300148 h 6046908"/>
              <a:gd name="connsiteX91" fmla="*/ 4367206 w 4527226"/>
              <a:gd name="connsiteY91" fmla="*/ 5726868 h 6046908"/>
              <a:gd name="connsiteX92" fmla="*/ 4527226 w 4527226"/>
              <a:gd name="connsiteY92" fmla="*/ 6046908 h 6046908"/>
              <a:gd name="connsiteX0" fmla="*/ 701986 w 4527226"/>
              <a:gd name="connsiteY0" fmla="*/ 5002968 h 6046908"/>
              <a:gd name="connsiteX1" fmla="*/ 961066 w 4527226"/>
              <a:gd name="connsiteY1" fmla="*/ 4644828 h 6046908"/>
              <a:gd name="connsiteX2" fmla="*/ 1342066 w 4527226"/>
              <a:gd name="connsiteY2" fmla="*/ 4172388 h 6046908"/>
              <a:gd name="connsiteX3" fmla="*/ 1258246 w 4527226"/>
              <a:gd name="connsiteY3" fmla="*/ 4012368 h 6046908"/>
              <a:gd name="connsiteX4" fmla="*/ 1204906 w 4527226"/>
              <a:gd name="connsiteY4" fmla="*/ 3928548 h 6046908"/>
              <a:gd name="connsiteX5" fmla="*/ 1174426 w 4527226"/>
              <a:gd name="connsiteY5" fmla="*/ 3768528 h 6046908"/>
              <a:gd name="connsiteX6" fmla="*/ 1151566 w 4527226"/>
              <a:gd name="connsiteY6" fmla="*/ 3699948 h 6046908"/>
              <a:gd name="connsiteX7" fmla="*/ 1143946 w 4527226"/>
              <a:gd name="connsiteY7" fmla="*/ 3669468 h 6046908"/>
              <a:gd name="connsiteX8" fmla="*/ 1067746 w 4527226"/>
              <a:gd name="connsiteY8" fmla="*/ 3661848 h 6046908"/>
              <a:gd name="connsiteX9" fmla="*/ 938206 w 4527226"/>
              <a:gd name="connsiteY9" fmla="*/ 3669468 h 6046908"/>
              <a:gd name="connsiteX10" fmla="*/ 831526 w 4527226"/>
              <a:gd name="connsiteY10" fmla="*/ 3692328 h 6046908"/>
              <a:gd name="connsiteX11" fmla="*/ 610546 w 4527226"/>
              <a:gd name="connsiteY11" fmla="*/ 3738048 h 6046908"/>
              <a:gd name="connsiteX12" fmla="*/ 389566 w 4527226"/>
              <a:gd name="connsiteY12" fmla="*/ 3638988 h 6046908"/>
              <a:gd name="connsiteX13" fmla="*/ 381946 w 4527226"/>
              <a:gd name="connsiteY13" fmla="*/ 3326568 h 6046908"/>
              <a:gd name="connsiteX14" fmla="*/ 420046 w 4527226"/>
              <a:gd name="connsiteY14" fmla="*/ 3227508 h 6046908"/>
              <a:gd name="connsiteX15" fmla="*/ 389566 w 4527226"/>
              <a:gd name="connsiteY15" fmla="*/ 3166548 h 6046908"/>
              <a:gd name="connsiteX16" fmla="*/ 351466 w 4527226"/>
              <a:gd name="connsiteY16" fmla="*/ 3105588 h 6046908"/>
              <a:gd name="connsiteX17" fmla="*/ 397186 w 4527226"/>
              <a:gd name="connsiteY17" fmla="*/ 3021768 h 6046908"/>
              <a:gd name="connsiteX18" fmla="*/ 488626 w 4527226"/>
              <a:gd name="connsiteY18" fmla="*/ 2998908 h 6046908"/>
              <a:gd name="connsiteX19" fmla="*/ 471956 w 4527226"/>
              <a:gd name="connsiteY19" fmla="*/ 2942709 h 6046908"/>
              <a:gd name="connsiteX20" fmla="*/ 435286 w 4527226"/>
              <a:gd name="connsiteY20" fmla="*/ 2930328 h 6046908"/>
              <a:gd name="connsiteX21" fmla="*/ 389566 w 4527226"/>
              <a:gd name="connsiteY21" fmla="*/ 2930328 h 6046908"/>
              <a:gd name="connsiteX22" fmla="*/ 314000 w 4527226"/>
              <a:gd name="connsiteY22" fmla="*/ 2893495 h 6046908"/>
              <a:gd name="connsiteX23" fmla="*/ 320986 w 4527226"/>
              <a:gd name="connsiteY23" fmla="*/ 2846508 h 6046908"/>
              <a:gd name="connsiteX24" fmla="*/ 328606 w 4527226"/>
              <a:gd name="connsiteY24" fmla="*/ 2793168 h 6046908"/>
              <a:gd name="connsiteX25" fmla="*/ 313366 w 4527226"/>
              <a:gd name="connsiteY25" fmla="*/ 2732208 h 6046908"/>
              <a:gd name="connsiteX26" fmla="*/ 267646 w 4527226"/>
              <a:gd name="connsiteY26" fmla="*/ 2671248 h 6046908"/>
              <a:gd name="connsiteX27" fmla="*/ 176206 w 4527226"/>
              <a:gd name="connsiteY27" fmla="*/ 2656008 h 6046908"/>
              <a:gd name="connsiteX28" fmla="*/ 54286 w 4527226"/>
              <a:gd name="connsiteY28" fmla="*/ 2610288 h 6046908"/>
              <a:gd name="connsiteX29" fmla="*/ 7931 w 4527226"/>
              <a:gd name="connsiteY29" fmla="*/ 2563298 h 6046908"/>
              <a:gd name="connsiteX30" fmla="*/ 8566 w 4527226"/>
              <a:gd name="connsiteY30" fmla="*/ 2488368 h 6046908"/>
              <a:gd name="connsiteX31" fmla="*/ 92386 w 4527226"/>
              <a:gd name="connsiteY31" fmla="*/ 2335968 h 6046908"/>
              <a:gd name="connsiteX32" fmla="*/ 221926 w 4527226"/>
              <a:gd name="connsiteY32" fmla="*/ 2175948 h 6046908"/>
              <a:gd name="connsiteX33" fmla="*/ 282886 w 4527226"/>
              <a:gd name="connsiteY33" fmla="*/ 2084508 h 6046908"/>
              <a:gd name="connsiteX34" fmla="*/ 328606 w 4527226"/>
              <a:gd name="connsiteY34" fmla="*/ 1977828 h 6046908"/>
              <a:gd name="connsiteX35" fmla="*/ 359086 w 4527226"/>
              <a:gd name="connsiteY35" fmla="*/ 1871148 h 6046908"/>
              <a:gd name="connsiteX36" fmla="*/ 374326 w 4527226"/>
              <a:gd name="connsiteY36" fmla="*/ 1810188 h 6046908"/>
              <a:gd name="connsiteX37" fmla="*/ 343846 w 4527226"/>
              <a:gd name="connsiteY37" fmla="*/ 1756848 h 6046908"/>
              <a:gd name="connsiteX38" fmla="*/ 328606 w 4527226"/>
              <a:gd name="connsiteY38" fmla="*/ 1680648 h 6046908"/>
              <a:gd name="connsiteX39" fmla="*/ 412426 w 4527226"/>
              <a:gd name="connsiteY39" fmla="*/ 1474908 h 6046908"/>
              <a:gd name="connsiteX40" fmla="*/ 442906 w 4527226"/>
              <a:gd name="connsiteY40" fmla="*/ 1307268 h 6046908"/>
              <a:gd name="connsiteX41" fmla="*/ 465766 w 4527226"/>
              <a:gd name="connsiteY41" fmla="*/ 1192968 h 6046908"/>
              <a:gd name="connsiteX42" fmla="*/ 503866 w 4527226"/>
              <a:gd name="connsiteY42" fmla="*/ 1055808 h 6046908"/>
              <a:gd name="connsiteX43" fmla="*/ 557206 w 4527226"/>
              <a:gd name="connsiteY43" fmla="*/ 888168 h 6046908"/>
              <a:gd name="connsiteX44" fmla="*/ 503866 w 4527226"/>
              <a:gd name="connsiteY44" fmla="*/ 888168 h 6046908"/>
              <a:gd name="connsiteX45" fmla="*/ 412426 w 4527226"/>
              <a:gd name="connsiteY45" fmla="*/ 834828 h 6046908"/>
              <a:gd name="connsiteX46" fmla="*/ 328606 w 4527226"/>
              <a:gd name="connsiteY46" fmla="*/ 789108 h 6046908"/>
              <a:gd name="connsiteX47" fmla="*/ 260026 w 4527226"/>
              <a:gd name="connsiteY47" fmla="*/ 773868 h 6046908"/>
              <a:gd name="connsiteX48" fmla="*/ 214306 w 4527226"/>
              <a:gd name="connsiteY48" fmla="*/ 751008 h 6046908"/>
              <a:gd name="connsiteX49" fmla="*/ 260026 w 4527226"/>
              <a:gd name="connsiteY49" fmla="*/ 674808 h 6046908"/>
              <a:gd name="connsiteX50" fmla="*/ 374326 w 4527226"/>
              <a:gd name="connsiteY50" fmla="*/ 606228 h 6046908"/>
              <a:gd name="connsiteX51" fmla="*/ 557206 w 4527226"/>
              <a:gd name="connsiteY51" fmla="*/ 507168 h 6046908"/>
              <a:gd name="connsiteX52" fmla="*/ 656266 w 4527226"/>
              <a:gd name="connsiteY52" fmla="*/ 423348 h 6046908"/>
              <a:gd name="connsiteX53" fmla="*/ 892486 w 4527226"/>
              <a:gd name="connsiteY53" fmla="*/ 232848 h 6046908"/>
              <a:gd name="connsiteX54" fmla="*/ 1174426 w 4527226"/>
              <a:gd name="connsiteY54" fmla="*/ 80448 h 6046908"/>
              <a:gd name="connsiteX55" fmla="*/ 1593526 w 4527226"/>
              <a:gd name="connsiteY55" fmla="*/ 11868 h 6046908"/>
              <a:gd name="connsiteX56" fmla="*/ 1944046 w 4527226"/>
              <a:gd name="connsiteY56" fmla="*/ 4248 h 6046908"/>
              <a:gd name="connsiteX57" fmla="*/ 2172646 w 4527226"/>
              <a:gd name="connsiteY57" fmla="*/ 4248 h 6046908"/>
              <a:gd name="connsiteX58" fmla="*/ 2393626 w 4527226"/>
              <a:gd name="connsiteY58" fmla="*/ 57588 h 6046908"/>
              <a:gd name="connsiteX59" fmla="*/ 2667946 w 4527226"/>
              <a:gd name="connsiteY59" fmla="*/ 133788 h 6046908"/>
              <a:gd name="connsiteX60" fmla="*/ 2820346 w 4527226"/>
              <a:gd name="connsiteY60" fmla="*/ 202368 h 6046908"/>
              <a:gd name="connsiteX61" fmla="*/ 3102286 w 4527226"/>
              <a:gd name="connsiteY61" fmla="*/ 400488 h 6046908"/>
              <a:gd name="connsiteX62" fmla="*/ 3285166 w 4527226"/>
              <a:gd name="connsiteY62" fmla="*/ 651948 h 6046908"/>
              <a:gd name="connsiteX63" fmla="*/ 3407086 w 4527226"/>
              <a:gd name="connsiteY63" fmla="*/ 918648 h 6046908"/>
              <a:gd name="connsiteX64" fmla="*/ 3475666 w 4527226"/>
              <a:gd name="connsiteY64" fmla="*/ 1238688 h 6046908"/>
              <a:gd name="connsiteX65" fmla="*/ 3506146 w 4527226"/>
              <a:gd name="connsiteY65" fmla="*/ 1543488 h 6046908"/>
              <a:gd name="connsiteX66" fmla="*/ 3506146 w 4527226"/>
              <a:gd name="connsiteY66" fmla="*/ 1962588 h 6046908"/>
              <a:gd name="connsiteX67" fmla="*/ 3338506 w 4527226"/>
              <a:gd name="connsiteY67" fmla="*/ 2305488 h 6046908"/>
              <a:gd name="connsiteX68" fmla="*/ 3254686 w 4527226"/>
              <a:gd name="connsiteY68" fmla="*/ 2473128 h 6046908"/>
              <a:gd name="connsiteX69" fmla="*/ 3132766 w 4527226"/>
              <a:gd name="connsiteY69" fmla="*/ 2663628 h 6046908"/>
              <a:gd name="connsiteX70" fmla="*/ 3071806 w 4527226"/>
              <a:gd name="connsiteY70" fmla="*/ 2838888 h 6046908"/>
              <a:gd name="connsiteX71" fmla="*/ 3064186 w 4527226"/>
              <a:gd name="connsiteY71" fmla="*/ 2915088 h 6046908"/>
              <a:gd name="connsiteX72" fmla="*/ 3018466 w 4527226"/>
              <a:gd name="connsiteY72" fmla="*/ 3014148 h 6046908"/>
              <a:gd name="connsiteX73" fmla="*/ 2980366 w 4527226"/>
              <a:gd name="connsiteY73" fmla="*/ 3082728 h 6046908"/>
              <a:gd name="connsiteX74" fmla="*/ 2957506 w 4527226"/>
              <a:gd name="connsiteY74" fmla="*/ 3120828 h 6046908"/>
              <a:gd name="connsiteX75" fmla="*/ 2957506 w 4527226"/>
              <a:gd name="connsiteY75" fmla="*/ 3555168 h 6046908"/>
              <a:gd name="connsiteX76" fmla="*/ 3010846 w 4527226"/>
              <a:gd name="connsiteY76" fmla="*/ 3539928 h 6046908"/>
              <a:gd name="connsiteX77" fmla="*/ 3109906 w 4527226"/>
              <a:gd name="connsiteY77" fmla="*/ 3570408 h 6046908"/>
              <a:gd name="connsiteX78" fmla="*/ 3140386 w 4527226"/>
              <a:gd name="connsiteY78" fmla="*/ 3631368 h 6046908"/>
              <a:gd name="connsiteX79" fmla="*/ 3117526 w 4527226"/>
              <a:gd name="connsiteY79" fmla="*/ 3738048 h 6046908"/>
              <a:gd name="connsiteX80" fmla="*/ 3125146 w 4527226"/>
              <a:gd name="connsiteY80" fmla="*/ 4103808 h 6046908"/>
              <a:gd name="connsiteX81" fmla="*/ 3163246 w 4527226"/>
              <a:gd name="connsiteY81" fmla="*/ 4157148 h 6046908"/>
              <a:gd name="connsiteX82" fmla="*/ 3201346 w 4527226"/>
              <a:gd name="connsiteY82" fmla="*/ 4164768 h 6046908"/>
              <a:gd name="connsiteX83" fmla="*/ 3231826 w 4527226"/>
              <a:gd name="connsiteY83" fmla="*/ 4172388 h 6046908"/>
              <a:gd name="connsiteX84" fmla="*/ 3285166 w 4527226"/>
              <a:gd name="connsiteY84" fmla="*/ 4294308 h 6046908"/>
              <a:gd name="connsiteX85" fmla="*/ 3300406 w 4527226"/>
              <a:gd name="connsiteY85" fmla="*/ 4347648 h 6046908"/>
              <a:gd name="connsiteX86" fmla="*/ 3330886 w 4527226"/>
              <a:gd name="connsiteY86" fmla="*/ 4408608 h 6046908"/>
              <a:gd name="connsiteX87" fmla="*/ 3551866 w 4527226"/>
              <a:gd name="connsiteY87" fmla="*/ 4644828 h 6046908"/>
              <a:gd name="connsiteX88" fmla="*/ 3887146 w 4527226"/>
              <a:gd name="connsiteY88" fmla="*/ 5025828 h 6046908"/>
              <a:gd name="connsiteX89" fmla="*/ 4100506 w 4527226"/>
              <a:gd name="connsiteY89" fmla="*/ 5300148 h 6046908"/>
              <a:gd name="connsiteX90" fmla="*/ 4367206 w 4527226"/>
              <a:gd name="connsiteY90" fmla="*/ 5726868 h 6046908"/>
              <a:gd name="connsiteX91" fmla="*/ 4527226 w 4527226"/>
              <a:gd name="connsiteY91" fmla="*/ 6046908 h 6046908"/>
              <a:gd name="connsiteX0" fmla="*/ 707488 w 4527226"/>
              <a:gd name="connsiteY0" fmla="*/ 5008470 h 6046908"/>
              <a:gd name="connsiteX1" fmla="*/ 961066 w 4527226"/>
              <a:gd name="connsiteY1" fmla="*/ 4644828 h 6046908"/>
              <a:gd name="connsiteX2" fmla="*/ 1342066 w 4527226"/>
              <a:gd name="connsiteY2" fmla="*/ 4172388 h 6046908"/>
              <a:gd name="connsiteX3" fmla="*/ 1258246 w 4527226"/>
              <a:gd name="connsiteY3" fmla="*/ 4012368 h 6046908"/>
              <a:gd name="connsiteX4" fmla="*/ 1204906 w 4527226"/>
              <a:gd name="connsiteY4" fmla="*/ 3928548 h 6046908"/>
              <a:gd name="connsiteX5" fmla="*/ 1174426 w 4527226"/>
              <a:gd name="connsiteY5" fmla="*/ 3768528 h 6046908"/>
              <a:gd name="connsiteX6" fmla="*/ 1151566 w 4527226"/>
              <a:gd name="connsiteY6" fmla="*/ 3699948 h 6046908"/>
              <a:gd name="connsiteX7" fmla="*/ 1143946 w 4527226"/>
              <a:gd name="connsiteY7" fmla="*/ 3669468 h 6046908"/>
              <a:gd name="connsiteX8" fmla="*/ 1067746 w 4527226"/>
              <a:gd name="connsiteY8" fmla="*/ 3661848 h 6046908"/>
              <a:gd name="connsiteX9" fmla="*/ 938206 w 4527226"/>
              <a:gd name="connsiteY9" fmla="*/ 3669468 h 6046908"/>
              <a:gd name="connsiteX10" fmla="*/ 831526 w 4527226"/>
              <a:gd name="connsiteY10" fmla="*/ 3692328 h 6046908"/>
              <a:gd name="connsiteX11" fmla="*/ 610546 w 4527226"/>
              <a:gd name="connsiteY11" fmla="*/ 3738048 h 6046908"/>
              <a:gd name="connsiteX12" fmla="*/ 389566 w 4527226"/>
              <a:gd name="connsiteY12" fmla="*/ 3638988 h 6046908"/>
              <a:gd name="connsiteX13" fmla="*/ 381946 w 4527226"/>
              <a:gd name="connsiteY13" fmla="*/ 3326568 h 6046908"/>
              <a:gd name="connsiteX14" fmla="*/ 420046 w 4527226"/>
              <a:gd name="connsiteY14" fmla="*/ 3227508 h 6046908"/>
              <a:gd name="connsiteX15" fmla="*/ 389566 w 4527226"/>
              <a:gd name="connsiteY15" fmla="*/ 3166548 h 6046908"/>
              <a:gd name="connsiteX16" fmla="*/ 351466 w 4527226"/>
              <a:gd name="connsiteY16" fmla="*/ 3105588 h 6046908"/>
              <a:gd name="connsiteX17" fmla="*/ 397186 w 4527226"/>
              <a:gd name="connsiteY17" fmla="*/ 3021768 h 6046908"/>
              <a:gd name="connsiteX18" fmla="*/ 488626 w 4527226"/>
              <a:gd name="connsiteY18" fmla="*/ 2998908 h 6046908"/>
              <a:gd name="connsiteX19" fmla="*/ 471956 w 4527226"/>
              <a:gd name="connsiteY19" fmla="*/ 2942709 h 6046908"/>
              <a:gd name="connsiteX20" fmla="*/ 435286 w 4527226"/>
              <a:gd name="connsiteY20" fmla="*/ 2930328 h 6046908"/>
              <a:gd name="connsiteX21" fmla="*/ 389566 w 4527226"/>
              <a:gd name="connsiteY21" fmla="*/ 2930328 h 6046908"/>
              <a:gd name="connsiteX22" fmla="*/ 314000 w 4527226"/>
              <a:gd name="connsiteY22" fmla="*/ 2893495 h 6046908"/>
              <a:gd name="connsiteX23" fmla="*/ 320986 w 4527226"/>
              <a:gd name="connsiteY23" fmla="*/ 2846508 h 6046908"/>
              <a:gd name="connsiteX24" fmla="*/ 328606 w 4527226"/>
              <a:gd name="connsiteY24" fmla="*/ 2793168 h 6046908"/>
              <a:gd name="connsiteX25" fmla="*/ 313366 w 4527226"/>
              <a:gd name="connsiteY25" fmla="*/ 2732208 h 6046908"/>
              <a:gd name="connsiteX26" fmla="*/ 267646 w 4527226"/>
              <a:gd name="connsiteY26" fmla="*/ 2671248 h 6046908"/>
              <a:gd name="connsiteX27" fmla="*/ 176206 w 4527226"/>
              <a:gd name="connsiteY27" fmla="*/ 2656008 h 6046908"/>
              <a:gd name="connsiteX28" fmla="*/ 54286 w 4527226"/>
              <a:gd name="connsiteY28" fmla="*/ 2610288 h 6046908"/>
              <a:gd name="connsiteX29" fmla="*/ 7931 w 4527226"/>
              <a:gd name="connsiteY29" fmla="*/ 2563298 h 6046908"/>
              <a:gd name="connsiteX30" fmla="*/ 8566 w 4527226"/>
              <a:gd name="connsiteY30" fmla="*/ 2488368 h 6046908"/>
              <a:gd name="connsiteX31" fmla="*/ 92386 w 4527226"/>
              <a:gd name="connsiteY31" fmla="*/ 2335968 h 6046908"/>
              <a:gd name="connsiteX32" fmla="*/ 221926 w 4527226"/>
              <a:gd name="connsiteY32" fmla="*/ 2175948 h 6046908"/>
              <a:gd name="connsiteX33" fmla="*/ 282886 w 4527226"/>
              <a:gd name="connsiteY33" fmla="*/ 2084508 h 6046908"/>
              <a:gd name="connsiteX34" fmla="*/ 328606 w 4527226"/>
              <a:gd name="connsiteY34" fmla="*/ 1977828 h 6046908"/>
              <a:gd name="connsiteX35" fmla="*/ 359086 w 4527226"/>
              <a:gd name="connsiteY35" fmla="*/ 1871148 h 6046908"/>
              <a:gd name="connsiteX36" fmla="*/ 374326 w 4527226"/>
              <a:gd name="connsiteY36" fmla="*/ 1810188 h 6046908"/>
              <a:gd name="connsiteX37" fmla="*/ 343846 w 4527226"/>
              <a:gd name="connsiteY37" fmla="*/ 1756848 h 6046908"/>
              <a:gd name="connsiteX38" fmla="*/ 328606 w 4527226"/>
              <a:gd name="connsiteY38" fmla="*/ 1680648 h 6046908"/>
              <a:gd name="connsiteX39" fmla="*/ 412426 w 4527226"/>
              <a:gd name="connsiteY39" fmla="*/ 1474908 h 6046908"/>
              <a:gd name="connsiteX40" fmla="*/ 442906 w 4527226"/>
              <a:gd name="connsiteY40" fmla="*/ 1307268 h 6046908"/>
              <a:gd name="connsiteX41" fmla="*/ 465766 w 4527226"/>
              <a:gd name="connsiteY41" fmla="*/ 1192968 h 6046908"/>
              <a:gd name="connsiteX42" fmla="*/ 503866 w 4527226"/>
              <a:gd name="connsiteY42" fmla="*/ 1055808 h 6046908"/>
              <a:gd name="connsiteX43" fmla="*/ 557206 w 4527226"/>
              <a:gd name="connsiteY43" fmla="*/ 888168 h 6046908"/>
              <a:gd name="connsiteX44" fmla="*/ 503866 w 4527226"/>
              <a:gd name="connsiteY44" fmla="*/ 888168 h 6046908"/>
              <a:gd name="connsiteX45" fmla="*/ 412426 w 4527226"/>
              <a:gd name="connsiteY45" fmla="*/ 834828 h 6046908"/>
              <a:gd name="connsiteX46" fmla="*/ 328606 w 4527226"/>
              <a:gd name="connsiteY46" fmla="*/ 789108 h 6046908"/>
              <a:gd name="connsiteX47" fmla="*/ 260026 w 4527226"/>
              <a:gd name="connsiteY47" fmla="*/ 773868 h 6046908"/>
              <a:gd name="connsiteX48" fmla="*/ 214306 w 4527226"/>
              <a:gd name="connsiteY48" fmla="*/ 751008 h 6046908"/>
              <a:gd name="connsiteX49" fmla="*/ 260026 w 4527226"/>
              <a:gd name="connsiteY49" fmla="*/ 674808 h 6046908"/>
              <a:gd name="connsiteX50" fmla="*/ 374326 w 4527226"/>
              <a:gd name="connsiteY50" fmla="*/ 606228 h 6046908"/>
              <a:gd name="connsiteX51" fmla="*/ 557206 w 4527226"/>
              <a:gd name="connsiteY51" fmla="*/ 507168 h 6046908"/>
              <a:gd name="connsiteX52" fmla="*/ 656266 w 4527226"/>
              <a:gd name="connsiteY52" fmla="*/ 423348 h 6046908"/>
              <a:gd name="connsiteX53" fmla="*/ 892486 w 4527226"/>
              <a:gd name="connsiteY53" fmla="*/ 232848 h 6046908"/>
              <a:gd name="connsiteX54" fmla="*/ 1174426 w 4527226"/>
              <a:gd name="connsiteY54" fmla="*/ 80448 h 6046908"/>
              <a:gd name="connsiteX55" fmla="*/ 1593526 w 4527226"/>
              <a:gd name="connsiteY55" fmla="*/ 11868 h 6046908"/>
              <a:gd name="connsiteX56" fmla="*/ 1944046 w 4527226"/>
              <a:gd name="connsiteY56" fmla="*/ 4248 h 6046908"/>
              <a:gd name="connsiteX57" fmla="*/ 2172646 w 4527226"/>
              <a:gd name="connsiteY57" fmla="*/ 4248 h 6046908"/>
              <a:gd name="connsiteX58" fmla="*/ 2393626 w 4527226"/>
              <a:gd name="connsiteY58" fmla="*/ 57588 h 6046908"/>
              <a:gd name="connsiteX59" fmla="*/ 2667946 w 4527226"/>
              <a:gd name="connsiteY59" fmla="*/ 133788 h 6046908"/>
              <a:gd name="connsiteX60" fmla="*/ 2820346 w 4527226"/>
              <a:gd name="connsiteY60" fmla="*/ 202368 h 6046908"/>
              <a:gd name="connsiteX61" fmla="*/ 3102286 w 4527226"/>
              <a:gd name="connsiteY61" fmla="*/ 400488 h 6046908"/>
              <a:gd name="connsiteX62" fmla="*/ 3285166 w 4527226"/>
              <a:gd name="connsiteY62" fmla="*/ 651948 h 6046908"/>
              <a:gd name="connsiteX63" fmla="*/ 3407086 w 4527226"/>
              <a:gd name="connsiteY63" fmla="*/ 918648 h 6046908"/>
              <a:gd name="connsiteX64" fmla="*/ 3475666 w 4527226"/>
              <a:gd name="connsiteY64" fmla="*/ 1238688 h 6046908"/>
              <a:gd name="connsiteX65" fmla="*/ 3506146 w 4527226"/>
              <a:gd name="connsiteY65" fmla="*/ 1543488 h 6046908"/>
              <a:gd name="connsiteX66" fmla="*/ 3506146 w 4527226"/>
              <a:gd name="connsiteY66" fmla="*/ 1962588 h 6046908"/>
              <a:gd name="connsiteX67" fmla="*/ 3338506 w 4527226"/>
              <a:gd name="connsiteY67" fmla="*/ 2305488 h 6046908"/>
              <a:gd name="connsiteX68" fmla="*/ 3254686 w 4527226"/>
              <a:gd name="connsiteY68" fmla="*/ 2473128 h 6046908"/>
              <a:gd name="connsiteX69" fmla="*/ 3132766 w 4527226"/>
              <a:gd name="connsiteY69" fmla="*/ 2663628 h 6046908"/>
              <a:gd name="connsiteX70" fmla="*/ 3071806 w 4527226"/>
              <a:gd name="connsiteY70" fmla="*/ 2838888 h 6046908"/>
              <a:gd name="connsiteX71" fmla="*/ 3064186 w 4527226"/>
              <a:gd name="connsiteY71" fmla="*/ 2915088 h 6046908"/>
              <a:gd name="connsiteX72" fmla="*/ 3018466 w 4527226"/>
              <a:gd name="connsiteY72" fmla="*/ 3014148 h 6046908"/>
              <a:gd name="connsiteX73" fmla="*/ 2980366 w 4527226"/>
              <a:gd name="connsiteY73" fmla="*/ 3082728 h 6046908"/>
              <a:gd name="connsiteX74" fmla="*/ 2957506 w 4527226"/>
              <a:gd name="connsiteY74" fmla="*/ 3120828 h 6046908"/>
              <a:gd name="connsiteX75" fmla="*/ 2957506 w 4527226"/>
              <a:gd name="connsiteY75" fmla="*/ 3555168 h 6046908"/>
              <a:gd name="connsiteX76" fmla="*/ 3010846 w 4527226"/>
              <a:gd name="connsiteY76" fmla="*/ 3539928 h 6046908"/>
              <a:gd name="connsiteX77" fmla="*/ 3109906 w 4527226"/>
              <a:gd name="connsiteY77" fmla="*/ 3570408 h 6046908"/>
              <a:gd name="connsiteX78" fmla="*/ 3140386 w 4527226"/>
              <a:gd name="connsiteY78" fmla="*/ 3631368 h 6046908"/>
              <a:gd name="connsiteX79" fmla="*/ 3117526 w 4527226"/>
              <a:gd name="connsiteY79" fmla="*/ 3738048 h 6046908"/>
              <a:gd name="connsiteX80" fmla="*/ 3125146 w 4527226"/>
              <a:gd name="connsiteY80" fmla="*/ 4103808 h 6046908"/>
              <a:gd name="connsiteX81" fmla="*/ 3163246 w 4527226"/>
              <a:gd name="connsiteY81" fmla="*/ 4157148 h 6046908"/>
              <a:gd name="connsiteX82" fmla="*/ 3201346 w 4527226"/>
              <a:gd name="connsiteY82" fmla="*/ 4164768 h 6046908"/>
              <a:gd name="connsiteX83" fmla="*/ 3231826 w 4527226"/>
              <a:gd name="connsiteY83" fmla="*/ 4172388 h 6046908"/>
              <a:gd name="connsiteX84" fmla="*/ 3285166 w 4527226"/>
              <a:gd name="connsiteY84" fmla="*/ 4294308 h 6046908"/>
              <a:gd name="connsiteX85" fmla="*/ 3300406 w 4527226"/>
              <a:gd name="connsiteY85" fmla="*/ 4347648 h 6046908"/>
              <a:gd name="connsiteX86" fmla="*/ 3330886 w 4527226"/>
              <a:gd name="connsiteY86" fmla="*/ 4408608 h 6046908"/>
              <a:gd name="connsiteX87" fmla="*/ 3551866 w 4527226"/>
              <a:gd name="connsiteY87" fmla="*/ 4644828 h 6046908"/>
              <a:gd name="connsiteX88" fmla="*/ 3887146 w 4527226"/>
              <a:gd name="connsiteY88" fmla="*/ 5025828 h 6046908"/>
              <a:gd name="connsiteX89" fmla="*/ 4100506 w 4527226"/>
              <a:gd name="connsiteY89" fmla="*/ 5300148 h 6046908"/>
              <a:gd name="connsiteX90" fmla="*/ 4367206 w 4527226"/>
              <a:gd name="connsiteY90" fmla="*/ 5726868 h 6046908"/>
              <a:gd name="connsiteX91" fmla="*/ 4527226 w 4527226"/>
              <a:gd name="connsiteY91" fmla="*/ 6046908 h 6046908"/>
              <a:gd name="connsiteX0" fmla="*/ 707488 w 4367206"/>
              <a:gd name="connsiteY0" fmla="*/ 5008470 h 5726868"/>
              <a:gd name="connsiteX1" fmla="*/ 961066 w 4367206"/>
              <a:gd name="connsiteY1" fmla="*/ 4644828 h 5726868"/>
              <a:gd name="connsiteX2" fmla="*/ 1342066 w 4367206"/>
              <a:gd name="connsiteY2" fmla="*/ 4172388 h 5726868"/>
              <a:gd name="connsiteX3" fmla="*/ 1258246 w 4367206"/>
              <a:gd name="connsiteY3" fmla="*/ 4012368 h 5726868"/>
              <a:gd name="connsiteX4" fmla="*/ 1204906 w 4367206"/>
              <a:gd name="connsiteY4" fmla="*/ 3928548 h 5726868"/>
              <a:gd name="connsiteX5" fmla="*/ 1174426 w 4367206"/>
              <a:gd name="connsiteY5" fmla="*/ 3768528 h 5726868"/>
              <a:gd name="connsiteX6" fmla="*/ 1151566 w 4367206"/>
              <a:gd name="connsiteY6" fmla="*/ 3699948 h 5726868"/>
              <a:gd name="connsiteX7" fmla="*/ 1143946 w 4367206"/>
              <a:gd name="connsiteY7" fmla="*/ 3669468 h 5726868"/>
              <a:gd name="connsiteX8" fmla="*/ 1067746 w 4367206"/>
              <a:gd name="connsiteY8" fmla="*/ 3661848 h 5726868"/>
              <a:gd name="connsiteX9" fmla="*/ 938206 w 4367206"/>
              <a:gd name="connsiteY9" fmla="*/ 3669468 h 5726868"/>
              <a:gd name="connsiteX10" fmla="*/ 831526 w 4367206"/>
              <a:gd name="connsiteY10" fmla="*/ 3692328 h 5726868"/>
              <a:gd name="connsiteX11" fmla="*/ 610546 w 4367206"/>
              <a:gd name="connsiteY11" fmla="*/ 3738048 h 5726868"/>
              <a:gd name="connsiteX12" fmla="*/ 389566 w 4367206"/>
              <a:gd name="connsiteY12" fmla="*/ 3638988 h 5726868"/>
              <a:gd name="connsiteX13" fmla="*/ 381946 w 4367206"/>
              <a:gd name="connsiteY13" fmla="*/ 3326568 h 5726868"/>
              <a:gd name="connsiteX14" fmla="*/ 420046 w 4367206"/>
              <a:gd name="connsiteY14" fmla="*/ 3227508 h 5726868"/>
              <a:gd name="connsiteX15" fmla="*/ 389566 w 4367206"/>
              <a:gd name="connsiteY15" fmla="*/ 3166548 h 5726868"/>
              <a:gd name="connsiteX16" fmla="*/ 351466 w 4367206"/>
              <a:gd name="connsiteY16" fmla="*/ 3105588 h 5726868"/>
              <a:gd name="connsiteX17" fmla="*/ 397186 w 4367206"/>
              <a:gd name="connsiteY17" fmla="*/ 3021768 h 5726868"/>
              <a:gd name="connsiteX18" fmla="*/ 488626 w 4367206"/>
              <a:gd name="connsiteY18" fmla="*/ 2998908 h 5726868"/>
              <a:gd name="connsiteX19" fmla="*/ 471956 w 4367206"/>
              <a:gd name="connsiteY19" fmla="*/ 2942709 h 5726868"/>
              <a:gd name="connsiteX20" fmla="*/ 435286 w 4367206"/>
              <a:gd name="connsiteY20" fmla="*/ 2930328 h 5726868"/>
              <a:gd name="connsiteX21" fmla="*/ 389566 w 4367206"/>
              <a:gd name="connsiteY21" fmla="*/ 2930328 h 5726868"/>
              <a:gd name="connsiteX22" fmla="*/ 314000 w 4367206"/>
              <a:gd name="connsiteY22" fmla="*/ 2893495 h 5726868"/>
              <a:gd name="connsiteX23" fmla="*/ 320986 w 4367206"/>
              <a:gd name="connsiteY23" fmla="*/ 2846508 h 5726868"/>
              <a:gd name="connsiteX24" fmla="*/ 328606 w 4367206"/>
              <a:gd name="connsiteY24" fmla="*/ 2793168 h 5726868"/>
              <a:gd name="connsiteX25" fmla="*/ 313366 w 4367206"/>
              <a:gd name="connsiteY25" fmla="*/ 2732208 h 5726868"/>
              <a:gd name="connsiteX26" fmla="*/ 267646 w 4367206"/>
              <a:gd name="connsiteY26" fmla="*/ 2671248 h 5726868"/>
              <a:gd name="connsiteX27" fmla="*/ 176206 w 4367206"/>
              <a:gd name="connsiteY27" fmla="*/ 2656008 h 5726868"/>
              <a:gd name="connsiteX28" fmla="*/ 54286 w 4367206"/>
              <a:gd name="connsiteY28" fmla="*/ 2610288 h 5726868"/>
              <a:gd name="connsiteX29" fmla="*/ 7931 w 4367206"/>
              <a:gd name="connsiteY29" fmla="*/ 2563298 h 5726868"/>
              <a:gd name="connsiteX30" fmla="*/ 8566 w 4367206"/>
              <a:gd name="connsiteY30" fmla="*/ 2488368 h 5726868"/>
              <a:gd name="connsiteX31" fmla="*/ 92386 w 4367206"/>
              <a:gd name="connsiteY31" fmla="*/ 2335968 h 5726868"/>
              <a:gd name="connsiteX32" fmla="*/ 221926 w 4367206"/>
              <a:gd name="connsiteY32" fmla="*/ 2175948 h 5726868"/>
              <a:gd name="connsiteX33" fmla="*/ 282886 w 4367206"/>
              <a:gd name="connsiteY33" fmla="*/ 2084508 h 5726868"/>
              <a:gd name="connsiteX34" fmla="*/ 328606 w 4367206"/>
              <a:gd name="connsiteY34" fmla="*/ 1977828 h 5726868"/>
              <a:gd name="connsiteX35" fmla="*/ 359086 w 4367206"/>
              <a:gd name="connsiteY35" fmla="*/ 1871148 h 5726868"/>
              <a:gd name="connsiteX36" fmla="*/ 374326 w 4367206"/>
              <a:gd name="connsiteY36" fmla="*/ 1810188 h 5726868"/>
              <a:gd name="connsiteX37" fmla="*/ 343846 w 4367206"/>
              <a:gd name="connsiteY37" fmla="*/ 1756848 h 5726868"/>
              <a:gd name="connsiteX38" fmla="*/ 328606 w 4367206"/>
              <a:gd name="connsiteY38" fmla="*/ 1680648 h 5726868"/>
              <a:gd name="connsiteX39" fmla="*/ 412426 w 4367206"/>
              <a:gd name="connsiteY39" fmla="*/ 1474908 h 5726868"/>
              <a:gd name="connsiteX40" fmla="*/ 442906 w 4367206"/>
              <a:gd name="connsiteY40" fmla="*/ 1307268 h 5726868"/>
              <a:gd name="connsiteX41" fmla="*/ 465766 w 4367206"/>
              <a:gd name="connsiteY41" fmla="*/ 1192968 h 5726868"/>
              <a:gd name="connsiteX42" fmla="*/ 503866 w 4367206"/>
              <a:gd name="connsiteY42" fmla="*/ 1055808 h 5726868"/>
              <a:gd name="connsiteX43" fmla="*/ 557206 w 4367206"/>
              <a:gd name="connsiteY43" fmla="*/ 888168 h 5726868"/>
              <a:gd name="connsiteX44" fmla="*/ 503866 w 4367206"/>
              <a:gd name="connsiteY44" fmla="*/ 888168 h 5726868"/>
              <a:gd name="connsiteX45" fmla="*/ 412426 w 4367206"/>
              <a:gd name="connsiteY45" fmla="*/ 834828 h 5726868"/>
              <a:gd name="connsiteX46" fmla="*/ 328606 w 4367206"/>
              <a:gd name="connsiteY46" fmla="*/ 789108 h 5726868"/>
              <a:gd name="connsiteX47" fmla="*/ 260026 w 4367206"/>
              <a:gd name="connsiteY47" fmla="*/ 773868 h 5726868"/>
              <a:gd name="connsiteX48" fmla="*/ 214306 w 4367206"/>
              <a:gd name="connsiteY48" fmla="*/ 751008 h 5726868"/>
              <a:gd name="connsiteX49" fmla="*/ 260026 w 4367206"/>
              <a:gd name="connsiteY49" fmla="*/ 674808 h 5726868"/>
              <a:gd name="connsiteX50" fmla="*/ 374326 w 4367206"/>
              <a:gd name="connsiteY50" fmla="*/ 606228 h 5726868"/>
              <a:gd name="connsiteX51" fmla="*/ 557206 w 4367206"/>
              <a:gd name="connsiteY51" fmla="*/ 507168 h 5726868"/>
              <a:gd name="connsiteX52" fmla="*/ 656266 w 4367206"/>
              <a:gd name="connsiteY52" fmla="*/ 423348 h 5726868"/>
              <a:gd name="connsiteX53" fmla="*/ 892486 w 4367206"/>
              <a:gd name="connsiteY53" fmla="*/ 232848 h 5726868"/>
              <a:gd name="connsiteX54" fmla="*/ 1174426 w 4367206"/>
              <a:gd name="connsiteY54" fmla="*/ 80448 h 5726868"/>
              <a:gd name="connsiteX55" fmla="*/ 1593526 w 4367206"/>
              <a:gd name="connsiteY55" fmla="*/ 11868 h 5726868"/>
              <a:gd name="connsiteX56" fmla="*/ 1944046 w 4367206"/>
              <a:gd name="connsiteY56" fmla="*/ 4248 h 5726868"/>
              <a:gd name="connsiteX57" fmla="*/ 2172646 w 4367206"/>
              <a:gd name="connsiteY57" fmla="*/ 4248 h 5726868"/>
              <a:gd name="connsiteX58" fmla="*/ 2393626 w 4367206"/>
              <a:gd name="connsiteY58" fmla="*/ 57588 h 5726868"/>
              <a:gd name="connsiteX59" fmla="*/ 2667946 w 4367206"/>
              <a:gd name="connsiteY59" fmla="*/ 133788 h 5726868"/>
              <a:gd name="connsiteX60" fmla="*/ 2820346 w 4367206"/>
              <a:gd name="connsiteY60" fmla="*/ 202368 h 5726868"/>
              <a:gd name="connsiteX61" fmla="*/ 3102286 w 4367206"/>
              <a:gd name="connsiteY61" fmla="*/ 400488 h 5726868"/>
              <a:gd name="connsiteX62" fmla="*/ 3285166 w 4367206"/>
              <a:gd name="connsiteY62" fmla="*/ 651948 h 5726868"/>
              <a:gd name="connsiteX63" fmla="*/ 3407086 w 4367206"/>
              <a:gd name="connsiteY63" fmla="*/ 918648 h 5726868"/>
              <a:gd name="connsiteX64" fmla="*/ 3475666 w 4367206"/>
              <a:gd name="connsiteY64" fmla="*/ 1238688 h 5726868"/>
              <a:gd name="connsiteX65" fmla="*/ 3506146 w 4367206"/>
              <a:gd name="connsiteY65" fmla="*/ 1543488 h 5726868"/>
              <a:gd name="connsiteX66" fmla="*/ 3506146 w 4367206"/>
              <a:gd name="connsiteY66" fmla="*/ 1962588 h 5726868"/>
              <a:gd name="connsiteX67" fmla="*/ 3338506 w 4367206"/>
              <a:gd name="connsiteY67" fmla="*/ 2305488 h 5726868"/>
              <a:gd name="connsiteX68" fmla="*/ 3254686 w 4367206"/>
              <a:gd name="connsiteY68" fmla="*/ 2473128 h 5726868"/>
              <a:gd name="connsiteX69" fmla="*/ 3132766 w 4367206"/>
              <a:gd name="connsiteY69" fmla="*/ 2663628 h 5726868"/>
              <a:gd name="connsiteX70" fmla="*/ 3071806 w 4367206"/>
              <a:gd name="connsiteY70" fmla="*/ 2838888 h 5726868"/>
              <a:gd name="connsiteX71" fmla="*/ 3064186 w 4367206"/>
              <a:gd name="connsiteY71" fmla="*/ 2915088 h 5726868"/>
              <a:gd name="connsiteX72" fmla="*/ 3018466 w 4367206"/>
              <a:gd name="connsiteY72" fmla="*/ 3014148 h 5726868"/>
              <a:gd name="connsiteX73" fmla="*/ 2980366 w 4367206"/>
              <a:gd name="connsiteY73" fmla="*/ 3082728 h 5726868"/>
              <a:gd name="connsiteX74" fmla="*/ 2957506 w 4367206"/>
              <a:gd name="connsiteY74" fmla="*/ 3120828 h 5726868"/>
              <a:gd name="connsiteX75" fmla="*/ 2957506 w 4367206"/>
              <a:gd name="connsiteY75" fmla="*/ 3555168 h 5726868"/>
              <a:gd name="connsiteX76" fmla="*/ 3010846 w 4367206"/>
              <a:gd name="connsiteY76" fmla="*/ 3539928 h 5726868"/>
              <a:gd name="connsiteX77" fmla="*/ 3109906 w 4367206"/>
              <a:gd name="connsiteY77" fmla="*/ 3570408 h 5726868"/>
              <a:gd name="connsiteX78" fmla="*/ 3140386 w 4367206"/>
              <a:gd name="connsiteY78" fmla="*/ 3631368 h 5726868"/>
              <a:gd name="connsiteX79" fmla="*/ 3117526 w 4367206"/>
              <a:gd name="connsiteY79" fmla="*/ 3738048 h 5726868"/>
              <a:gd name="connsiteX80" fmla="*/ 3125146 w 4367206"/>
              <a:gd name="connsiteY80" fmla="*/ 4103808 h 5726868"/>
              <a:gd name="connsiteX81" fmla="*/ 3163246 w 4367206"/>
              <a:gd name="connsiteY81" fmla="*/ 4157148 h 5726868"/>
              <a:gd name="connsiteX82" fmla="*/ 3201346 w 4367206"/>
              <a:gd name="connsiteY82" fmla="*/ 4164768 h 5726868"/>
              <a:gd name="connsiteX83" fmla="*/ 3231826 w 4367206"/>
              <a:gd name="connsiteY83" fmla="*/ 4172388 h 5726868"/>
              <a:gd name="connsiteX84" fmla="*/ 3285166 w 4367206"/>
              <a:gd name="connsiteY84" fmla="*/ 4294308 h 5726868"/>
              <a:gd name="connsiteX85" fmla="*/ 3300406 w 4367206"/>
              <a:gd name="connsiteY85" fmla="*/ 4347648 h 5726868"/>
              <a:gd name="connsiteX86" fmla="*/ 3330886 w 4367206"/>
              <a:gd name="connsiteY86" fmla="*/ 4408608 h 5726868"/>
              <a:gd name="connsiteX87" fmla="*/ 3551866 w 4367206"/>
              <a:gd name="connsiteY87" fmla="*/ 4644828 h 5726868"/>
              <a:gd name="connsiteX88" fmla="*/ 3887146 w 4367206"/>
              <a:gd name="connsiteY88" fmla="*/ 5025828 h 5726868"/>
              <a:gd name="connsiteX89" fmla="*/ 4100506 w 4367206"/>
              <a:gd name="connsiteY89" fmla="*/ 5300148 h 5726868"/>
              <a:gd name="connsiteX90" fmla="*/ 4367206 w 4367206"/>
              <a:gd name="connsiteY90" fmla="*/ 5726868 h 5726868"/>
              <a:gd name="connsiteX0" fmla="*/ 707488 w 4100506"/>
              <a:gd name="connsiteY0" fmla="*/ 5008470 h 5300148"/>
              <a:gd name="connsiteX1" fmla="*/ 961066 w 4100506"/>
              <a:gd name="connsiteY1" fmla="*/ 4644828 h 5300148"/>
              <a:gd name="connsiteX2" fmla="*/ 1342066 w 4100506"/>
              <a:gd name="connsiteY2" fmla="*/ 4172388 h 5300148"/>
              <a:gd name="connsiteX3" fmla="*/ 1258246 w 4100506"/>
              <a:gd name="connsiteY3" fmla="*/ 4012368 h 5300148"/>
              <a:gd name="connsiteX4" fmla="*/ 1204906 w 4100506"/>
              <a:gd name="connsiteY4" fmla="*/ 3928548 h 5300148"/>
              <a:gd name="connsiteX5" fmla="*/ 1174426 w 4100506"/>
              <a:gd name="connsiteY5" fmla="*/ 3768528 h 5300148"/>
              <a:gd name="connsiteX6" fmla="*/ 1151566 w 4100506"/>
              <a:gd name="connsiteY6" fmla="*/ 3699948 h 5300148"/>
              <a:gd name="connsiteX7" fmla="*/ 1143946 w 4100506"/>
              <a:gd name="connsiteY7" fmla="*/ 3669468 h 5300148"/>
              <a:gd name="connsiteX8" fmla="*/ 1067746 w 4100506"/>
              <a:gd name="connsiteY8" fmla="*/ 3661848 h 5300148"/>
              <a:gd name="connsiteX9" fmla="*/ 938206 w 4100506"/>
              <a:gd name="connsiteY9" fmla="*/ 3669468 h 5300148"/>
              <a:gd name="connsiteX10" fmla="*/ 831526 w 4100506"/>
              <a:gd name="connsiteY10" fmla="*/ 3692328 h 5300148"/>
              <a:gd name="connsiteX11" fmla="*/ 610546 w 4100506"/>
              <a:gd name="connsiteY11" fmla="*/ 3738048 h 5300148"/>
              <a:gd name="connsiteX12" fmla="*/ 389566 w 4100506"/>
              <a:gd name="connsiteY12" fmla="*/ 3638988 h 5300148"/>
              <a:gd name="connsiteX13" fmla="*/ 381946 w 4100506"/>
              <a:gd name="connsiteY13" fmla="*/ 3326568 h 5300148"/>
              <a:gd name="connsiteX14" fmla="*/ 420046 w 4100506"/>
              <a:gd name="connsiteY14" fmla="*/ 3227508 h 5300148"/>
              <a:gd name="connsiteX15" fmla="*/ 389566 w 4100506"/>
              <a:gd name="connsiteY15" fmla="*/ 3166548 h 5300148"/>
              <a:gd name="connsiteX16" fmla="*/ 351466 w 4100506"/>
              <a:gd name="connsiteY16" fmla="*/ 3105588 h 5300148"/>
              <a:gd name="connsiteX17" fmla="*/ 397186 w 4100506"/>
              <a:gd name="connsiteY17" fmla="*/ 3021768 h 5300148"/>
              <a:gd name="connsiteX18" fmla="*/ 488626 w 4100506"/>
              <a:gd name="connsiteY18" fmla="*/ 2998908 h 5300148"/>
              <a:gd name="connsiteX19" fmla="*/ 471956 w 4100506"/>
              <a:gd name="connsiteY19" fmla="*/ 2942709 h 5300148"/>
              <a:gd name="connsiteX20" fmla="*/ 435286 w 4100506"/>
              <a:gd name="connsiteY20" fmla="*/ 2930328 h 5300148"/>
              <a:gd name="connsiteX21" fmla="*/ 389566 w 4100506"/>
              <a:gd name="connsiteY21" fmla="*/ 2930328 h 5300148"/>
              <a:gd name="connsiteX22" fmla="*/ 314000 w 4100506"/>
              <a:gd name="connsiteY22" fmla="*/ 2893495 h 5300148"/>
              <a:gd name="connsiteX23" fmla="*/ 320986 w 4100506"/>
              <a:gd name="connsiteY23" fmla="*/ 2846508 h 5300148"/>
              <a:gd name="connsiteX24" fmla="*/ 328606 w 4100506"/>
              <a:gd name="connsiteY24" fmla="*/ 2793168 h 5300148"/>
              <a:gd name="connsiteX25" fmla="*/ 313366 w 4100506"/>
              <a:gd name="connsiteY25" fmla="*/ 2732208 h 5300148"/>
              <a:gd name="connsiteX26" fmla="*/ 267646 w 4100506"/>
              <a:gd name="connsiteY26" fmla="*/ 2671248 h 5300148"/>
              <a:gd name="connsiteX27" fmla="*/ 176206 w 4100506"/>
              <a:gd name="connsiteY27" fmla="*/ 2656008 h 5300148"/>
              <a:gd name="connsiteX28" fmla="*/ 54286 w 4100506"/>
              <a:gd name="connsiteY28" fmla="*/ 2610288 h 5300148"/>
              <a:gd name="connsiteX29" fmla="*/ 7931 w 4100506"/>
              <a:gd name="connsiteY29" fmla="*/ 2563298 h 5300148"/>
              <a:gd name="connsiteX30" fmla="*/ 8566 w 4100506"/>
              <a:gd name="connsiteY30" fmla="*/ 2488368 h 5300148"/>
              <a:gd name="connsiteX31" fmla="*/ 92386 w 4100506"/>
              <a:gd name="connsiteY31" fmla="*/ 2335968 h 5300148"/>
              <a:gd name="connsiteX32" fmla="*/ 221926 w 4100506"/>
              <a:gd name="connsiteY32" fmla="*/ 2175948 h 5300148"/>
              <a:gd name="connsiteX33" fmla="*/ 282886 w 4100506"/>
              <a:gd name="connsiteY33" fmla="*/ 2084508 h 5300148"/>
              <a:gd name="connsiteX34" fmla="*/ 328606 w 4100506"/>
              <a:gd name="connsiteY34" fmla="*/ 1977828 h 5300148"/>
              <a:gd name="connsiteX35" fmla="*/ 359086 w 4100506"/>
              <a:gd name="connsiteY35" fmla="*/ 1871148 h 5300148"/>
              <a:gd name="connsiteX36" fmla="*/ 374326 w 4100506"/>
              <a:gd name="connsiteY36" fmla="*/ 1810188 h 5300148"/>
              <a:gd name="connsiteX37" fmla="*/ 343846 w 4100506"/>
              <a:gd name="connsiteY37" fmla="*/ 1756848 h 5300148"/>
              <a:gd name="connsiteX38" fmla="*/ 328606 w 4100506"/>
              <a:gd name="connsiteY38" fmla="*/ 1680648 h 5300148"/>
              <a:gd name="connsiteX39" fmla="*/ 412426 w 4100506"/>
              <a:gd name="connsiteY39" fmla="*/ 1474908 h 5300148"/>
              <a:gd name="connsiteX40" fmla="*/ 442906 w 4100506"/>
              <a:gd name="connsiteY40" fmla="*/ 1307268 h 5300148"/>
              <a:gd name="connsiteX41" fmla="*/ 465766 w 4100506"/>
              <a:gd name="connsiteY41" fmla="*/ 1192968 h 5300148"/>
              <a:gd name="connsiteX42" fmla="*/ 503866 w 4100506"/>
              <a:gd name="connsiteY42" fmla="*/ 1055808 h 5300148"/>
              <a:gd name="connsiteX43" fmla="*/ 557206 w 4100506"/>
              <a:gd name="connsiteY43" fmla="*/ 888168 h 5300148"/>
              <a:gd name="connsiteX44" fmla="*/ 503866 w 4100506"/>
              <a:gd name="connsiteY44" fmla="*/ 888168 h 5300148"/>
              <a:gd name="connsiteX45" fmla="*/ 412426 w 4100506"/>
              <a:gd name="connsiteY45" fmla="*/ 834828 h 5300148"/>
              <a:gd name="connsiteX46" fmla="*/ 328606 w 4100506"/>
              <a:gd name="connsiteY46" fmla="*/ 789108 h 5300148"/>
              <a:gd name="connsiteX47" fmla="*/ 260026 w 4100506"/>
              <a:gd name="connsiteY47" fmla="*/ 773868 h 5300148"/>
              <a:gd name="connsiteX48" fmla="*/ 214306 w 4100506"/>
              <a:gd name="connsiteY48" fmla="*/ 751008 h 5300148"/>
              <a:gd name="connsiteX49" fmla="*/ 260026 w 4100506"/>
              <a:gd name="connsiteY49" fmla="*/ 674808 h 5300148"/>
              <a:gd name="connsiteX50" fmla="*/ 374326 w 4100506"/>
              <a:gd name="connsiteY50" fmla="*/ 606228 h 5300148"/>
              <a:gd name="connsiteX51" fmla="*/ 557206 w 4100506"/>
              <a:gd name="connsiteY51" fmla="*/ 507168 h 5300148"/>
              <a:gd name="connsiteX52" fmla="*/ 656266 w 4100506"/>
              <a:gd name="connsiteY52" fmla="*/ 423348 h 5300148"/>
              <a:gd name="connsiteX53" fmla="*/ 892486 w 4100506"/>
              <a:gd name="connsiteY53" fmla="*/ 232848 h 5300148"/>
              <a:gd name="connsiteX54" fmla="*/ 1174426 w 4100506"/>
              <a:gd name="connsiteY54" fmla="*/ 80448 h 5300148"/>
              <a:gd name="connsiteX55" fmla="*/ 1593526 w 4100506"/>
              <a:gd name="connsiteY55" fmla="*/ 11868 h 5300148"/>
              <a:gd name="connsiteX56" fmla="*/ 1944046 w 4100506"/>
              <a:gd name="connsiteY56" fmla="*/ 4248 h 5300148"/>
              <a:gd name="connsiteX57" fmla="*/ 2172646 w 4100506"/>
              <a:gd name="connsiteY57" fmla="*/ 4248 h 5300148"/>
              <a:gd name="connsiteX58" fmla="*/ 2393626 w 4100506"/>
              <a:gd name="connsiteY58" fmla="*/ 57588 h 5300148"/>
              <a:gd name="connsiteX59" fmla="*/ 2667946 w 4100506"/>
              <a:gd name="connsiteY59" fmla="*/ 133788 h 5300148"/>
              <a:gd name="connsiteX60" fmla="*/ 2820346 w 4100506"/>
              <a:gd name="connsiteY60" fmla="*/ 202368 h 5300148"/>
              <a:gd name="connsiteX61" fmla="*/ 3102286 w 4100506"/>
              <a:gd name="connsiteY61" fmla="*/ 400488 h 5300148"/>
              <a:gd name="connsiteX62" fmla="*/ 3285166 w 4100506"/>
              <a:gd name="connsiteY62" fmla="*/ 651948 h 5300148"/>
              <a:gd name="connsiteX63" fmla="*/ 3407086 w 4100506"/>
              <a:gd name="connsiteY63" fmla="*/ 918648 h 5300148"/>
              <a:gd name="connsiteX64" fmla="*/ 3475666 w 4100506"/>
              <a:gd name="connsiteY64" fmla="*/ 1238688 h 5300148"/>
              <a:gd name="connsiteX65" fmla="*/ 3506146 w 4100506"/>
              <a:gd name="connsiteY65" fmla="*/ 1543488 h 5300148"/>
              <a:gd name="connsiteX66" fmla="*/ 3506146 w 4100506"/>
              <a:gd name="connsiteY66" fmla="*/ 1962588 h 5300148"/>
              <a:gd name="connsiteX67" fmla="*/ 3338506 w 4100506"/>
              <a:gd name="connsiteY67" fmla="*/ 2305488 h 5300148"/>
              <a:gd name="connsiteX68" fmla="*/ 3254686 w 4100506"/>
              <a:gd name="connsiteY68" fmla="*/ 2473128 h 5300148"/>
              <a:gd name="connsiteX69" fmla="*/ 3132766 w 4100506"/>
              <a:gd name="connsiteY69" fmla="*/ 2663628 h 5300148"/>
              <a:gd name="connsiteX70" fmla="*/ 3071806 w 4100506"/>
              <a:gd name="connsiteY70" fmla="*/ 2838888 h 5300148"/>
              <a:gd name="connsiteX71" fmla="*/ 3064186 w 4100506"/>
              <a:gd name="connsiteY71" fmla="*/ 2915088 h 5300148"/>
              <a:gd name="connsiteX72" fmla="*/ 3018466 w 4100506"/>
              <a:gd name="connsiteY72" fmla="*/ 3014148 h 5300148"/>
              <a:gd name="connsiteX73" fmla="*/ 2980366 w 4100506"/>
              <a:gd name="connsiteY73" fmla="*/ 3082728 h 5300148"/>
              <a:gd name="connsiteX74" fmla="*/ 2957506 w 4100506"/>
              <a:gd name="connsiteY74" fmla="*/ 3120828 h 5300148"/>
              <a:gd name="connsiteX75" fmla="*/ 2957506 w 4100506"/>
              <a:gd name="connsiteY75" fmla="*/ 3555168 h 5300148"/>
              <a:gd name="connsiteX76" fmla="*/ 3010846 w 4100506"/>
              <a:gd name="connsiteY76" fmla="*/ 3539928 h 5300148"/>
              <a:gd name="connsiteX77" fmla="*/ 3109906 w 4100506"/>
              <a:gd name="connsiteY77" fmla="*/ 3570408 h 5300148"/>
              <a:gd name="connsiteX78" fmla="*/ 3140386 w 4100506"/>
              <a:gd name="connsiteY78" fmla="*/ 3631368 h 5300148"/>
              <a:gd name="connsiteX79" fmla="*/ 3117526 w 4100506"/>
              <a:gd name="connsiteY79" fmla="*/ 3738048 h 5300148"/>
              <a:gd name="connsiteX80" fmla="*/ 3125146 w 4100506"/>
              <a:gd name="connsiteY80" fmla="*/ 4103808 h 5300148"/>
              <a:gd name="connsiteX81" fmla="*/ 3163246 w 4100506"/>
              <a:gd name="connsiteY81" fmla="*/ 4157148 h 5300148"/>
              <a:gd name="connsiteX82" fmla="*/ 3201346 w 4100506"/>
              <a:gd name="connsiteY82" fmla="*/ 4164768 h 5300148"/>
              <a:gd name="connsiteX83" fmla="*/ 3231826 w 4100506"/>
              <a:gd name="connsiteY83" fmla="*/ 4172388 h 5300148"/>
              <a:gd name="connsiteX84" fmla="*/ 3285166 w 4100506"/>
              <a:gd name="connsiteY84" fmla="*/ 4294308 h 5300148"/>
              <a:gd name="connsiteX85" fmla="*/ 3300406 w 4100506"/>
              <a:gd name="connsiteY85" fmla="*/ 4347648 h 5300148"/>
              <a:gd name="connsiteX86" fmla="*/ 3330886 w 4100506"/>
              <a:gd name="connsiteY86" fmla="*/ 4408608 h 5300148"/>
              <a:gd name="connsiteX87" fmla="*/ 3551866 w 4100506"/>
              <a:gd name="connsiteY87" fmla="*/ 4644828 h 5300148"/>
              <a:gd name="connsiteX88" fmla="*/ 3887146 w 4100506"/>
              <a:gd name="connsiteY88" fmla="*/ 5025828 h 5300148"/>
              <a:gd name="connsiteX89" fmla="*/ 4100506 w 4100506"/>
              <a:gd name="connsiteY89" fmla="*/ 5300148 h 5300148"/>
              <a:gd name="connsiteX0" fmla="*/ 707488 w 3887146"/>
              <a:gd name="connsiteY0" fmla="*/ 5008470 h 5025828"/>
              <a:gd name="connsiteX1" fmla="*/ 961066 w 3887146"/>
              <a:gd name="connsiteY1" fmla="*/ 4644828 h 5025828"/>
              <a:gd name="connsiteX2" fmla="*/ 1342066 w 3887146"/>
              <a:gd name="connsiteY2" fmla="*/ 4172388 h 5025828"/>
              <a:gd name="connsiteX3" fmla="*/ 1258246 w 3887146"/>
              <a:gd name="connsiteY3" fmla="*/ 4012368 h 5025828"/>
              <a:gd name="connsiteX4" fmla="*/ 1204906 w 3887146"/>
              <a:gd name="connsiteY4" fmla="*/ 3928548 h 5025828"/>
              <a:gd name="connsiteX5" fmla="*/ 1174426 w 3887146"/>
              <a:gd name="connsiteY5" fmla="*/ 3768528 h 5025828"/>
              <a:gd name="connsiteX6" fmla="*/ 1151566 w 3887146"/>
              <a:gd name="connsiteY6" fmla="*/ 3699948 h 5025828"/>
              <a:gd name="connsiteX7" fmla="*/ 1143946 w 3887146"/>
              <a:gd name="connsiteY7" fmla="*/ 3669468 h 5025828"/>
              <a:gd name="connsiteX8" fmla="*/ 1067746 w 3887146"/>
              <a:gd name="connsiteY8" fmla="*/ 3661848 h 5025828"/>
              <a:gd name="connsiteX9" fmla="*/ 938206 w 3887146"/>
              <a:gd name="connsiteY9" fmla="*/ 3669468 h 5025828"/>
              <a:gd name="connsiteX10" fmla="*/ 831526 w 3887146"/>
              <a:gd name="connsiteY10" fmla="*/ 3692328 h 5025828"/>
              <a:gd name="connsiteX11" fmla="*/ 610546 w 3887146"/>
              <a:gd name="connsiteY11" fmla="*/ 3738048 h 5025828"/>
              <a:gd name="connsiteX12" fmla="*/ 389566 w 3887146"/>
              <a:gd name="connsiteY12" fmla="*/ 3638988 h 5025828"/>
              <a:gd name="connsiteX13" fmla="*/ 381946 w 3887146"/>
              <a:gd name="connsiteY13" fmla="*/ 3326568 h 5025828"/>
              <a:gd name="connsiteX14" fmla="*/ 420046 w 3887146"/>
              <a:gd name="connsiteY14" fmla="*/ 3227508 h 5025828"/>
              <a:gd name="connsiteX15" fmla="*/ 389566 w 3887146"/>
              <a:gd name="connsiteY15" fmla="*/ 3166548 h 5025828"/>
              <a:gd name="connsiteX16" fmla="*/ 351466 w 3887146"/>
              <a:gd name="connsiteY16" fmla="*/ 3105588 h 5025828"/>
              <a:gd name="connsiteX17" fmla="*/ 397186 w 3887146"/>
              <a:gd name="connsiteY17" fmla="*/ 3021768 h 5025828"/>
              <a:gd name="connsiteX18" fmla="*/ 488626 w 3887146"/>
              <a:gd name="connsiteY18" fmla="*/ 2998908 h 5025828"/>
              <a:gd name="connsiteX19" fmla="*/ 471956 w 3887146"/>
              <a:gd name="connsiteY19" fmla="*/ 2942709 h 5025828"/>
              <a:gd name="connsiteX20" fmla="*/ 435286 w 3887146"/>
              <a:gd name="connsiteY20" fmla="*/ 2930328 h 5025828"/>
              <a:gd name="connsiteX21" fmla="*/ 389566 w 3887146"/>
              <a:gd name="connsiteY21" fmla="*/ 2930328 h 5025828"/>
              <a:gd name="connsiteX22" fmla="*/ 314000 w 3887146"/>
              <a:gd name="connsiteY22" fmla="*/ 2893495 h 5025828"/>
              <a:gd name="connsiteX23" fmla="*/ 320986 w 3887146"/>
              <a:gd name="connsiteY23" fmla="*/ 2846508 h 5025828"/>
              <a:gd name="connsiteX24" fmla="*/ 328606 w 3887146"/>
              <a:gd name="connsiteY24" fmla="*/ 2793168 h 5025828"/>
              <a:gd name="connsiteX25" fmla="*/ 313366 w 3887146"/>
              <a:gd name="connsiteY25" fmla="*/ 2732208 h 5025828"/>
              <a:gd name="connsiteX26" fmla="*/ 267646 w 3887146"/>
              <a:gd name="connsiteY26" fmla="*/ 2671248 h 5025828"/>
              <a:gd name="connsiteX27" fmla="*/ 176206 w 3887146"/>
              <a:gd name="connsiteY27" fmla="*/ 2656008 h 5025828"/>
              <a:gd name="connsiteX28" fmla="*/ 54286 w 3887146"/>
              <a:gd name="connsiteY28" fmla="*/ 2610288 h 5025828"/>
              <a:gd name="connsiteX29" fmla="*/ 7931 w 3887146"/>
              <a:gd name="connsiteY29" fmla="*/ 2563298 h 5025828"/>
              <a:gd name="connsiteX30" fmla="*/ 8566 w 3887146"/>
              <a:gd name="connsiteY30" fmla="*/ 2488368 h 5025828"/>
              <a:gd name="connsiteX31" fmla="*/ 92386 w 3887146"/>
              <a:gd name="connsiteY31" fmla="*/ 2335968 h 5025828"/>
              <a:gd name="connsiteX32" fmla="*/ 221926 w 3887146"/>
              <a:gd name="connsiteY32" fmla="*/ 2175948 h 5025828"/>
              <a:gd name="connsiteX33" fmla="*/ 282886 w 3887146"/>
              <a:gd name="connsiteY33" fmla="*/ 2084508 h 5025828"/>
              <a:gd name="connsiteX34" fmla="*/ 328606 w 3887146"/>
              <a:gd name="connsiteY34" fmla="*/ 1977828 h 5025828"/>
              <a:gd name="connsiteX35" fmla="*/ 359086 w 3887146"/>
              <a:gd name="connsiteY35" fmla="*/ 1871148 h 5025828"/>
              <a:gd name="connsiteX36" fmla="*/ 374326 w 3887146"/>
              <a:gd name="connsiteY36" fmla="*/ 1810188 h 5025828"/>
              <a:gd name="connsiteX37" fmla="*/ 343846 w 3887146"/>
              <a:gd name="connsiteY37" fmla="*/ 1756848 h 5025828"/>
              <a:gd name="connsiteX38" fmla="*/ 328606 w 3887146"/>
              <a:gd name="connsiteY38" fmla="*/ 1680648 h 5025828"/>
              <a:gd name="connsiteX39" fmla="*/ 412426 w 3887146"/>
              <a:gd name="connsiteY39" fmla="*/ 1474908 h 5025828"/>
              <a:gd name="connsiteX40" fmla="*/ 442906 w 3887146"/>
              <a:gd name="connsiteY40" fmla="*/ 1307268 h 5025828"/>
              <a:gd name="connsiteX41" fmla="*/ 465766 w 3887146"/>
              <a:gd name="connsiteY41" fmla="*/ 1192968 h 5025828"/>
              <a:gd name="connsiteX42" fmla="*/ 503866 w 3887146"/>
              <a:gd name="connsiteY42" fmla="*/ 1055808 h 5025828"/>
              <a:gd name="connsiteX43" fmla="*/ 557206 w 3887146"/>
              <a:gd name="connsiteY43" fmla="*/ 888168 h 5025828"/>
              <a:gd name="connsiteX44" fmla="*/ 503866 w 3887146"/>
              <a:gd name="connsiteY44" fmla="*/ 888168 h 5025828"/>
              <a:gd name="connsiteX45" fmla="*/ 412426 w 3887146"/>
              <a:gd name="connsiteY45" fmla="*/ 834828 h 5025828"/>
              <a:gd name="connsiteX46" fmla="*/ 328606 w 3887146"/>
              <a:gd name="connsiteY46" fmla="*/ 789108 h 5025828"/>
              <a:gd name="connsiteX47" fmla="*/ 260026 w 3887146"/>
              <a:gd name="connsiteY47" fmla="*/ 773868 h 5025828"/>
              <a:gd name="connsiteX48" fmla="*/ 214306 w 3887146"/>
              <a:gd name="connsiteY48" fmla="*/ 751008 h 5025828"/>
              <a:gd name="connsiteX49" fmla="*/ 260026 w 3887146"/>
              <a:gd name="connsiteY49" fmla="*/ 674808 h 5025828"/>
              <a:gd name="connsiteX50" fmla="*/ 374326 w 3887146"/>
              <a:gd name="connsiteY50" fmla="*/ 606228 h 5025828"/>
              <a:gd name="connsiteX51" fmla="*/ 557206 w 3887146"/>
              <a:gd name="connsiteY51" fmla="*/ 507168 h 5025828"/>
              <a:gd name="connsiteX52" fmla="*/ 656266 w 3887146"/>
              <a:gd name="connsiteY52" fmla="*/ 423348 h 5025828"/>
              <a:gd name="connsiteX53" fmla="*/ 892486 w 3887146"/>
              <a:gd name="connsiteY53" fmla="*/ 232848 h 5025828"/>
              <a:gd name="connsiteX54" fmla="*/ 1174426 w 3887146"/>
              <a:gd name="connsiteY54" fmla="*/ 80448 h 5025828"/>
              <a:gd name="connsiteX55" fmla="*/ 1593526 w 3887146"/>
              <a:gd name="connsiteY55" fmla="*/ 11868 h 5025828"/>
              <a:gd name="connsiteX56" fmla="*/ 1944046 w 3887146"/>
              <a:gd name="connsiteY56" fmla="*/ 4248 h 5025828"/>
              <a:gd name="connsiteX57" fmla="*/ 2172646 w 3887146"/>
              <a:gd name="connsiteY57" fmla="*/ 4248 h 5025828"/>
              <a:gd name="connsiteX58" fmla="*/ 2393626 w 3887146"/>
              <a:gd name="connsiteY58" fmla="*/ 57588 h 5025828"/>
              <a:gd name="connsiteX59" fmla="*/ 2667946 w 3887146"/>
              <a:gd name="connsiteY59" fmla="*/ 133788 h 5025828"/>
              <a:gd name="connsiteX60" fmla="*/ 2820346 w 3887146"/>
              <a:gd name="connsiteY60" fmla="*/ 202368 h 5025828"/>
              <a:gd name="connsiteX61" fmla="*/ 3102286 w 3887146"/>
              <a:gd name="connsiteY61" fmla="*/ 400488 h 5025828"/>
              <a:gd name="connsiteX62" fmla="*/ 3285166 w 3887146"/>
              <a:gd name="connsiteY62" fmla="*/ 651948 h 5025828"/>
              <a:gd name="connsiteX63" fmla="*/ 3407086 w 3887146"/>
              <a:gd name="connsiteY63" fmla="*/ 918648 h 5025828"/>
              <a:gd name="connsiteX64" fmla="*/ 3475666 w 3887146"/>
              <a:gd name="connsiteY64" fmla="*/ 1238688 h 5025828"/>
              <a:gd name="connsiteX65" fmla="*/ 3506146 w 3887146"/>
              <a:gd name="connsiteY65" fmla="*/ 1543488 h 5025828"/>
              <a:gd name="connsiteX66" fmla="*/ 3506146 w 3887146"/>
              <a:gd name="connsiteY66" fmla="*/ 1962588 h 5025828"/>
              <a:gd name="connsiteX67" fmla="*/ 3338506 w 3887146"/>
              <a:gd name="connsiteY67" fmla="*/ 2305488 h 5025828"/>
              <a:gd name="connsiteX68" fmla="*/ 3254686 w 3887146"/>
              <a:gd name="connsiteY68" fmla="*/ 2473128 h 5025828"/>
              <a:gd name="connsiteX69" fmla="*/ 3132766 w 3887146"/>
              <a:gd name="connsiteY69" fmla="*/ 2663628 h 5025828"/>
              <a:gd name="connsiteX70" fmla="*/ 3071806 w 3887146"/>
              <a:gd name="connsiteY70" fmla="*/ 2838888 h 5025828"/>
              <a:gd name="connsiteX71" fmla="*/ 3064186 w 3887146"/>
              <a:gd name="connsiteY71" fmla="*/ 2915088 h 5025828"/>
              <a:gd name="connsiteX72" fmla="*/ 3018466 w 3887146"/>
              <a:gd name="connsiteY72" fmla="*/ 3014148 h 5025828"/>
              <a:gd name="connsiteX73" fmla="*/ 2980366 w 3887146"/>
              <a:gd name="connsiteY73" fmla="*/ 3082728 h 5025828"/>
              <a:gd name="connsiteX74" fmla="*/ 2957506 w 3887146"/>
              <a:gd name="connsiteY74" fmla="*/ 3120828 h 5025828"/>
              <a:gd name="connsiteX75" fmla="*/ 2957506 w 3887146"/>
              <a:gd name="connsiteY75" fmla="*/ 3555168 h 5025828"/>
              <a:gd name="connsiteX76" fmla="*/ 3010846 w 3887146"/>
              <a:gd name="connsiteY76" fmla="*/ 3539928 h 5025828"/>
              <a:gd name="connsiteX77" fmla="*/ 3109906 w 3887146"/>
              <a:gd name="connsiteY77" fmla="*/ 3570408 h 5025828"/>
              <a:gd name="connsiteX78" fmla="*/ 3140386 w 3887146"/>
              <a:gd name="connsiteY78" fmla="*/ 3631368 h 5025828"/>
              <a:gd name="connsiteX79" fmla="*/ 3117526 w 3887146"/>
              <a:gd name="connsiteY79" fmla="*/ 3738048 h 5025828"/>
              <a:gd name="connsiteX80" fmla="*/ 3125146 w 3887146"/>
              <a:gd name="connsiteY80" fmla="*/ 4103808 h 5025828"/>
              <a:gd name="connsiteX81" fmla="*/ 3163246 w 3887146"/>
              <a:gd name="connsiteY81" fmla="*/ 4157148 h 5025828"/>
              <a:gd name="connsiteX82" fmla="*/ 3201346 w 3887146"/>
              <a:gd name="connsiteY82" fmla="*/ 4164768 h 5025828"/>
              <a:gd name="connsiteX83" fmla="*/ 3231826 w 3887146"/>
              <a:gd name="connsiteY83" fmla="*/ 4172388 h 5025828"/>
              <a:gd name="connsiteX84" fmla="*/ 3285166 w 3887146"/>
              <a:gd name="connsiteY84" fmla="*/ 4294308 h 5025828"/>
              <a:gd name="connsiteX85" fmla="*/ 3300406 w 3887146"/>
              <a:gd name="connsiteY85" fmla="*/ 4347648 h 5025828"/>
              <a:gd name="connsiteX86" fmla="*/ 3330886 w 3887146"/>
              <a:gd name="connsiteY86" fmla="*/ 4408608 h 5025828"/>
              <a:gd name="connsiteX87" fmla="*/ 3551866 w 3887146"/>
              <a:gd name="connsiteY87" fmla="*/ 4644828 h 5025828"/>
              <a:gd name="connsiteX88" fmla="*/ 3887146 w 3887146"/>
              <a:gd name="connsiteY88" fmla="*/ 5025828 h 5025828"/>
              <a:gd name="connsiteX0" fmla="*/ 707488 w 3884395"/>
              <a:gd name="connsiteY0" fmla="*/ 5008470 h 5017575"/>
              <a:gd name="connsiteX1" fmla="*/ 961066 w 3884395"/>
              <a:gd name="connsiteY1" fmla="*/ 4644828 h 5017575"/>
              <a:gd name="connsiteX2" fmla="*/ 1342066 w 3884395"/>
              <a:gd name="connsiteY2" fmla="*/ 4172388 h 5017575"/>
              <a:gd name="connsiteX3" fmla="*/ 1258246 w 3884395"/>
              <a:gd name="connsiteY3" fmla="*/ 4012368 h 5017575"/>
              <a:gd name="connsiteX4" fmla="*/ 1204906 w 3884395"/>
              <a:gd name="connsiteY4" fmla="*/ 3928548 h 5017575"/>
              <a:gd name="connsiteX5" fmla="*/ 1174426 w 3884395"/>
              <a:gd name="connsiteY5" fmla="*/ 3768528 h 5017575"/>
              <a:gd name="connsiteX6" fmla="*/ 1151566 w 3884395"/>
              <a:gd name="connsiteY6" fmla="*/ 3699948 h 5017575"/>
              <a:gd name="connsiteX7" fmla="*/ 1143946 w 3884395"/>
              <a:gd name="connsiteY7" fmla="*/ 3669468 h 5017575"/>
              <a:gd name="connsiteX8" fmla="*/ 1067746 w 3884395"/>
              <a:gd name="connsiteY8" fmla="*/ 3661848 h 5017575"/>
              <a:gd name="connsiteX9" fmla="*/ 938206 w 3884395"/>
              <a:gd name="connsiteY9" fmla="*/ 3669468 h 5017575"/>
              <a:gd name="connsiteX10" fmla="*/ 831526 w 3884395"/>
              <a:gd name="connsiteY10" fmla="*/ 3692328 h 5017575"/>
              <a:gd name="connsiteX11" fmla="*/ 610546 w 3884395"/>
              <a:gd name="connsiteY11" fmla="*/ 3738048 h 5017575"/>
              <a:gd name="connsiteX12" fmla="*/ 389566 w 3884395"/>
              <a:gd name="connsiteY12" fmla="*/ 3638988 h 5017575"/>
              <a:gd name="connsiteX13" fmla="*/ 381946 w 3884395"/>
              <a:gd name="connsiteY13" fmla="*/ 3326568 h 5017575"/>
              <a:gd name="connsiteX14" fmla="*/ 420046 w 3884395"/>
              <a:gd name="connsiteY14" fmla="*/ 3227508 h 5017575"/>
              <a:gd name="connsiteX15" fmla="*/ 389566 w 3884395"/>
              <a:gd name="connsiteY15" fmla="*/ 3166548 h 5017575"/>
              <a:gd name="connsiteX16" fmla="*/ 351466 w 3884395"/>
              <a:gd name="connsiteY16" fmla="*/ 3105588 h 5017575"/>
              <a:gd name="connsiteX17" fmla="*/ 397186 w 3884395"/>
              <a:gd name="connsiteY17" fmla="*/ 3021768 h 5017575"/>
              <a:gd name="connsiteX18" fmla="*/ 488626 w 3884395"/>
              <a:gd name="connsiteY18" fmla="*/ 2998908 h 5017575"/>
              <a:gd name="connsiteX19" fmla="*/ 471956 w 3884395"/>
              <a:gd name="connsiteY19" fmla="*/ 2942709 h 5017575"/>
              <a:gd name="connsiteX20" fmla="*/ 435286 w 3884395"/>
              <a:gd name="connsiteY20" fmla="*/ 2930328 h 5017575"/>
              <a:gd name="connsiteX21" fmla="*/ 389566 w 3884395"/>
              <a:gd name="connsiteY21" fmla="*/ 2930328 h 5017575"/>
              <a:gd name="connsiteX22" fmla="*/ 314000 w 3884395"/>
              <a:gd name="connsiteY22" fmla="*/ 2893495 h 5017575"/>
              <a:gd name="connsiteX23" fmla="*/ 320986 w 3884395"/>
              <a:gd name="connsiteY23" fmla="*/ 2846508 h 5017575"/>
              <a:gd name="connsiteX24" fmla="*/ 328606 w 3884395"/>
              <a:gd name="connsiteY24" fmla="*/ 2793168 h 5017575"/>
              <a:gd name="connsiteX25" fmla="*/ 313366 w 3884395"/>
              <a:gd name="connsiteY25" fmla="*/ 2732208 h 5017575"/>
              <a:gd name="connsiteX26" fmla="*/ 267646 w 3884395"/>
              <a:gd name="connsiteY26" fmla="*/ 2671248 h 5017575"/>
              <a:gd name="connsiteX27" fmla="*/ 176206 w 3884395"/>
              <a:gd name="connsiteY27" fmla="*/ 2656008 h 5017575"/>
              <a:gd name="connsiteX28" fmla="*/ 54286 w 3884395"/>
              <a:gd name="connsiteY28" fmla="*/ 2610288 h 5017575"/>
              <a:gd name="connsiteX29" fmla="*/ 7931 w 3884395"/>
              <a:gd name="connsiteY29" fmla="*/ 2563298 h 5017575"/>
              <a:gd name="connsiteX30" fmla="*/ 8566 w 3884395"/>
              <a:gd name="connsiteY30" fmla="*/ 2488368 h 5017575"/>
              <a:gd name="connsiteX31" fmla="*/ 92386 w 3884395"/>
              <a:gd name="connsiteY31" fmla="*/ 2335968 h 5017575"/>
              <a:gd name="connsiteX32" fmla="*/ 221926 w 3884395"/>
              <a:gd name="connsiteY32" fmla="*/ 2175948 h 5017575"/>
              <a:gd name="connsiteX33" fmla="*/ 282886 w 3884395"/>
              <a:gd name="connsiteY33" fmla="*/ 2084508 h 5017575"/>
              <a:gd name="connsiteX34" fmla="*/ 328606 w 3884395"/>
              <a:gd name="connsiteY34" fmla="*/ 1977828 h 5017575"/>
              <a:gd name="connsiteX35" fmla="*/ 359086 w 3884395"/>
              <a:gd name="connsiteY35" fmla="*/ 1871148 h 5017575"/>
              <a:gd name="connsiteX36" fmla="*/ 374326 w 3884395"/>
              <a:gd name="connsiteY36" fmla="*/ 1810188 h 5017575"/>
              <a:gd name="connsiteX37" fmla="*/ 343846 w 3884395"/>
              <a:gd name="connsiteY37" fmla="*/ 1756848 h 5017575"/>
              <a:gd name="connsiteX38" fmla="*/ 328606 w 3884395"/>
              <a:gd name="connsiteY38" fmla="*/ 1680648 h 5017575"/>
              <a:gd name="connsiteX39" fmla="*/ 412426 w 3884395"/>
              <a:gd name="connsiteY39" fmla="*/ 1474908 h 5017575"/>
              <a:gd name="connsiteX40" fmla="*/ 442906 w 3884395"/>
              <a:gd name="connsiteY40" fmla="*/ 1307268 h 5017575"/>
              <a:gd name="connsiteX41" fmla="*/ 465766 w 3884395"/>
              <a:gd name="connsiteY41" fmla="*/ 1192968 h 5017575"/>
              <a:gd name="connsiteX42" fmla="*/ 503866 w 3884395"/>
              <a:gd name="connsiteY42" fmla="*/ 1055808 h 5017575"/>
              <a:gd name="connsiteX43" fmla="*/ 557206 w 3884395"/>
              <a:gd name="connsiteY43" fmla="*/ 888168 h 5017575"/>
              <a:gd name="connsiteX44" fmla="*/ 503866 w 3884395"/>
              <a:gd name="connsiteY44" fmla="*/ 888168 h 5017575"/>
              <a:gd name="connsiteX45" fmla="*/ 412426 w 3884395"/>
              <a:gd name="connsiteY45" fmla="*/ 834828 h 5017575"/>
              <a:gd name="connsiteX46" fmla="*/ 328606 w 3884395"/>
              <a:gd name="connsiteY46" fmla="*/ 789108 h 5017575"/>
              <a:gd name="connsiteX47" fmla="*/ 260026 w 3884395"/>
              <a:gd name="connsiteY47" fmla="*/ 773868 h 5017575"/>
              <a:gd name="connsiteX48" fmla="*/ 214306 w 3884395"/>
              <a:gd name="connsiteY48" fmla="*/ 751008 h 5017575"/>
              <a:gd name="connsiteX49" fmla="*/ 260026 w 3884395"/>
              <a:gd name="connsiteY49" fmla="*/ 674808 h 5017575"/>
              <a:gd name="connsiteX50" fmla="*/ 374326 w 3884395"/>
              <a:gd name="connsiteY50" fmla="*/ 606228 h 5017575"/>
              <a:gd name="connsiteX51" fmla="*/ 557206 w 3884395"/>
              <a:gd name="connsiteY51" fmla="*/ 507168 h 5017575"/>
              <a:gd name="connsiteX52" fmla="*/ 656266 w 3884395"/>
              <a:gd name="connsiteY52" fmla="*/ 423348 h 5017575"/>
              <a:gd name="connsiteX53" fmla="*/ 892486 w 3884395"/>
              <a:gd name="connsiteY53" fmla="*/ 232848 h 5017575"/>
              <a:gd name="connsiteX54" fmla="*/ 1174426 w 3884395"/>
              <a:gd name="connsiteY54" fmla="*/ 80448 h 5017575"/>
              <a:gd name="connsiteX55" fmla="*/ 1593526 w 3884395"/>
              <a:gd name="connsiteY55" fmla="*/ 11868 h 5017575"/>
              <a:gd name="connsiteX56" fmla="*/ 1944046 w 3884395"/>
              <a:gd name="connsiteY56" fmla="*/ 4248 h 5017575"/>
              <a:gd name="connsiteX57" fmla="*/ 2172646 w 3884395"/>
              <a:gd name="connsiteY57" fmla="*/ 4248 h 5017575"/>
              <a:gd name="connsiteX58" fmla="*/ 2393626 w 3884395"/>
              <a:gd name="connsiteY58" fmla="*/ 57588 h 5017575"/>
              <a:gd name="connsiteX59" fmla="*/ 2667946 w 3884395"/>
              <a:gd name="connsiteY59" fmla="*/ 133788 h 5017575"/>
              <a:gd name="connsiteX60" fmla="*/ 2820346 w 3884395"/>
              <a:gd name="connsiteY60" fmla="*/ 202368 h 5017575"/>
              <a:gd name="connsiteX61" fmla="*/ 3102286 w 3884395"/>
              <a:gd name="connsiteY61" fmla="*/ 400488 h 5017575"/>
              <a:gd name="connsiteX62" fmla="*/ 3285166 w 3884395"/>
              <a:gd name="connsiteY62" fmla="*/ 651948 h 5017575"/>
              <a:gd name="connsiteX63" fmla="*/ 3407086 w 3884395"/>
              <a:gd name="connsiteY63" fmla="*/ 918648 h 5017575"/>
              <a:gd name="connsiteX64" fmla="*/ 3475666 w 3884395"/>
              <a:gd name="connsiteY64" fmla="*/ 1238688 h 5017575"/>
              <a:gd name="connsiteX65" fmla="*/ 3506146 w 3884395"/>
              <a:gd name="connsiteY65" fmla="*/ 1543488 h 5017575"/>
              <a:gd name="connsiteX66" fmla="*/ 3506146 w 3884395"/>
              <a:gd name="connsiteY66" fmla="*/ 1962588 h 5017575"/>
              <a:gd name="connsiteX67" fmla="*/ 3338506 w 3884395"/>
              <a:gd name="connsiteY67" fmla="*/ 2305488 h 5017575"/>
              <a:gd name="connsiteX68" fmla="*/ 3254686 w 3884395"/>
              <a:gd name="connsiteY68" fmla="*/ 2473128 h 5017575"/>
              <a:gd name="connsiteX69" fmla="*/ 3132766 w 3884395"/>
              <a:gd name="connsiteY69" fmla="*/ 2663628 h 5017575"/>
              <a:gd name="connsiteX70" fmla="*/ 3071806 w 3884395"/>
              <a:gd name="connsiteY70" fmla="*/ 2838888 h 5017575"/>
              <a:gd name="connsiteX71" fmla="*/ 3064186 w 3884395"/>
              <a:gd name="connsiteY71" fmla="*/ 2915088 h 5017575"/>
              <a:gd name="connsiteX72" fmla="*/ 3018466 w 3884395"/>
              <a:gd name="connsiteY72" fmla="*/ 3014148 h 5017575"/>
              <a:gd name="connsiteX73" fmla="*/ 2980366 w 3884395"/>
              <a:gd name="connsiteY73" fmla="*/ 3082728 h 5017575"/>
              <a:gd name="connsiteX74" fmla="*/ 2957506 w 3884395"/>
              <a:gd name="connsiteY74" fmla="*/ 3120828 h 5017575"/>
              <a:gd name="connsiteX75" fmla="*/ 2957506 w 3884395"/>
              <a:gd name="connsiteY75" fmla="*/ 3555168 h 5017575"/>
              <a:gd name="connsiteX76" fmla="*/ 3010846 w 3884395"/>
              <a:gd name="connsiteY76" fmla="*/ 3539928 h 5017575"/>
              <a:gd name="connsiteX77" fmla="*/ 3109906 w 3884395"/>
              <a:gd name="connsiteY77" fmla="*/ 3570408 h 5017575"/>
              <a:gd name="connsiteX78" fmla="*/ 3140386 w 3884395"/>
              <a:gd name="connsiteY78" fmla="*/ 3631368 h 5017575"/>
              <a:gd name="connsiteX79" fmla="*/ 3117526 w 3884395"/>
              <a:gd name="connsiteY79" fmla="*/ 3738048 h 5017575"/>
              <a:gd name="connsiteX80" fmla="*/ 3125146 w 3884395"/>
              <a:gd name="connsiteY80" fmla="*/ 4103808 h 5017575"/>
              <a:gd name="connsiteX81" fmla="*/ 3163246 w 3884395"/>
              <a:gd name="connsiteY81" fmla="*/ 4157148 h 5017575"/>
              <a:gd name="connsiteX82" fmla="*/ 3201346 w 3884395"/>
              <a:gd name="connsiteY82" fmla="*/ 4164768 h 5017575"/>
              <a:gd name="connsiteX83" fmla="*/ 3231826 w 3884395"/>
              <a:gd name="connsiteY83" fmla="*/ 4172388 h 5017575"/>
              <a:gd name="connsiteX84" fmla="*/ 3285166 w 3884395"/>
              <a:gd name="connsiteY84" fmla="*/ 4294308 h 5017575"/>
              <a:gd name="connsiteX85" fmla="*/ 3300406 w 3884395"/>
              <a:gd name="connsiteY85" fmla="*/ 4347648 h 5017575"/>
              <a:gd name="connsiteX86" fmla="*/ 3330886 w 3884395"/>
              <a:gd name="connsiteY86" fmla="*/ 4408608 h 5017575"/>
              <a:gd name="connsiteX87" fmla="*/ 3551866 w 3884395"/>
              <a:gd name="connsiteY87" fmla="*/ 4644828 h 5017575"/>
              <a:gd name="connsiteX88" fmla="*/ 3884395 w 3884395"/>
              <a:gd name="connsiteY88" fmla="*/ 5017575 h 5017575"/>
              <a:gd name="connsiteX0" fmla="*/ 707488 w 3889897"/>
              <a:gd name="connsiteY0" fmla="*/ 5008470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163246 w 3889897"/>
              <a:gd name="connsiteY81" fmla="*/ 4157148 h 5020326"/>
              <a:gd name="connsiteX82" fmla="*/ 3201346 w 3889897"/>
              <a:gd name="connsiteY82" fmla="*/ 4164768 h 5020326"/>
              <a:gd name="connsiteX83" fmla="*/ 3231826 w 3889897"/>
              <a:gd name="connsiteY83" fmla="*/ 4172388 h 5020326"/>
              <a:gd name="connsiteX84" fmla="*/ 3285166 w 3889897"/>
              <a:gd name="connsiteY84" fmla="*/ 4294308 h 5020326"/>
              <a:gd name="connsiteX85" fmla="*/ 3300406 w 3889897"/>
              <a:gd name="connsiteY85" fmla="*/ 4347648 h 5020326"/>
              <a:gd name="connsiteX86" fmla="*/ 3330886 w 3889897"/>
              <a:gd name="connsiteY86" fmla="*/ 4408608 h 5020326"/>
              <a:gd name="connsiteX87" fmla="*/ 3551866 w 3889897"/>
              <a:gd name="connsiteY87" fmla="*/ 4644828 h 5020326"/>
              <a:gd name="connsiteX88" fmla="*/ 3889897 w 3889897"/>
              <a:gd name="connsiteY88" fmla="*/ 5020326 h 5020326"/>
              <a:gd name="connsiteX0" fmla="*/ 704737 w 3889897"/>
              <a:gd name="connsiteY0" fmla="*/ 5016723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163246 w 3889897"/>
              <a:gd name="connsiteY81" fmla="*/ 4157148 h 5020326"/>
              <a:gd name="connsiteX82" fmla="*/ 3201346 w 3889897"/>
              <a:gd name="connsiteY82" fmla="*/ 4164768 h 5020326"/>
              <a:gd name="connsiteX83" fmla="*/ 3231826 w 3889897"/>
              <a:gd name="connsiteY83" fmla="*/ 4172388 h 5020326"/>
              <a:gd name="connsiteX84" fmla="*/ 3285166 w 3889897"/>
              <a:gd name="connsiteY84" fmla="*/ 4294308 h 5020326"/>
              <a:gd name="connsiteX85" fmla="*/ 3300406 w 3889897"/>
              <a:gd name="connsiteY85" fmla="*/ 4347648 h 5020326"/>
              <a:gd name="connsiteX86" fmla="*/ 3330886 w 3889897"/>
              <a:gd name="connsiteY86" fmla="*/ 4408608 h 5020326"/>
              <a:gd name="connsiteX87" fmla="*/ 3551866 w 3889897"/>
              <a:gd name="connsiteY87" fmla="*/ 4644828 h 5020326"/>
              <a:gd name="connsiteX88" fmla="*/ 3889897 w 3889897"/>
              <a:gd name="connsiteY88" fmla="*/ 5020326 h 5020326"/>
              <a:gd name="connsiteX0" fmla="*/ 710239 w 3889897"/>
              <a:gd name="connsiteY0" fmla="*/ 5024991 h 5024991"/>
              <a:gd name="connsiteX1" fmla="*/ 961066 w 3889897"/>
              <a:gd name="connsiteY1" fmla="*/ 4644828 h 5024991"/>
              <a:gd name="connsiteX2" fmla="*/ 1342066 w 3889897"/>
              <a:gd name="connsiteY2" fmla="*/ 4172388 h 5024991"/>
              <a:gd name="connsiteX3" fmla="*/ 1258246 w 3889897"/>
              <a:gd name="connsiteY3" fmla="*/ 4012368 h 5024991"/>
              <a:gd name="connsiteX4" fmla="*/ 1204906 w 3889897"/>
              <a:gd name="connsiteY4" fmla="*/ 3928548 h 5024991"/>
              <a:gd name="connsiteX5" fmla="*/ 1174426 w 3889897"/>
              <a:gd name="connsiteY5" fmla="*/ 3768528 h 5024991"/>
              <a:gd name="connsiteX6" fmla="*/ 1151566 w 3889897"/>
              <a:gd name="connsiteY6" fmla="*/ 3699948 h 5024991"/>
              <a:gd name="connsiteX7" fmla="*/ 1143946 w 3889897"/>
              <a:gd name="connsiteY7" fmla="*/ 3669468 h 5024991"/>
              <a:gd name="connsiteX8" fmla="*/ 1067746 w 3889897"/>
              <a:gd name="connsiteY8" fmla="*/ 3661848 h 5024991"/>
              <a:gd name="connsiteX9" fmla="*/ 938206 w 3889897"/>
              <a:gd name="connsiteY9" fmla="*/ 3669468 h 5024991"/>
              <a:gd name="connsiteX10" fmla="*/ 831526 w 3889897"/>
              <a:gd name="connsiteY10" fmla="*/ 3692328 h 5024991"/>
              <a:gd name="connsiteX11" fmla="*/ 610546 w 3889897"/>
              <a:gd name="connsiteY11" fmla="*/ 3738048 h 5024991"/>
              <a:gd name="connsiteX12" fmla="*/ 389566 w 3889897"/>
              <a:gd name="connsiteY12" fmla="*/ 3638988 h 5024991"/>
              <a:gd name="connsiteX13" fmla="*/ 381946 w 3889897"/>
              <a:gd name="connsiteY13" fmla="*/ 3326568 h 5024991"/>
              <a:gd name="connsiteX14" fmla="*/ 420046 w 3889897"/>
              <a:gd name="connsiteY14" fmla="*/ 3227508 h 5024991"/>
              <a:gd name="connsiteX15" fmla="*/ 389566 w 3889897"/>
              <a:gd name="connsiteY15" fmla="*/ 3166548 h 5024991"/>
              <a:gd name="connsiteX16" fmla="*/ 351466 w 3889897"/>
              <a:gd name="connsiteY16" fmla="*/ 3105588 h 5024991"/>
              <a:gd name="connsiteX17" fmla="*/ 397186 w 3889897"/>
              <a:gd name="connsiteY17" fmla="*/ 3021768 h 5024991"/>
              <a:gd name="connsiteX18" fmla="*/ 488626 w 3889897"/>
              <a:gd name="connsiteY18" fmla="*/ 2998908 h 5024991"/>
              <a:gd name="connsiteX19" fmla="*/ 471956 w 3889897"/>
              <a:gd name="connsiteY19" fmla="*/ 2942709 h 5024991"/>
              <a:gd name="connsiteX20" fmla="*/ 435286 w 3889897"/>
              <a:gd name="connsiteY20" fmla="*/ 2930328 h 5024991"/>
              <a:gd name="connsiteX21" fmla="*/ 389566 w 3889897"/>
              <a:gd name="connsiteY21" fmla="*/ 2930328 h 5024991"/>
              <a:gd name="connsiteX22" fmla="*/ 314000 w 3889897"/>
              <a:gd name="connsiteY22" fmla="*/ 2893495 h 5024991"/>
              <a:gd name="connsiteX23" fmla="*/ 320986 w 3889897"/>
              <a:gd name="connsiteY23" fmla="*/ 2846508 h 5024991"/>
              <a:gd name="connsiteX24" fmla="*/ 328606 w 3889897"/>
              <a:gd name="connsiteY24" fmla="*/ 2793168 h 5024991"/>
              <a:gd name="connsiteX25" fmla="*/ 313366 w 3889897"/>
              <a:gd name="connsiteY25" fmla="*/ 2732208 h 5024991"/>
              <a:gd name="connsiteX26" fmla="*/ 267646 w 3889897"/>
              <a:gd name="connsiteY26" fmla="*/ 2671248 h 5024991"/>
              <a:gd name="connsiteX27" fmla="*/ 176206 w 3889897"/>
              <a:gd name="connsiteY27" fmla="*/ 2656008 h 5024991"/>
              <a:gd name="connsiteX28" fmla="*/ 54286 w 3889897"/>
              <a:gd name="connsiteY28" fmla="*/ 2610288 h 5024991"/>
              <a:gd name="connsiteX29" fmla="*/ 7931 w 3889897"/>
              <a:gd name="connsiteY29" fmla="*/ 2563298 h 5024991"/>
              <a:gd name="connsiteX30" fmla="*/ 8566 w 3889897"/>
              <a:gd name="connsiteY30" fmla="*/ 2488368 h 5024991"/>
              <a:gd name="connsiteX31" fmla="*/ 92386 w 3889897"/>
              <a:gd name="connsiteY31" fmla="*/ 2335968 h 5024991"/>
              <a:gd name="connsiteX32" fmla="*/ 221926 w 3889897"/>
              <a:gd name="connsiteY32" fmla="*/ 2175948 h 5024991"/>
              <a:gd name="connsiteX33" fmla="*/ 282886 w 3889897"/>
              <a:gd name="connsiteY33" fmla="*/ 2084508 h 5024991"/>
              <a:gd name="connsiteX34" fmla="*/ 328606 w 3889897"/>
              <a:gd name="connsiteY34" fmla="*/ 1977828 h 5024991"/>
              <a:gd name="connsiteX35" fmla="*/ 359086 w 3889897"/>
              <a:gd name="connsiteY35" fmla="*/ 1871148 h 5024991"/>
              <a:gd name="connsiteX36" fmla="*/ 374326 w 3889897"/>
              <a:gd name="connsiteY36" fmla="*/ 1810188 h 5024991"/>
              <a:gd name="connsiteX37" fmla="*/ 343846 w 3889897"/>
              <a:gd name="connsiteY37" fmla="*/ 1756848 h 5024991"/>
              <a:gd name="connsiteX38" fmla="*/ 328606 w 3889897"/>
              <a:gd name="connsiteY38" fmla="*/ 1680648 h 5024991"/>
              <a:gd name="connsiteX39" fmla="*/ 412426 w 3889897"/>
              <a:gd name="connsiteY39" fmla="*/ 1474908 h 5024991"/>
              <a:gd name="connsiteX40" fmla="*/ 442906 w 3889897"/>
              <a:gd name="connsiteY40" fmla="*/ 1307268 h 5024991"/>
              <a:gd name="connsiteX41" fmla="*/ 465766 w 3889897"/>
              <a:gd name="connsiteY41" fmla="*/ 1192968 h 5024991"/>
              <a:gd name="connsiteX42" fmla="*/ 503866 w 3889897"/>
              <a:gd name="connsiteY42" fmla="*/ 1055808 h 5024991"/>
              <a:gd name="connsiteX43" fmla="*/ 557206 w 3889897"/>
              <a:gd name="connsiteY43" fmla="*/ 888168 h 5024991"/>
              <a:gd name="connsiteX44" fmla="*/ 503866 w 3889897"/>
              <a:gd name="connsiteY44" fmla="*/ 888168 h 5024991"/>
              <a:gd name="connsiteX45" fmla="*/ 412426 w 3889897"/>
              <a:gd name="connsiteY45" fmla="*/ 834828 h 5024991"/>
              <a:gd name="connsiteX46" fmla="*/ 328606 w 3889897"/>
              <a:gd name="connsiteY46" fmla="*/ 789108 h 5024991"/>
              <a:gd name="connsiteX47" fmla="*/ 260026 w 3889897"/>
              <a:gd name="connsiteY47" fmla="*/ 773868 h 5024991"/>
              <a:gd name="connsiteX48" fmla="*/ 214306 w 3889897"/>
              <a:gd name="connsiteY48" fmla="*/ 751008 h 5024991"/>
              <a:gd name="connsiteX49" fmla="*/ 260026 w 3889897"/>
              <a:gd name="connsiteY49" fmla="*/ 674808 h 5024991"/>
              <a:gd name="connsiteX50" fmla="*/ 374326 w 3889897"/>
              <a:gd name="connsiteY50" fmla="*/ 606228 h 5024991"/>
              <a:gd name="connsiteX51" fmla="*/ 557206 w 3889897"/>
              <a:gd name="connsiteY51" fmla="*/ 507168 h 5024991"/>
              <a:gd name="connsiteX52" fmla="*/ 656266 w 3889897"/>
              <a:gd name="connsiteY52" fmla="*/ 423348 h 5024991"/>
              <a:gd name="connsiteX53" fmla="*/ 892486 w 3889897"/>
              <a:gd name="connsiteY53" fmla="*/ 232848 h 5024991"/>
              <a:gd name="connsiteX54" fmla="*/ 1174426 w 3889897"/>
              <a:gd name="connsiteY54" fmla="*/ 80448 h 5024991"/>
              <a:gd name="connsiteX55" fmla="*/ 1593526 w 3889897"/>
              <a:gd name="connsiteY55" fmla="*/ 11868 h 5024991"/>
              <a:gd name="connsiteX56" fmla="*/ 1944046 w 3889897"/>
              <a:gd name="connsiteY56" fmla="*/ 4248 h 5024991"/>
              <a:gd name="connsiteX57" fmla="*/ 2172646 w 3889897"/>
              <a:gd name="connsiteY57" fmla="*/ 4248 h 5024991"/>
              <a:gd name="connsiteX58" fmla="*/ 2393626 w 3889897"/>
              <a:gd name="connsiteY58" fmla="*/ 57588 h 5024991"/>
              <a:gd name="connsiteX59" fmla="*/ 2667946 w 3889897"/>
              <a:gd name="connsiteY59" fmla="*/ 133788 h 5024991"/>
              <a:gd name="connsiteX60" fmla="*/ 2820346 w 3889897"/>
              <a:gd name="connsiteY60" fmla="*/ 202368 h 5024991"/>
              <a:gd name="connsiteX61" fmla="*/ 3102286 w 3889897"/>
              <a:gd name="connsiteY61" fmla="*/ 400488 h 5024991"/>
              <a:gd name="connsiteX62" fmla="*/ 3285166 w 3889897"/>
              <a:gd name="connsiteY62" fmla="*/ 651948 h 5024991"/>
              <a:gd name="connsiteX63" fmla="*/ 3407086 w 3889897"/>
              <a:gd name="connsiteY63" fmla="*/ 918648 h 5024991"/>
              <a:gd name="connsiteX64" fmla="*/ 3475666 w 3889897"/>
              <a:gd name="connsiteY64" fmla="*/ 1238688 h 5024991"/>
              <a:gd name="connsiteX65" fmla="*/ 3506146 w 3889897"/>
              <a:gd name="connsiteY65" fmla="*/ 1543488 h 5024991"/>
              <a:gd name="connsiteX66" fmla="*/ 3506146 w 3889897"/>
              <a:gd name="connsiteY66" fmla="*/ 1962588 h 5024991"/>
              <a:gd name="connsiteX67" fmla="*/ 3338506 w 3889897"/>
              <a:gd name="connsiteY67" fmla="*/ 2305488 h 5024991"/>
              <a:gd name="connsiteX68" fmla="*/ 3254686 w 3889897"/>
              <a:gd name="connsiteY68" fmla="*/ 2473128 h 5024991"/>
              <a:gd name="connsiteX69" fmla="*/ 3132766 w 3889897"/>
              <a:gd name="connsiteY69" fmla="*/ 2663628 h 5024991"/>
              <a:gd name="connsiteX70" fmla="*/ 3071806 w 3889897"/>
              <a:gd name="connsiteY70" fmla="*/ 2838888 h 5024991"/>
              <a:gd name="connsiteX71" fmla="*/ 3064186 w 3889897"/>
              <a:gd name="connsiteY71" fmla="*/ 2915088 h 5024991"/>
              <a:gd name="connsiteX72" fmla="*/ 3018466 w 3889897"/>
              <a:gd name="connsiteY72" fmla="*/ 3014148 h 5024991"/>
              <a:gd name="connsiteX73" fmla="*/ 2980366 w 3889897"/>
              <a:gd name="connsiteY73" fmla="*/ 3082728 h 5024991"/>
              <a:gd name="connsiteX74" fmla="*/ 2957506 w 3889897"/>
              <a:gd name="connsiteY74" fmla="*/ 3120828 h 5024991"/>
              <a:gd name="connsiteX75" fmla="*/ 2957506 w 3889897"/>
              <a:gd name="connsiteY75" fmla="*/ 3555168 h 5024991"/>
              <a:gd name="connsiteX76" fmla="*/ 3010846 w 3889897"/>
              <a:gd name="connsiteY76" fmla="*/ 3539928 h 5024991"/>
              <a:gd name="connsiteX77" fmla="*/ 3109906 w 3889897"/>
              <a:gd name="connsiteY77" fmla="*/ 3570408 h 5024991"/>
              <a:gd name="connsiteX78" fmla="*/ 3140386 w 3889897"/>
              <a:gd name="connsiteY78" fmla="*/ 3631368 h 5024991"/>
              <a:gd name="connsiteX79" fmla="*/ 3117526 w 3889897"/>
              <a:gd name="connsiteY79" fmla="*/ 3738048 h 5024991"/>
              <a:gd name="connsiteX80" fmla="*/ 3125146 w 3889897"/>
              <a:gd name="connsiteY80" fmla="*/ 4103808 h 5024991"/>
              <a:gd name="connsiteX81" fmla="*/ 3163246 w 3889897"/>
              <a:gd name="connsiteY81" fmla="*/ 4157148 h 5024991"/>
              <a:gd name="connsiteX82" fmla="*/ 3201346 w 3889897"/>
              <a:gd name="connsiteY82" fmla="*/ 4164768 h 5024991"/>
              <a:gd name="connsiteX83" fmla="*/ 3231826 w 3889897"/>
              <a:gd name="connsiteY83" fmla="*/ 4172388 h 5024991"/>
              <a:gd name="connsiteX84" fmla="*/ 3285166 w 3889897"/>
              <a:gd name="connsiteY84" fmla="*/ 4294308 h 5024991"/>
              <a:gd name="connsiteX85" fmla="*/ 3300406 w 3889897"/>
              <a:gd name="connsiteY85" fmla="*/ 4347648 h 5024991"/>
              <a:gd name="connsiteX86" fmla="*/ 3330886 w 3889897"/>
              <a:gd name="connsiteY86" fmla="*/ 4408608 h 5024991"/>
              <a:gd name="connsiteX87" fmla="*/ 3551866 w 3889897"/>
              <a:gd name="connsiteY87" fmla="*/ 4644828 h 5024991"/>
              <a:gd name="connsiteX88" fmla="*/ 3889897 w 3889897"/>
              <a:gd name="connsiteY88" fmla="*/ 5020326 h 5024991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163246 w 3889897"/>
              <a:gd name="connsiteY81" fmla="*/ 4157148 h 5020326"/>
              <a:gd name="connsiteX82" fmla="*/ 3201346 w 3889897"/>
              <a:gd name="connsiteY82" fmla="*/ 4164768 h 5020326"/>
              <a:gd name="connsiteX83" fmla="*/ 3231826 w 3889897"/>
              <a:gd name="connsiteY83" fmla="*/ 4172388 h 5020326"/>
              <a:gd name="connsiteX84" fmla="*/ 3285166 w 3889897"/>
              <a:gd name="connsiteY84" fmla="*/ 4294308 h 5020326"/>
              <a:gd name="connsiteX85" fmla="*/ 3300406 w 3889897"/>
              <a:gd name="connsiteY85" fmla="*/ 4347648 h 5020326"/>
              <a:gd name="connsiteX86" fmla="*/ 3330886 w 3889897"/>
              <a:gd name="connsiteY86" fmla="*/ 4408608 h 5020326"/>
              <a:gd name="connsiteX87" fmla="*/ 3551866 w 3889897"/>
              <a:gd name="connsiteY87" fmla="*/ 4644828 h 5020326"/>
              <a:gd name="connsiteX88" fmla="*/ 3889897 w 3889897"/>
              <a:gd name="connsiteY88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201346 w 3889897"/>
              <a:gd name="connsiteY81" fmla="*/ 4164768 h 5020326"/>
              <a:gd name="connsiteX82" fmla="*/ 3231826 w 3889897"/>
              <a:gd name="connsiteY82" fmla="*/ 4172388 h 5020326"/>
              <a:gd name="connsiteX83" fmla="*/ 3285166 w 3889897"/>
              <a:gd name="connsiteY83" fmla="*/ 4294308 h 5020326"/>
              <a:gd name="connsiteX84" fmla="*/ 3300406 w 3889897"/>
              <a:gd name="connsiteY84" fmla="*/ 4347648 h 5020326"/>
              <a:gd name="connsiteX85" fmla="*/ 3330886 w 3889897"/>
              <a:gd name="connsiteY85" fmla="*/ 4408608 h 5020326"/>
              <a:gd name="connsiteX86" fmla="*/ 3551866 w 3889897"/>
              <a:gd name="connsiteY86" fmla="*/ 4644828 h 5020326"/>
              <a:gd name="connsiteX87" fmla="*/ 3889897 w 3889897"/>
              <a:gd name="connsiteY87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51566 w 3889897"/>
              <a:gd name="connsiteY6" fmla="*/ 3699948 h 5020326"/>
              <a:gd name="connsiteX7" fmla="*/ 1143946 w 3889897"/>
              <a:gd name="connsiteY7" fmla="*/ 3669468 h 5020326"/>
              <a:gd name="connsiteX8" fmla="*/ 1067746 w 3889897"/>
              <a:gd name="connsiteY8" fmla="*/ 3661848 h 5020326"/>
              <a:gd name="connsiteX9" fmla="*/ 938206 w 3889897"/>
              <a:gd name="connsiteY9" fmla="*/ 3669468 h 5020326"/>
              <a:gd name="connsiteX10" fmla="*/ 831526 w 3889897"/>
              <a:gd name="connsiteY10" fmla="*/ 3692328 h 5020326"/>
              <a:gd name="connsiteX11" fmla="*/ 610546 w 3889897"/>
              <a:gd name="connsiteY11" fmla="*/ 3738048 h 5020326"/>
              <a:gd name="connsiteX12" fmla="*/ 389566 w 3889897"/>
              <a:gd name="connsiteY12" fmla="*/ 3638988 h 5020326"/>
              <a:gd name="connsiteX13" fmla="*/ 381946 w 3889897"/>
              <a:gd name="connsiteY13" fmla="*/ 3326568 h 5020326"/>
              <a:gd name="connsiteX14" fmla="*/ 420046 w 3889897"/>
              <a:gd name="connsiteY14" fmla="*/ 3227508 h 5020326"/>
              <a:gd name="connsiteX15" fmla="*/ 389566 w 3889897"/>
              <a:gd name="connsiteY15" fmla="*/ 3166548 h 5020326"/>
              <a:gd name="connsiteX16" fmla="*/ 351466 w 3889897"/>
              <a:gd name="connsiteY16" fmla="*/ 3105588 h 5020326"/>
              <a:gd name="connsiteX17" fmla="*/ 397186 w 3889897"/>
              <a:gd name="connsiteY17" fmla="*/ 3021768 h 5020326"/>
              <a:gd name="connsiteX18" fmla="*/ 488626 w 3889897"/>
              <a:gd name="connsiteY18" fmla="*/ 2998908 h 5020326"/>
              <a:gd name="connsiteX19" fmla="*/ 471956 w 3889897"/>
              <a:gd name="connsiteY19" fmla="*/ 2942709 h 5020326"/>
              <a:gd name="connsiteX20" fmla="*/ 435286 w 3889897"/>
              <a:gd name="connsiteY20" fmla="*/ 2930328 h 5020326"/>
              <a:gd name="connsiteX21" fmla="*/ 389566 w 3889897"/>
              <a:gd name="connsiteY21" fmla="*/ 2930328 h 5020326"/>
              <a:gd name="connsiteX22" fmla="*/ 314000 w 3889897"/>
              <a:gd name="connsiteY22" fmla="*/ 2893495 h 5020326"/>
              <a:gd name="connsiteX23" fmla="*/ 320986 w 3889897"/>
              <a:gd name="connsiteY23" fmla="*/ 2846508 h 5020326"/>
              <a:gd name="connsiteX24" fmla="*/ 328606 w 3889897"/>
              <a:gd name="connsiteY24" fmla="*/ 2793168 h 5020326"/>
              <a:gd name="connsiteX25" fmla="*/ 313366 w 3889897"/>
              <a:gd name="connsiteY25" fmla="*/ 2732208 h 5020326"/>
              <a:gd name="connsiteX26" fmla="*/ 267646 w 3889897"/>
              <a:gd name="connsiteY26" fmla="*/ 2671248 h 5020326"/>
              <a:gd name="connsiteX27" fmla="*/ 176206 w 3889897"/>
              <a:gd name="connsiteY27" fmla="*/ 2656008 h 5020326"/>
              <a:gd name="connsiteX28" fmla="*/ 54286 w 3889897"/>
              <a:gd name="connsiteY28" fmla="*/ 2610288 h 5020326"/>
              <a:gd name="connsiteX29" fmla="*/ 7931 w 3889897"/>
              <a:gd name="connsiteY29" fmla="*/ 2563298 h 5020326"/>
              <a:gd name="connsiteX30" fmla="*/ 8566 w 3889897"/>
              <a:gd name="connsiteY30" fmla="*/ 2488368 h 5020326"/>
              <a:gd name="connsiteX31" fmla="*/ 92386 w 3889897"/>
              <a:gd name="connsiteY31" fmla="*/ 2335968 h 5020326"/>
              <a:gd name="connsiteX32" fmla="*/ 221926 w 3889897"/>
              <a:gd name="connsiteY32" fmla="*/ 2175948 h 5020326"/>
              <a:gd name="connsiteX33" fmla="*/ 282886 w 3889897"/>
              <a:gd name="connsiteY33" fmla="*/ 2084508 h 5020326"/>
              <a:gd name="connsiteX34" fmla="*/ 328606 w 3889897"/>
              <a:gd name="connsiteY34" fmla="*/ 1977828 h 5020326"/>
              <a:gd name="connsiteX35" fmla="*/ 359086 w 3889897"/>
              <a:gd name="connsiteY35" fmla="*/ 1871148 h 5020326"/>
              <a:gd name="connsiteX36" fmla="*/ 374326 w 3889897"/>
              <a:gd name="connsiteY36" fmla="*/ 1810188 h 5020326"/>
              <a:gd name="connsiteX37" fmla="*/ 343846 w 3889897"/>
              <a:gd name="connsiteY37" fmla="*/ 1756848 h 5020326"/>
              <a:gd name="connsiteX38" fmla="*/ 328606 w 3889897"/>
              <a:gd name="connsiteY38" fmla="*/ 1680648 h 5020326"/>
              <a:gd name="connsiteX39" fmla="*/ 412426 w 3889897"/>
              <a:gd name="connsiteY39" fmla="*/ 1474908 h 5020326"/>
              <a:gd name="connsiteX40" fmla="*/ 442906 w 3889897"/>
              <a:gd name="connsiteY40" fmla="*/ 1307268 h 5020326"/>
              <a:gd name="connsiteX41" fmla="*/ 465766 w 3889897"/>
              <a:gd name="connsiteY41" fmla="*/ 1192968 h 5020326"/>
              <a:gd name="connsiteX42" fmla="*/ 503866 w 3889897"/>
              <a:gd name="connsiteY42" fmla="*/ 1055808 h 5020326"/>
              <a:gd name="connsiteX43" fmla="*/ 557206 w 3889897"/>
              <a:gd name="connsiteY43" fmla="*/ 888168 h 5020326"/>
              <a:gd name="connsiteX44" fmla="*/ 503866 w 3889897"/>
              <a:gd name="connsiteY44" fmla="*/ 888168 h 5020326"/>
              <a:gd name="connsiteX45" fmla="*/ 412426 w 3889897"/>
              <a:gd name="connsiteY45" fmla="*/ 834828 h 5020326"/>
              <a:gd name="connsiteX46" fmla="*/ 328606 w 3889897"/>
              <a:gd name="connsiteY46" fmla="*/ 789108 h 5020326"/>
              <a:gd name="connsiteX47" fmla="*/ 260026 w 3889897"/>
              <a:gd name="connsiteY47" fmla="*/ 773868 h 5020326"/>
              <a:gd name="connsiteX48" fmla="*/ 214306 w 3889897"/>
              <a:gd name="connsiteY48" fmla="*/ 751008 h 5020326"/>
              <a:gd name="connsiteX49" fmla="*/ 260026 w 3889897"/>
              <a:gd name="connsiteY49" fmla="*/ 674808 h 5020326"/>
              <a:gd name="connsiteX50" fmla="*/ 374326 w 3889897"/>
              <a:gd name="connsiteY50" fmla="*/ 606228 h 5020326"/>
              <a:gd name="connsiteX51" fmla="*/ 557206 w 3889897"/>
              <a:gd name="connsiteY51" fmla="*/ 507168 h 5020326"/>
              <a:gd name="connsiteX52" fmla="*/ 656266 w 3889897"/>
              <a:gd name="connsiteY52" fmla="*/ 423348 h 5020326"/>
              <a:gd name="connsiteX53" fmla="*/ 892486 w 3889897"/>
              <a:gd name="connsiteY53" fmla="*/ 232848 h 5020326"/>
              <a:gd name="connsiteX54" fmla="*/ 1174426 w 3889897"/>
              <a:gd name="connsiteY54" fmla="*/ 80448 h 5020326"/>
              <a:gd name="connsiteX55" fmla="*/ 1593526 w 3889897"/>
              <a:gd name="connsiteY55" fmla="*/ 11868 h 5020326"/>
              <a:gd name="connsiteX56" fmla="*/ 1944046 w 3889897"/>
              <a:gd name="connsiteY56" fmla="*/ 4248 h 5020326"/>
              <a:gd name="connsiteX57" fmla="*/ 2172646 w 3889897"/>
              <a:gd name="connsiteY57" fmla="*/ 4248 h 5020326"/>
              <a:gd name="connsiteX58" fmla="*/ 2393626 w 3889897"/>
              <a:gd name="connsiteY58" fmla="*/ 57588 h 5020326"/>
              <a:gd name="connsiteX59" fmla="*/ 2667946 w 3889897"/>
              <a:gd name="connsiteY59" fmla="*/ 133788 h 5020326"/>
              <a:gd name="connsiteX60" fmla="*/ 2820346 w 3889897"/>
              <a:gd name="connsiteY60" fmla="*/ 202368 h 5020326"/>
              <a:gd name="connsiteX61" fmla="*/ 3102286 w 3889897"/>
              <a:gd name="connsiteY61" fmla="*/ 400488 h 5020326"/>
              <a:gd name="connsiteX62" fmla="*/ 3285166 w 3889897"/>
              <a:gd name="connsiteY62" fmla="*/ 651948 h 5020326"/>
              <a:gd name="connsiteX63" fmla="*/ 3407086 w 3889897"/>
              <a:gd name="connsiteY63" fmla="*/ 918648 h 5020326"/>
              <a:gd name="connsiteX64" fmla="*/ 3475666 w 3889897"/>
              <a:gd name="connsiteY64" fmla="*/ 1238688 h 5020326"/>
              <a:gd name="connsiteX65" fmla="*/ 3506146 w 3889897"/>
              <a:gd name="connsiteY65" fmla="*/ 1543488 h 5020326"/>
              <a:gd name="connsiteX66" fmla="*/ 3506146 w 3889897"/>
              <a:gd name="connsiteY66" fmla="*/ 1962588 h 5020326"/>
              <a:gd name="connsiteX67" fmla="*/ 3338506 w 3889897"/>
              <a:gd name="connsiteY67" fmla="*/ 2305488 h 5020326"/>
              <a:gd name="connsiteX68" fmla="*/ 3254686 w 3889897"/>
              <a:gd name="connsiteY68" fmla="*/ 2473128 h 5020326"/>
              <a:gd name="connsiteX69" fmla="*/ 3132766 w 3889897"/>
              <a:gd name="connsiteY69" fmla="*/ 2663628 h 5020326"/>
              <a:gd name="connsiteX70" fmla="*/ 3071806 w 3889897"/>
              <a:gd name="connsiteY70" fmla="*/ 2838888 h 5020326"/>
              <a:gd name="connsiteX71" fmla="*/ 3064186 w 3889897"/>
              <a:gd name="connsiteY71" fmla="*/ 2915088 h 5020326"/>
              <a:gd name="connsiteX72" fmla="*/ 3018466 w 3889897"/>
              <a:gd name="connsiteY72" fmla="*/ 3014148 h 5020326"/>
              <a:gd name="connsiteX73" fmla="*/ 2980366 w 3889897"/>
              <a:gd name="connsiteY73" fmla="*/ 3082728 h 5020326"/>
              <a:gd name="connsiteX74" fmla="*/ 2957506 w 3889897"/>
              <a:gd name="connsiteY74" fmla="*/ 3120828 h 5020326"/>
              <a:gd name="connsiteX75" fmla="*/ 2957506 w 3889897"/>
              <a:gd name="connsiteY75" fmla="*/ 3555168 h 5020326"/>
              <a:gd name="connsiteX76" fmla="*/ 3010846 w 3889897"/>
              <a:gd name="connsiteY76" fmla="*/ 3539928 h 5020326"/>
              <a:gd name="connsiteX77" fmla="*/ 3109906 w 3889897"/>
              <a:gd name="connsiteY77" fmla="*/ 3570408 h 5020326"/>
              <a:gd name="connsiteX78" fmla="*/ 3140386 w 3889897"/>
              <a:gd name="connsiteY78" fmla="*/ 3631368 h 5020326"/>
              <a:gd name="connsiteX79" fmla="*/ 3117526 w 3889897"/>
              <a:gd name="connsiteY79" fmla="*/ 3738048 h 5020326"/>
              <a:gd name="connsiteX80" fmla="*/ 3125146 w 3889897"/>
              <a:gd name="connsiteY80" fmla="*/ 4103808 h 5020326"/>
              <a:gd name="connsiteX81" fmla="*/ 3231826 w 3889897"/>
              <a:gd name="connsiteY81" fmla="*/ 4172388 h 5020326"/>
              <a:gd name="connsiteX82" fmla="*/ 3285166 w 3889897"/>
              <a:gd name="connsiteY82" fmla="*/ 4294308 h 5020326"/>
              <a:gd name="connsiteX83" fmla="*/ 3300406 w 3889897"/>
              <a:gd name="connsiteY83" fmla="*/ 4347648 h 5020326"/>
              <a:gd name="connsiteX84" fmla="*/ 3330886 w 3889897"/>
              <a:gd name="connsiteY84" fmla="*/ 4408608 h 5020326"/>
              <a:gd name="connsiteX85" fmla="*/ 3551866 w 3889897"/>
              <a:gd name="connsiteY85" fmla="*/ 4644828 h 5020326"/>
              <a:gd name="connsiteX86" fmla="*/ 3889897 w 3889897"/>
              <a:gd name="connsiteY86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43946 w 3889897"/>
              <a:gd name="connsiteY6" fmla="*/ 3669468 h 5020326"/>
              <a:gd name="connsiteX7" fmla="*/ 1067746 w 3889897"/>
              <a:gd name="connsiteY7" fmla="*/ 3661848 h 5020326"/>
              <a:gd name="connsiteX8" fmla="*/ 938206 w 3889897"/>
              <a:gd name="connsiteY8" fmla="*/ 3669468 h 5020326"/>
              <a:gd name="connsiteX9" fmla="*/ 831526 w 3889897"/>
              <a:gd name="connsiteY9" fmla="*/ 3692328 h 5020326"/>
              <a:gd name="connsiteX10" fmla="*/ 610546 w 3889897"/>
              <a:gd name="connsiteY10" fmla="*/ 3738048 h 5020326"/>
              <a:gd name="connsiteX11" fmla="*/ 389566 w 3889897"/>
              <a:gd name="connsiteY11" fmla="*/ 3638988 h 5020326"/>
              <a:gd name="connsiteX12" fmla="*/ 381946 w 3889897"/>
              <a:gd name="connsiteY12" fmla="*/ 3326568 h 5020326"/>
              <a:gd name="connsiteX13" fmla="*/ 420046 w 3889897"/>
              <a:gd name="connsiteY13" fmla="*/ 3227508 h 5020326"/>
              <a:gd name="connsiteX14" fmla="*/ 389566 w 3889897"/>
              <a:gd name="connsiteY14" fmla="*/ 3166548 h 5020326"/>
              <a:gd name="connsiteX15" fmla="*/ 351466 w 3889897"/>
              <a:gd name="connsiteY15" fmla="*/ 3105588 h 5020326"/>
              <a:gd name="connsiteX16" fmla="*/ 397186 w 3889897"/>
              <a:gd name="connsiteY16" fmla="*/ 3021768 h 5020326"/>
              <a:gd name="connsiteX17" fmla="*/ 488626 w 3889897"/>
              <a:gd name="connsiteY17" fmla="*/ 2998908 h 5020326"/>
              <a:gd name="connsiteX18" fmla="*/ 471956 w 3889897"/>
              <a:gd name="connsiteY18" fmla="*/ 2942709 h 5020326"/>
              <a:gd name="connsiteX19" fmla="*/ 435286 w 3889897"/>
              <a:gd name="connsiteY19" fmla="*/ 2930328 h 5020326"/>
              <a:gd name="connsiteX20" fmla="*/ 389566 w 3889897"/>
              <a:gd name="connsiteY20" fmla="*/ 2930328 h 5020326"/>
              <a:gd name="connsiteX21" fmla="*/ 314000 w 3889897"/>
              <a:gd name="connsiteY21" fmla="*/ 2893495 h 5020326"/>
              <a:gd name="connsiteX22" fmla="*/ 320986 w 3889897"/>
              <a:gd name="connsiteY22" fmla="*/ 2846508 h 5020326"/>
              <a:gd name="connsiteX23" fmla="*/ 328606 w 3889897"/>
              <a:gd name="connsiteY23" fmla="*/ 2793168 h 5020326"/>
              <a:gd name="connsiteX24" fmla="*/ 313366 w 3889897"/>
              <a:gd name="connsiteY24" fmla="*/ 2732208 h 5020326"/>
              <a:gd name="connsiteX25" fmla="*/ 267646 w 3889897"/>
              <a:gd name="connsiteY25" fmla="*/ 2671248 h 5020326"/>
              <a:gd name="connsiteX26" fmla="*/ 176206 w 3889897"/>
              <a:gd name="connsiteY26" fmla="*/ 2656008 h 5020326"/>
              <a:gd name="connsiteX27" fmla="*/ 54286 w 3889897"/>
              <a:gd name="connsiteY27" fmla="*/ 2610288 h 5020326"/>
              <a:gd name="connsiteX28" fmla="*/ 7931 w 3889897"/>
              <a:gd name="connsiteY28" fmla="*/ 2563298 h 5020326"/>
              <a:gd name="connsiteX29" fmla="*/ 8566 w 3889897"/>
              <a:gd name="connsiteY29" fmla="*/ 2488368 h 5020326"/>
              <a:gd name="connsiteX30" fmla="*/ 92386 w 3889897"/>
              <a:gd name="connsiteY30" fmla="*/ 2335968 h 5020326"/>
              <a:gd name="connsiteX31" fmla="*/ 221926 w 3889897"/>
              <a:gd name="connsiteY31" fmla="*/ 2175948 h 5020326"/>
              <a:gd name="connsiteX32" fmla="*/ 282886 w 3889897"/>
              <a:gd name="connsiteY32" fmla="*/ 2084508 h 5020326"/>
              <a:gd name="connsiteX33" fmla="*/ 328606 w 3889897"/>
              <a:gd name="connsiteY33" fmla="*/ 1977828 h 5020326"/>
              <a:gd name="connsiteX34" fmla="*/ 359086 w 3889897"/>
              <a:gd name="connsiteY34" fmla="*/ 1871148 h 5020326"/>
              <a:gd name="connsiteX35" fmla="*/ 374326 w 3889897"/>
              <a:gd name="connsiteY35" fmla="*/ 1810188 h 5020326"/>
              <a:gd name="connsiteX36" fmla="*/ 343846 w 3889897"/>
              <a:gd name="connsiteY36" fmla="*/ 1756848 h 5020326"/>
              <a:gd name="connsiteX37" fmla="*/ 328606 w 3889897"/>
              <a:gd name="connsiteY37" fmla="*/ 1680648 h 5020326"/>
              <a:gd name="connsiteX38" fmla="*/ 412426 w 3889897"/>
              <a:gd name="connsiteY38" fmla="*/ 1474908 h 5020326"/>
              <a:gd name="connsiteX39" fmla="*/ 442906 w 3889897"/>
              <a:gd name="connsiteY39" fmla="*/ 1307268 h 5020326"/>
              <a:gd name="connsiteX40" fmla="*/ 465766 w 3889897"/>
              <a:gd name="connsiteY40" fmla="*/ 1192968 h 5020326"/>
              <a:gd name="connsiteX41" fmla="*/ 503866 w 3889897"/>
              <a:gd name="connsiteY41" fmla="*/ 1055808 h 5020326"/>
              <a:gd name="connsiteX42" fmla="*/ 557206 w 3889897"/>
              <a:gd name="connsiteY42" fmla="*/ 888168 h 5020326"/>
              <a:gd name="connsiteX43" fmla="*/ 503866 w 3889897"/>
              <a:gd name="connsiteY43" fmla="*/ 888168 h 5020326"/>
              <a:gd name="connsiteX44" fmla="*/ 412426 w 3889897"/>
              <a:gd name="connsiteY44" fmla="*/ 834828 h 5020326"/>
              <a:gd name="connsiteX45" fmla="*/ 328606 w 3889897"/>
              <a:gd name="connsiteY45" fmla="*/ 789108 h 5020326"/>
              <a:gd name="connsiteX46" fmla="*/ 260026 w 3889897"/>
              <a:gd name="connsiteY46" fmla="*/ 773868 h 5020326"/>
              <a:gd name="connsiteX47" fmla="*/ 214306 w 3889897"/>
              <a:gd name="connsiteY47" fmla="*/ 751008 h 5020326"/>
              <a:gd name="connsiteX48" fmla="*/ 260026 w 3889897"/>
              <a:gd name="connsiteY48" fmla="*/ 674808 h 5020326"/>
              <a:gd name="connsiteX49" fmla="*/ 374326 w 3889897"/>
              <a:gd name="connsiteY49" fmla="*/ 606228 h 5020326"/>
              <a:gd name="connsiteX50" fmla="*/ 557206 w 3889897"/>
              <a:gd name="connsiteY50" fmla="*/ 507168 h 5020326"/>
              <a:gd name="connsiteX51" fmla="*/ 656266 w 3889897"/>
              <a:gd name="connsiteY51" fmla="*/ 423348 h 5020326"/>
              <a:gd name="connsiteX52" fmla="*/ 892486 w 3889897"/>
              <a:gd name="connsiteY52" fmla="*/ 232848 h 5020326"/>
              <a:gd name="connsiteX53" fmla="*/ 1174426 w 3889897"/>
              <a:gd name="connsiteY53" fmla="*/ 80448 h 5020326"/>
              <a:gd name="connsiteX54" fmla="*/ 1593526 w 3889897"/>
              <a:gd name="connsiteY54" fmla="*/ 11868 h 5020326"/>
              <a:gd name="connsiteX55" fmla="*/ 1944046 w 3889897"/>
              <a:gd name="connsiteY55" fmla="*/ 4248 h 5020326"/>
              <a:gd name="connsiteX56" fmla="*/ 2172646 w 3889897"/>
              <a:gd name="connsiteY56" fmla="*/ 4248 h 5020326"/>
              <a:gd name="connsiteX57" fmla="*/ 2393626 w 3889897"/>
              <a:gd name="connsiteY57" fmla="*/ 57588 h 5020326"/>
              <a:gd name="connsiteX58" fmla="*/ 2667946 w 3889897"/>
              <a:gd name="connsiteY58" fmla="*/ 133788 h 5020326"/>
              <a:gd name="connsiteX59" fmla="*/ 2820346 w 3889897"/>
              <a:gd name="connsiteY59" fmla="*/ 202368 h 5020326"/>
              <a:gd name="connsiteX60" fmla="*/ 3102286 w 3889897"/>
              <a:gd name="connsiteY60" fmla="*/ 400488 h 5020326"/>
              <a:gd name="connsiteX61" fmla="*/ 3285166 w 3889897"/>
              <a:gd name="connsiteY61" fmla="*/ 651948 h 5020326"/>
              <a:gd name="connsiteX62" fmla="*/ 3407086 w 3889897"/>
              <a:gd name="connsiteY62" fmla="*/ 918648 h 5020326"/>
              <a:gd name="connsiteX63" fmla="*/ 3475666 w 3889897"/>
              <a:gd name="connsiteY63" fmla="*/ 1238688 h 5020326"/>
              <a:gd name="connsiteX64" fmla="*/ 3506146 w 3889897"/>
              <a:gd name="connsiteY64" fmla="*/ 1543488 h 5020326"/>
              <a:gd name="connsiteX65" fmla="*/ 3506146 w 3889897"/>
              <a:gd name="connsiteY65" fmla="*/ 1962588 h 5020326"/>
              <a:gd name="connsiteX66" fmla="*/ 3338506 w 3889897"/>
              <a:gd name="connsiteY66" fmla="*/ 2305488 h 5020326"/>
              <a:gd name="connsiteX67" fmla="*/ 3254686 w 3889897"/>
              <a:gd name="connsiteY67" fmla="*/ 2473128 h 5020326"/>
              <a:gd name="connsiteX68" fmla="*/ 3132766 w 3889897"/>
              <a:gd name="connsiteY68" fmla="*/ 2663628 h 5020326"/>
              <a:gd name="connsiteX69" fmla="*/ 3071806 w 3889897"/>
              <a:gd name="connsiteY69" fmla="*/ 2838888 h 5020326"/>
              <a:gd name="connsiteX70" fmla="*/ 3064186 w 3889897"/>
              <a:gd name="connsiteY70" fmla="*/ 2915088 h 5020326"/>
              <a:gd name="connsiteX71" fmla="*/ 3018466 w 3889897"/>
              <a:gd name="connsiteY71" fmla="*/ 3014148 h 5020326"/>
              <a:gd name="connsiteX72" fmla="*/ 2980366 w 3889897"/>
              <a:gd name="connsiteY72" fmla="*/ 3082728 h 5020326"/>
              <a:gd name="connsiteX73" fmla="*/ 2957506 w 3889897"/>
              <a:gd name="connsiteY73" fmla="*/ 3120828 h 5020326"/>
              <a:gd name="connsiteX74" fmla="*/ 2957506 w 3889897"/>
              <a:gd name="connsiteY74" fmla="*/ 3555168 h 5020326"/>
              <a:gd name="connsiteX75" fmla="*/ 3010846 w 3889897"/>
              <a:gd name="connsiteY75" fmla="*/ 3539928 h 5020326"/>
              <a:gd name="connsiteX76" fmla="*/ 3109906 w 3889897"/>
              <a:gd name="connsiteY76" fmla="*/ 3570408 h 5020326"/>
              <a:gd name="connsiteX77" fmla="*/ 3140386 w 3889897"/>
              <a:gd name="connsiteY77" fmla="*/ 3631368 h 5020326"/>
              <a:gd name="connsiteX78" fmla="*/ 3117526 w 3889897"/>
              <a:gd name="connsiteY78" fmla="*/ 3738048 h 5020326"/>
              <a:gd name="connsiteX79" fmla="*/ 3125146 w 3889897"/>
              <a:gd name="connsiteY79" fmla="*/ 4103808 h 5020326"/>
              <a:gd name="connsiteX80" fmla="*/ 3231826 w 3889897"/>
              <a:gd name="connsiteY80" fmla="*/ 4172388 h 5020326"/>
              <a:gd name="connsiteX81" fmla="*/ 3285166 w 3889897"/>
              <a:gd name="connsiteY81" fmla="*/ 4294308 h 5020326"/>
              <a:gd name="connsiteX82" fmla="*/ 3300406 w 3889897"/>
              <a:gd name="connsiteY82" fmla="*/ 4347648 h 5020326"/>
              <a:gd name="connsiteX83" fmla="*/ 3330886 w 3889897"/>
              <a:gd name="connsiteY83" fmla="*/ 4408608 h 5020326"/>
              <a:gd name="connsiteX84" fmla="*/ 3551866 w 3889897"/>
              <a:gd name="connsiteY84" fmla="*/ 4644828 h 5020326"/>
              <a:gd name="connsiteX85" fmla="*/ 3889897 w 3889897"/>
              <a:gd name="connsiteY85" fmla="*/ 5020326 h 5020326"/>
              <a:gd name="connsiteX0" fmla="*/ 712990 w 3889897"/>
              <a:gd name="connsiteY0" fmla="*/ 5019479 h 5020326"/>
              <a:gd name="connsiteX1" fmla="*/ 961066 w 3889897"/>
              <a:gd name="connsiteY1" fmla="*/ 4644828 h 5020326"/>
              <a:gd name="connsiteX2" fmla="*/ 1342066 w 3889897"/>
              <a:gd name="connsiteY2" fmla="*/ 4172388 h 5020326"/>
              <a:gd name="connsiteX3" fmla="*/ 1258246 w 3889897"/>
              <a:gd name="connsiteY3" fmla="*/ 4012368 h 5020326"/>
              <a:gd name="connsiteX4" fmla="*/ 1204906 w 3889897"/>
              <a:gd name="connsiteY4" fmla="*/ 3928548 h 5020326"/>
              <a:gd name="connsiteX5" fmla="*/ 1174426 w 3889897"/>
              <a:gd name="connsiteY5" fmla="*/ 3768528 h 5020326"/>
              <a:gd name="connsiteX6" fmla="*/ 1143946 w 3889897"/>
              <a:gd name="connsiteY6" fmla="*/ 3669468 h 5020326"/>
              <a:gd name="connsiteX7" fmla="*/ 1067746 w 3889897"/>
              <a:gd name="connsiteY7" fmla="*/ 3661848 h 5020326"/>
              <a:gd name="connsiteX8" fmla="*/ 938206 w 3889897"/>
              <a:gd name="connsiteY8" fmla="*/ 3669468 h 5020326"/>
              <a:gd name="connsiteX9" fmla="*/ 831526 w 3889897"/>
              <a:gd name="connsiteY9" fmla="*/ 3692328 h 5020326"/>
              <a:gd name="connsiteX10" fmla="*/ 610546 w 3889897"/>
              <a:gd name="connsiteY10" fmla="*/ 3738048 h 5020326"/>
              <a:gd name="connsiteX11" fmla="*/ 389566 w 3889897"/>
              <a:gd name="connsiteY11" fmla="*/ 3638988 h 5020326"/>
              <a:gd name="connsiteX12" fmla="*/ 381946 w 3889897"/>
              <a:gd name="connsiteY12" fmla="*/ 3326568 h 5020326"/>
              <a:gd name="connsiteX13" fmla="*/ 420046 w 3889897"/>
              <a:gd name="connsiteY13" fmla="*/ 3227508 h 5020326"/>
              <a:gd name="connsiteX14" fmla="*/ 389566 w 3889897"/>
              <a:gd name="connsiteY14" fmla="*/ 3166548 h 5020326"/>
              <a:gd name="connsiteX15" fmla="*/ 351466 w 3889897"/>
              <a:gd name="connsiteY15" fmla="*/ 3105588 h 5020326"/>
              <a:gd name="connsiteX16" fmla="*/ 397186 w 3889897"/>
              <a:gd name="connsiteY16" fmla="*/ 3021768 h 5020326"/>
              <a:gd name="connsiteX17" fmla="*/ 488626 w 3889897"/>
              <a:gd name="connsiteY17" fmla="*/ 2998908 h 5020326"/>
              <a:gd name="connsiteX18" fmla="*/ 471956 w 3889897"/>
              <a:gd name="connsiteY18" fmla="*/ 2942709 h 5020326"/>
              <a:gd name="connsiteX19" fmla="*/ 435286 w 3889897"/>
              <a:gd name="connsiteY19" fmla="*/ 2930328 h 5020326"/>
              <a:gd name="connsiteX20" fmla="*/ 389566 w 3889897"/>
              <a:gd name="connsiteY20" fmla="*/ 2930328 h 5020326"/>
              <a:gd name="connsiteX21" fmla="*/ 314000 w 3889897"/>
              <a:gd name="connsiteY21" fmla="*/ 2893495 h 5020326"/>
              <a:gd name="connsiteX22" fmla="*/ 320986 w 3889897"/>
              <a:gd name="connsiteY22" fmla="*/ 2846508 h 5020326"/>
              <a:gd name="connsiteX23" fmla="*/ 328606 w 3889897"/>
              <a:gd name="connsiteY23" fmla="*/ 2793168 h 5020326"/>
              <a:gd name="connsiteX24" fmla="*/ 313366 w 3889897"/>
              <a:gd name="connsiteY24" fmla="*/ 2732208 h 5020326"/>
              <a:gd name="connsiteX25" fmla="*/ 267646 w 3889897"/>
              <a:gd name="connsiteY25" fmla="*/ 2671248 h 5020326"/>
              <a:gd name="connsiteX26" fmla="*/ 176206 w 3889897"/>
              <a:gd name="connsiteY26" fmla="*/ 2656008 h 5020326"/>
              <a:gd name="connsiteX27" fmla="*/ 54286 w 3889897"/>
              <a:gd name="connsiteY27" fmla="*/ 2610288 h 5020326"/>
              <a:gd name="connsiteX28" fmla="*/ 7931 w 3889897"/>
              <a:gd name="connsiteY28" fmla="*/ 2563298 h 5020326"/>
              <a:gd name="connsiteX29" fmla="*/ 8566 w 3889897"/>
              <a:gd name="connsiteY29" fmla="*/ 2488368 h 5020326"/>
              <a:gd name="connsiteX30" fmla="*/ 92386 w 3889897"/>
              <a:gd name="connsiteY30" fmla="*/ 2335968 h 5020326"/>
              <a:gd name="connsiteX31" fmla="*/ 221926 w 3889897"/>
              <a:gd name="connsiteY31" fmla="*/ 2175948 h 5020326"/>
              <a:gd name="connsiteX32" fmla="*/ 282886 w 3889897"/>
              <a:gd name="connsiteY32" fmla="*/ 2084508 h 5020326"/>
              <a:gd name="connsiteX33" fmla="*/ 328606 w 3889897"/>
              <a:gd name="connsiteY33" fmla="*/ 1977828 h 5020326"/>
              <a:gd name="connsiteX34" fmla="*/ 359086 w 3889897"/>
              <a:gd name="connsiteY34" fmla="*/ 1871148 h 5020326"/>
              <a:gd name="connsiteX35" fmla="*/ 374326 w 3889897"/>
              <a:gd name="connsiteY35" fmla="*/ 1810188 h 5020326"/>
              <a:gd name="connsiteX36" fmla="*/ 343846 w 3889897"/>
              <a:gd name="connsiteY36" fmla="*/ 1756848 h 5020326"/>
              <a:gd name="connsiteX37" fmla="*/ 328606 w 3889897"/>
              <a:gd name="connsiteY37" fmla="*/ 1680648 h 5020326"/>
              <a:gd name="connsiteX38" fmla="*/ 412426 w 3889897"/>
              <a:gd name="connsiteY38" fmla="*/ 1474908 h 5020326"/>
              <a:gd name="connsiteX39" fmla="*/ 442906 w 3889897"/>
              <a:gd name="connsiteY39" fmla="*/ 1307268 h 5020326"/>
              <a:gd name="connsiteX40" fmla="*/ 465766 w 3889897"/>
              <a:gd name="connsiteY40" fmla="*/ 1192968 h 5020326"/>
              <a:gd name="connsiteX41" fmla="*/ 503866 w 3889897"/>
              <a:gd name="connsiteY41" fmla="*/ 1055808 h 5020326"/>
              <a:gd name="connsiteX42" fmla="*/ 557206 w 3889897"/>
              <a:gd name="connsiteY42" fmla="*/ 888168 h 5020326"/>
              <a:gd name="connsiteX43" fmla="*/ 503866 w 3889897"/>
              <a:gd name="connsiteY43" fmla="*/ 888168 h 5020326"/>
              <a:gd name="connsiteX44" fmla="*/ 412426 w 3889897"/>
              <a:gd name="connsiteY44" fmla="*/ 834828 h 5020326"/>
              <a:gd name="connsiteX45" fmla="*/ 328606 w 3889897"/>
              <a:gd name="connsiteY45" fmla="*/ 789108 h 5020326"/>
              <a:gd name="connsiteX46" fmla="*/ 260026 w 3889897"/>
              <a:gd name="connsiteY46" fmla="*/ 773868 h 5020326"/>
              <a:gd name="connsiteX47" fmla="*/ 214306 w 3889897"/>
              <a:gd name="connsiteY47" fmla="*/ 751008 h 5020326"/>
              <a:gd name="connsiteX48" fmla="*/ 260026 w 3889897"/>
              <a:gd name="connsiteY48" fmla="*/ 674808 h 5020326"/>
              <a:gd name="connsiteX49" fmla="*/ 374326 w 3889897"/>
              <a:gd name="connsiteY49" fmla="*/ 606228 h 5020326"/>
              <a:gd name="connsiteX50" fmla="*/ 557206 w 3889897"/>
              <a:gd name="connsiteY50" fmla="*/ 507168 h 5020326"/>
              <a:gd name="connsiteX51" fmla="*/ 656266 w 3889897"/>
              <a:gd name="connsiteY51" fmla="*/ 423348 h 5020326"/>
              <a:gd name="connsiteX52" fmla="*/ 892486 w 3889897"/>
              <a:gd name="connsiteY52" fmla="*/ 232848 h 5020326"/>
              <a:gd name="connsiteX53" fmla="*/ 1174426 w 3889897"/>
              <a:gd name="connsiteY53" fmla="*/ 80448 h 5020326"/>
              <a:gd name="connsiteX54" fmla="*/ 1593526 w 3889897"/>
              <a:gd name="connsiteY54" fmla="*/ 11868 h 5020326"/>
              <a:gd name="connsiteX55" fmla="*/ 1944046 w 3889897"/>
              <a:gd name="connsiteY55" fmla="*/ 4248 h 5020326"/>
              <a:gd name="connsiteX56" fmla="*/ 2172646 w 3889897"/>
              <a:gd name="connsiteY56" fmla="*/ 4248 h 5020326"/>
              <a:gd name="connsiteX57" fmla="*/ 2393626 w 3889897"/>
              <a:gd name="connsiteY57" fmla="*/ 57588 h 5020326"/>
              <a:gd name="connsiteX58" fmla="*/ 2667946 w 3889897"/>
              <a:gd name="connsiteY58" fmla="*/ 133788 h 5020326"/>
              <a:gd name="connsiteX59" fmla="*/ 2820346 w 3889897"/>
              <a:gd name="connsiteY59" fmla="*/ 202368 h 5020326"/>
              <a:gd name="connsiteX60" fmla="*/ 3102286 w 3889897"/>
              <a:gd name="connsiteY60" fmla="*/ 400488 h 5020326"/>
              <a:gd name="connsiteX61" fmla="*/ 3285166 w 3889897"/>
              <a:gd name="connsiteY61" fmla="*/ 651948 h 5020326"/>
              <a:gd name="connsiteX62" fmla="*/ 3407086 w 3889897"/>
              <a:gd name="connsiteY62" fmla="*/ 918648 h 5020326"/>
              <a:gd name="connsiteX63" fmla="*/ 3475666 w 3889897"/>
              <a:gd name="connsiteY63" fmla="*/ 1238688 h 5020326"/>
              <a:gd name="connsiteX64" fmla="*/ 3506146 w 3889897"/>
              <a:gd name="connsiteY64" fmla="*/ 1543488 h 5020326"/>
              <a:gd name="connsiteX65" fmla="*/ 3506146 w 3889897"/>
              <a:gd name="connsiteY65" fmla="*/ 1962588 h 5020326"/>
              <a:gd name="connsiteX66" fmla="*/ 3338506 w 3889897"/>
              <a:gd name="connsiteY66" fmla="*/ 2305488 h 5020326"/>
              <a:gd name="connsiteX67" fmla="*/ 3254686 w 3889897"/>
              <a:gd name="connsiteY67" fmla="*/ 2473128 h 5020326"/>
              <a:gd name="connsiteX68" fmla="*/ 3132766 w 3889897"/>
              <a:gd name="connsiteY68" fmla="*/ 2663628 h 5020326"/>
              <a:gd name="connsiteX69" fmla="*/ 3071806 w 3889897"/>
              <a:gd name="connsiteY69" fmla="*/ 2838888 h 5020326"/>
              <a:gd name="connsiteX70" fmla="*/ 3064186 w 3889897"/>
              <a:gd name="connsiteY70" fmla="*/ 2915088 h 5020326"/>
              <a:gd name="connsiteX71" fmla="*/ 3018466 w 3889897"/>
              <a:gd name="connsiteY71" fmla="*/ 3014148 h 5020326"/>
              <a:gd name="connsiteX72" fmla="*/ 2980366 w 3889897"/>
              <a:gd name="connsiteY72" fmla="*/ 3082728 h 5020326"/>
              <a:gd name="connsiteX73" fmla="*/ 2957506 w 3889897"/>
              <a:gd name="connsiteY73" fmla="*/ 3120828 h 5020326"/>
              <a:gd name="connsiteX74" fmla="*/ 2957506 w 3889897"/>
              <a:gd name="connsiteY74" fmla="*/ 3555168 h 5020326"/>
              <a:gd name="connsiteX75" fmla="*/ 3010846 w 3889897"/>
              <a:gd name="connsiteY75" fmla="*/ 3539928 h 5020326"/>
              <a:gd name="connsiteX76" fmla="*/ 3109906 w 3889897"/>
              <a:gd name="connsiteY76" fmla="*/ 3570408 h 5020326"/>
              <a:gd name="connsiteX77" fmla="*/ 3140386 w 3889897"/>
              <a:gd name="connsiteY77" fmla="*/ 3631368 h 5020326"/>
              <a:gd name="connsiteX78" fmla="*/ 3117526 w 3889897"/>
              <a:gd name="connsiteY78" fmla="*/ 3738048 h 5020326"/>
              <a:gd name="connsiteX79" fmla="*/ 3125146 w 3889897"/>
              <a:gd name="connsiteY79" fmla="*/ 4103808 h 5020326"/>
              <a:gd name="connsiteX80" fmla="*/ 3231826 w 3889897"/>
              <a:gd name="connsiteY80" fmla="*/ 4172388 h 5020326"/>
              <a:gd name="connsiteX81" fmla="*/ 3285166 w 3889897"/>
              <a:gd name="connsiteY81" fmla="*/ 4294308 h 5020326"/>
              <a:gd name="connsiteX82" fmla="*/ 3330886 w 3889897"/>
              <a:gd name="connsiteY82" fmla="*/ 4408608 h 5020326"/>
              <a:gd name="connsiteX83" fmla="*/ 3551866 w 3889897"/>
              <a:gd name="connsiteY83" fmla="*/ 4644828 h 5020326"/>
              <a:gd name="connsiteX84" fmla="*/ 3889897 w 3889897"/>
              <a:gd name="connsiteY84" fmla="*/ 5020326 h 5020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3889897" h="5020326">
                <a:moveTo>
                  <a:pt x="712990" y="5019479"/>
                </a:moveTo>
                <a:cubicBezTo>
                  <a:pt x="766965" y="4944867"/>
                  <a:pt x="856220" y="4786010"/>
                  <a:pt x="961066" y="4644828"/>
                </a:cubicBezTo>
                <a:cubicBezTo>
                  <a:pt x="1065912" y="4503646"/>
                  <a:pt x="1292536" y="4277798"/>
                  <a:pt x="1342066" y="4172388"/>
                </a:cubicBezTo>
                <a:cubicBezTo>
                  <a:pt x="1391596" y="4066978"/>
                  <a:pt x="1281106" y="4053008"/>
                  <a:pt x="1258246" y="4012368"/>
                </a:cubicBezTo>
                <a:cubicBezTo>
                  <a:pt x="1235386" y="3971728"/>
                  <a:pt x="1218876" y="3969188"/>
                  <a:pt x="1204906" y="3928548"/>
                </a:cubicBezTo>
                <a:cubicBezTo>
                  <a:pt x="1190936" y="3887908"/>
                  <a:pt x="1184586" y="3811708"/>
                  <a:pt x="1174426" y="3768528"/>
                </a:cubicBezTo>
                <a:cubicBezTo>
                  <a:pt x="1164266" y="3725348"/>
                  <a:pt x="1161726" y="3687248"/>
                  <a:pt x="1143946" y="3669468"/>
                </a:cubicBezTo>
                <a:cubicBezTo>
                  <a:pt x="1126166" y="3651688"/>
                  <a:pt x="1102036" y="3661848"/>
                  <a:pt x="1067746" y="3661848"/>
                </a:cubicBezTo>
                <a:cubicBezTo>
                  <a:pt x="1033456" y="3661848"/>
                  <a:pt x="977576" y="3664388"/>
                  <a:pt x="938206" y="3669468"/>
                </a:cubicBezTo>
                <a:cubicBezTo>
                  <a:pt x="898836" y="3674548"/>
                  <a:pt x="831526" y="3692328"/>
                  <a:pt x="831526" y="3692328"/>
                </a:cubicBezTo>
                <a:cubicBezTo>
                  <a:pt x="776916" y="3703758"/>
                  <a:pt x="684206" y="3746938"/>
                  <a:pt x="610546" y="3738048"/>
                </a:cubicBezTo>
                <a:cubicBezTo>
                  <a:pt x="536886" y="3729158"/>
                  <a:pt x="427666" y="3707568"/>
                  <a:pt x="389566" y="3638988"/>
                </a:cubicBezTo>
                <a:cubicBezTo>
                  <a:pt x="351466" y="3570408"/>
                  <a:pt x="376866" y="3395148"/>
                  <a:pt x="381946" y="3326568"/>
                </a:cubicBezTo>
                <a:cubicBezTo>
                  <a:pt x="387026" y="3257988"/>
                  <a:pt x="418776" y="3254178"/>
                  <a:pt x="420046" y="3227508"/>
                </a:cubicBezTo>
                <a:cubicBezTo>
                  <a:pt x="421316" y="3200838"/>
                  <a:pt x="400996" y="3186868"/>
                  <a:pt x="389566" y="3166548"/>
                </a:cubicBezTo>
                <a:cubicBezTo>
                  <a:pt x="378136" y="3146228"/>
                  <a:pt x="350196" y="3129718"/>
                  <a:pt x="351466" y="3105588"/>
                </a:cubicBezTo>
                <a:cubicBezTo>
                  <a:pt x="352736" y="3081458"/>
                  <a:pt x="374326" y="3039548"/>
                  <a:pt x="397186" y="3021768"/>
                </a:cubicBezTo>
                <a:cubicBezTo>
                  <a:pt x="420046" y="3003988"/>
                  <a:pt x="476164" y="3012084"/>
                  <a:pt x="488626" y="2998908"/>
                </a:cubicBezTo>
                <a:cubicBezTo>
                  <a:pt x="501088" y="2985732"/>
                  <a:pt x="480846" y="2954139"/>
                  <a:pt x="471956" y="2942709"/>
                </a:cubicBezTo>
                <a:cubicBezTo>
                  <a:pt x="463066" y="2931279"/>
                  <a:pt x="449018" y="2932392"/>
                  <a:pt x="435286" y="2930328"/>
                </a:cubicBezTo>
                <a:cubicBezTo>
                  <a:pt x="421554" y="2928265"/>
                  <a:pt x="409780" y="2936467"/>
                  <a:pt x="389566" y="2930328"/>
                </a:cubicBezTo>
                <a:cubicBezTo>
                  <a:pt x="369352" y="2924189"/>
                  <a:pt x="325430" y="2907465"/>
                  <a:pt x="314000" y="2893495"/>
                </a:cubicBezTo>
                <a:cubicBezTo>
                  <a:pt x="302570" y="2879525"/>
                  <a:pt x="318552" y="2863229"/>
                  <a:pt x="320986" y="2846508"/>
                </a:cubicBezTo>
                <a:cubicBezTo>
                  <a:pt x="323420" y="2829787"/>
                  <a:pt x="329876" y="2812218"/>
                  <a:pt x="328606" y="2793168"/>
                </a:cubicBezTo>
                <a:cubicBezTo>
                  <a:pt x="327336" y="2774118"/>
                  <a:pt x="323526" y="2752528"/>
                  <a:pt x="313366" y="2732208"/>
                </a:cubicBezTo>
                <a:cubicBezTo>
                  <a:pt x="303206" y="2711888"/>
                  <a:pt x="290506" y="2683948"/>
                  <a:pt x="267646" y="2671248"/>
                </a:cubicBezTo>
                <a:cubicBezTo>
                  <a:pt x="244786" y="2658548"/>
                  <a:pt x="211766" y="2666168"/>
                  <a:pt x="176206" y="2656008"/>
                </a:cubicBezTo>
                <a:cubicBezTo>
                  <a:pt x="140646" y="2645848"/>
                  <a:pt x="82332" y="2625740"/>
                  <a:pt x="54286" y="2610288"/>
                </a:cubicBezTo>
                <a:cubicBezTo>
                  <a:pt x="26240" y="2594836"/>
                  <a:pt x="15551" y="2583618"/>
                  <a:pt x="7931" y="2563298"/>
                </a:cubicBezTo>
                <a:cubicBezTo>
                  <a:pt x="311" y="2542978"/>
                  <a:pt x="-5510" y="2526256"/>
                  <a:pt x="8566" y="2488368"/>
                </a:cubicBezTo>
                <a:cubicBezTo>
                  <a:pt x="22642" y="2450480"/>
                  <a:pt x="56826" y="2388038"/>
                  <a:pt x="92386" y="2335968"/>
                </a:cubicBezTo>
                <a:cubicBezTo>
                  <a:pt x="127946" y="2283898"/>
                  <a:pt x="190176" y="2217858"/>
                  <a:pt x="221926" y="2175948"/>
                </a:cubicBezTo>
                <a:cubicBezTo>
                  <a:pt x="253676" y="2134038"/>
                  <a:pt x="265106" y="2117528"/>
                  <a:pt x="282886" y="2084508"/>
                </a:cubicBezTo>
                <a:cubicBezTo>
                  <a:pt x="300666" y="2051488"/>
                  <a:pt x="315906" y="2013388"/>
                  <a:pt x="328606" y="1977828"/>
                </a:cubicBezTo>
                <a:cubicBezTo>
                  <a:pt x="341306" y="1942268"/>
                  <a:pt x="351466" y="1899088"/>
                  <a:pt x="359086" y="1871148"/>
                </a:cubicBezTo>
                <a:cubicBezTo>
                  <a:pt x="366706" y="1843208"/>
                  <a:pt x="376866" y="1829238"/>
                  <a:pt x="374326" y="1810188"/>
                </a:cubicBezTo>
                <a:cubicBezTo>
                  <a:pt x="371786" y="1791138"/>
                  <a:pt x="351466" y="1778438"/>
                  <a:pt x="343846" y="1756848"/>
                </a:cubicBezTo>
                <a:cubicBezTo>
                  <a:pt x="336226" y="1735258"/>
                  <a:pt x="317176" y="1727638"/>
                  <a:pt x="328606" y="1680648"/>
                </a:cubicBezTo>
                <a:cubicBezTo>
                  <a:pt x="340036" y="1633658"/>
                  <a:pt x="393376" y="1537138"/>
                  <a:pt x="412426" y="1474908"/>
                </a:cubicBezTo>
                <a:cubicBezTo>
                  <a:pt x="431476" y="1412678"/>
                  <a:pt x="434016" y="1354258"/>
                  <a:pt x="442906" y="1307268"/>
                </a:cubicBezTo>
                <a:cubicBezTo>
                  <a:pt x="451796" y="1260278"/>
                  <a:pt x="455606" y="1234878"/>
                  <a:pt x="465766" y="1192968"/>
                </a:cubicBezTo>
                <a:cubicBezTo>
                  <a:pt x="475926" y="1151058"/>
                  <a:pt x="488626" y="1106608"/>
                  <a:pt x="503866" y="1055808"/>
                </a:cubicBezTo>
                <a:cubicBezTo>
                  <a:pt x="519106" y="1005008"/>
                  <a:pt x="557206" y="916108"/>
                  <a:pt x="557206" y="888168"/>
                </a:cubicBezTo>
                <a:cubicBezTo>
                  <a:pt x="557206" y="860228"/>
                  <a:pt x="527996" y="897058"/>
                  <a:pt x="503866" y="888168"/>
                </a:cubicBezTo>
                <a:cubicBezTo>
                  <a:pt x="479736" y="879278"/>
                  <a:pt x="441636" y="851338"/>
                  <a:pt x="412426" y="834828"/>
                </a:cubicBezTo>
                <a:cubicBezTo>
                  <a:pt x="383216" y="818318"/>
                  <a:pt x="354006" y="799268"/>
                  <a:pt x="328606" y="789108"/>
                </a:cubicBezTo>
                <a:cubicBezTo>
                  <a:pt x="303206" y="778948"/>
                  <a:pt x="279076" y="780218"/>
                  <a:pt x="260026" y="773868"/>
                </a:cubicBezTo>
                <a:cubicBezTo>
                  <a:pt x="240976" y="767518"/>
                  <a:pt x="214306" y="767518"/>
                  <a:pt x="214306" y="751008"/>
                </a:cubicBezTo>
                <a:cubicBezTo>
                  <a:pt x="214306" y="734498"/>
                  <a:pt x="233356" y="698938"/>
                  <a:pt x="260026" y="674808"/>
                </a:cubicBezTo>
                <a:cubicBezTo>
                  <a:pt x="286696" y="650678"/>
                  <a:pt x="324796" y="634168"/>
                  <a:pt x="374326" y="606228"/>
                </a:cubicBezTo>
                <a:cubicBezTo>
                  <a:pt x="423856" y="578288"/>
                  <a:pt x="510216" y="537648"/>
                  <a:pt x="557206" y="507168"/>
                </a:cubicBezTo>
                <a:cubicBezTo>
                  <a:pt x="604196" y="476688"/>
                  <a:pt x="600386" y="469068"/>
                  <a:pt x="656266" y="423348"/>
                </a:cubicBezTo>
                <a:cubicBezTo>
                  <a:pt x="712146" y="377628"/>
                  <a:pt x="806126" y="289998"/>
                  <a:pt x="892486" y="232848"/>
                </a:cubicBezTo>
                <a:cubicBezTo>
                  <a:pt x="978846" y="175698"/>
                  <a:pt x="1057586" y="117278"/>
                  <a:pt x="1174426" y="80448"/>
                </a:cubicBezTo>
                <a:cubicBezTo>
                  <a:pt x="1291266" y="43618"/>
                  <a:pt x="1465256" y="24568"/>
                  <a:pt x="1593526" y="11868"/>
                </a:cubicBezTo>
                <a:cubicBezTo>
                  <a:pt x="1721796" y="-832"/>
                  <a:pt x="1847526" y="5518"/>
                  <a:pt x="1944046" y="4248"/>
                </a:cubicBezTo>
                <a:cubicBezTo>
                  <a:pt x="2040566" y="2978"/>
                  <a:pt x="2097716" y="-4642"/>
                  <a:pt x="2172646" y="4248"/>
                </a:cubicBezTo>
                <a:cubicBezTo>
                  <a:pt x="2247576" y="13138"/>
                  <a:pt x="2311076" y="35998"/>
                  <a:pt x="2393626" y="57588"/>
                </a:cubicBezTo>
                <a:cubicBezTo>
                  <a:pt x="2476176" y="79178"/>
                  <a:pt x="2596826" y="109658"/>
                  <a:pt x="2667946" y="133788"/>
                </a:cubicBezTo>
                <a:cubicBezTo>
                  <a:pt x="2739066" y="157918"/>
                  <a:pt x="2747956" y="157918"/>
                  <a:pt x="2820346" y="202368"/>
                </a:cubicBezTo>
                <a:cubicBezTo>
                  <a:pt x="2892736" y="246818"/>
                  <a:pt x="3024816" y="325558"/>
                  <a:pt x="3102286" y="400488"/>
                </a:cubicBezTo>
                <a:cubicBezTo>
                  <a:pt x="3179756" y="475418"/>
                  <a:pt x="3234366" y="565588"/>
                  <a:pt x="3285166" y="651948"/>
                </a:cubicBezTo>
                <a:cubicBezTo>
                  <a:pt x="3335966" y="738308"/>
                  <a:pt x="3375336" y="820858"/>
                  <a:pt x="3407086" y="918648"/>
                </a:cubicBezTo>
                <a:cubicBezTo>
                  <a:pt x="3438836" y="1016438"/>
                  <a:pt x="3459156" y="1134548"/>
                  <a:pt x="3475666" y="1238688"/>
                </a:cubicBezTo>
                <a:cubicBezTo>
                  <a:pt x="3492176" y="1342828"/>
                  <a:pt x="3501066" y="1422838"/>
                  <a:pt x="3506146" y="1543488"/>
                </a:cubicBezTo>
                <a:cubicBezTo>
                  <a:pt x="3511226" y="1664138"/>
                  <a:pt x="3534086" y="1835588"/>
                  <a:pt x="3506146" y="1962588"/>
                </a:cubicBezTo>
                <a:cubicBezTo>
                  <a:pt x="3478206" y="2089588"/>
                  <a:pt x="3380416" y="2220398"/>
                  <a:pt x="3338506" y="2305488"/>
                </a:cubicBezTo>
                <a:cubicBezTo>
                  <a:pt x="3296596" y="2390578"/>
                  <a:pt x="3288976" y="2413438"/>
                  <a:pt x="3254686" y="2473128"/>
                </a:cubicBezTo>
                <a:cubicBezTo>
                  <a:pt x="3220396" y="2532818"/>
                  <a:pt x="3163246" y="2602668"/>
                  <a:pt x="3132766" y="2663628"/>
                </a:cubicBezTo>
                <a:cubicBezTo>
                  <a:pt x="3102286" y="2724588"/>
                  <a:pt x="3083236" y="2796978"/>
                  <a:pt x="3071806" y="2838888"/>
                </a:cubicBezTo>
                <a:cubicBezTo>
                  <a:pt x="3060376" y="2880798"/>
                  <a:pt x="3073076" y="2885878"/>
                  <a:pt x="3064186" y="2915088"/>
                </a:cubicBezTo>
                <a:cubicBezTo>
                  <a:pt x="3055296" y="2944298"/>
                  <a:pt x="3032436" y="2986208"/>
                  <a:pt x="3018466" y="3014148"/>
                </a:cubicBezTo>
                <a:cubicBezTo>
                  <a:pt x="3004496" y="3042088"/>
                  <a:pt x="2990526" y="3064948"/>
                  <a:pt x="2980366" y="3082728"/>
                </a:cubicBezTo>
                <a:cubicBezTo>
                  <a:pt x="2970206" y="3100508"/>
                  <a:pt x="2961316" y="3042088"/>
                  <a:pt x="2957506" y="3120828"/>
                </a:cubicBezTo>
                <a:cubicBezTo>
                  <a:pt x="2953696" y="3199568"/>
                  <a:pt x="2948616" y="3485318"/>
                  <a:pt x="2957506" y="3555168"/>
                </a:cubicBezTo>
                <a:cubicBezTo>
                  <a:pt x="2966396" y="3625018"/>
                  <a:pt x="2985446" y="3537388"/>
                  <a:pt x="3010846" y="3539928"/>
                </a:cubicBezTo>
                <a:cubicBezTo>
                  <a:pt x="3036246" y="3542468"/>
                  <a:pt x="3088316" y="3555168"/>
                  <a:pt x="3109906" y="3570408"/>
                </a:cubicBezTo>
                <a:cubicBezTo>
                  <a:pt x="3131496" y="3585648"/>
                  <a:pt x="3139116" y="3603428"/>
                  <a:pt x="3140386" y="3631368"/>
                </a:cubicBezTo>
                <a:cubicBezTo>
                  <a:pt x="3141656" y="3659308"/>
                  <a:pt x="3120066" y="3659308"/>
                  <a:pt x="3117526" y="3738048"/>
                </a:cubicBezTo>
                <a:cubicBezTo>
                  <a:pt x="3114986" y="3816788"/>
                  <a:pt x="3106096" y="4031418"/>
                  <a:pt x="3125146" y="4103808"/>
                </a:cubicBezTo>
                <a:cubicBezTo>
                  <a:pt x="3144196" y="4176198"/>
                  <a:pt x="3205156" y="4140638"/>
                  <a:pt x="3231826" y="4172388"/>
                </a:cubicBezTo>
                <a:cubicBezTo>
                  <a:pt x="3258496" y="4204138"/>
                  <a:pt x="3268656" y="4254938"/>
                  <a:pt x="3285166" y="4294308"/>
                </a:cubicBezTo>
                <a:cubicBezTo>
                  <a:pt x="3301676" y="4333678"/>
                  <a:pt x="3286436" y="4350188"/>
                  <a:pt x="3330886" y="4408608"/>
                </a:cubicBezTo>
                <a:cubicBezTo>
                  <a:pt x="3372796" y="4458138"/>
                  <a:pt x="3458698" y="4542875"/>
                  <a:pt x="3551866" y="4644828"/>
                </a:cubicBezTo>
                <a:cubicBezTo>
                  <a:pt x="3645035" y="4746781"/>
                  <a:pt x="3798457" y="4911106"/>
                  <a:pt x="3889897" y="5020326"/>
                </a:cubicBezTo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>
            <a:outerShdw blurRad="101600" dist="635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reeform 5"/>
          <p:cNvSpPr/>
          <p:nvPr/>
        </p:nvSpPr>
        <p:spPr>
          <a:xfrm>
            <a:off x="1266479" y="2659931"/>
            <a:ext cx="897300" cy="922942"/>
          </a:xfrm>
          <a:custGeom>
            <a:avLst/>
            <a:gdLst>
              <a:gd name="connsiteX0" fmla="*/ 1106997 w 2213994"/>
              <a:gd name="connsiteY0" fmla="*/ 432449 h 2180359"/>
              <a:gd name="connsiteX1" fmla="*/ 431357 w 2213994"/>
              <a:gd name="connsiteY1" fmla="*/ 1108089 h 2180359"/>
              <a:gd name="connsiteX2" fmla="*/ 1106997 w 2213994"/>
              <a:gd name="connsiteY2" fmla="*/ 1783729 h 2180359"/>
              <a:gd name="connsiteX3" fmla="*/ 1782637 w 2213994"/>
              <a:gd name="connsiteY3" fmla="*/ 1108089 h 2180359"/>
              <a:gd name="connsiteX4" fmla="*/ 1106997 w 2213994"/>
              <a:gd name="connsiteY4" fmla="*/ 432449 h 2180359"/>
              <a:gd name="connsiteX5" fmla="*/ 1016339 w 2213994"/>
              <a:gd name="connsiteY5" fmla="*/ 0 h 2180359"/>
              <a:gd name="connsiteX6" fmla="*/ 1197655 w 2213994"/>
              <a:gd name="connsiteY6" fmla="*/ 0 h 2180359"/>
              <a:gd name="connsiteX7" fmla="*/ 1237062 w 2213994"/>
              <a:gd name="connsiteY7" fmla="*/ 223520 h 2180359"/>
              <a:gd name="connsiteX8" fmla="*/ 1575952 w 2213994"/>
              <a:gd name="connsiteY8" fmla="*/ 346866 h 2180359"/>
              <a:gd name="connsiteX9" fmla="*/ 1749815 w 2213994"/>
              <a:gd name="connsiteY9" fmla="*/ 200970 h 2180359"/>
              <a:gd name="connsiteX10" fmla="*/ 1888711 w 2213994"/>
              <a:gd name="connsiteY10" fmla="*/ 317518 h 2180359"/>
              <a:gd name="connsiteX11" fmla="*/ 1775222 w 2213994"/>
              <a:gd name="connsiteY11" fmla="*/ 514074 h 2180359"/>
              <a:gd name="connsiteX12" fmla="*/ 1955541 w 2213994"/>
              <a:gd name="connsiteY12" fmla="*/ 826396 h 2180359"/>
              <a:gd name="connsiteX13" fmla="*/ 2182509 w 2213994"/>
              <a:gd name="connsiteY13" fmla="*/ 826390 h 2180359"/>
              <a:gd name="connsiteX14" fmla="*/ 2213994 w 2213994"/>
              <a:gd name="connsiteY14" fmla="*/ 1004952 h 2180359"/>
              <a:gd name="connsiteX15" fmla="*/ 2000713 w 2213994"/>
              <a:gd name="connsiteY15" fmla="*/ 1082574 h 2180359"/>
              <a:gd name="connsiteX16" fmla="*/ 1938089 w 2213994"/>
              <a:gd name="connsiteY16" fmla="*/ 1437734 h 2180359"/>
              <a:gd name="connsiteX17" fmla="*/ 2111959 w 2213994"/>
              <a:gd name="connsiteY17" fmla="*/ 1583621 h 2180359"/>
              <a:gd name="connsiteX18" fmla="*/ 2021301 w 2213994"/>
              <a:gd name="connsiteY18" fmla="*/ 1740646 h 2180359"/>
              <a:gd name="connsiteX19" fmla="*/ 1808024 w 2213994"/>
              <a:gd name="connsiteY19" fmla="*/ 1663013 h 2180359"/>
              <a:gd name="connsiteX20" fmla="*/ 1531759 w 2213994"/>
              <a:gd name="connsiteY20" fmla="*/ 1894827 h 2180359"/>
              <a:gd name="connsiteX21" fmla="*/ 1571177 w 2213994"/>
              <a:gd name="connsiteY21" fmla="*/ 2118345 h 2180359"/>
              <a:gd name="connsiteX22" fmla="*/ 1400795 w 2213994"/>
              <a:gd name="connsiteY22" fmla="*/ 2180359 h 2180359"/>
              <a:gd name="connsiteX23" fmla="*/ 1287316 w 2213994"/>
              <a:gd name="connsiteY23" fmla="*/ 1983797 h 2180359"/>
              <a:gd name="connsiteX24" fmla="*/ 926677 w 2213994"/>
              <a:gd name="connsiteY24" fmla="*/ 1983797 h 2180359"/>
              <a:gd name="connsiteX25" fmla="*/ 813199 w 2213994"/>
              <a:gd name="connsiteY25" fmla="*/ 2180359 h 2180359"/>
              <a:gd name="connsiteX26" fmla="*/ 642817 w 2213994"/>
              <a:gd name="connsiteY26" fmla="*/ 2118345 h 2180359"/>
              <a:gd name="connsiteX27" fmla="*/ 682236 w 2213994"/>
              <a:gd name="connsiteY27" fmla="*/ 1894827 h 2180359"/>
              <a:gd name="connsiteX28" fmla="*/ 405971 w 2213994"/>
              <a:gd name="connsiteY28" fmla="*/ 1663013 h 2180359"/>
              <a:gd name="connsiteX29" fmla="*/ 192693 w 2213994"/>
              <a:gd name="connsiteY29" fmla="*/ 1740646 h 2180359"/>
              <a:gd name="connsiteX30" fmla="*/ 102035 w 2213994"/>
              <a:gd name="connsiteY30" fmla="*/ 1583621 h 2180359"/>
              <a:gd name="connsiteX31" fmla="*/ 275905 w 2213994"/>
              <a:gd name="connsiteY31" fmla="*/ 1437734 h 2180359"/>
              <a:gd name="connsiteX32" fmla="*/ 213281 w 2213994"/>
              <a:gd name="connsiteY32" fmla="*/ 1082574 h 2180359"/>
              <a:gd name="connsiteX33" fmla="*/ 0 w 2213994"/>
              <a:gd name="connsiteY33" fmla="*/ 1004952 h 2180359"/>
              <a:gd name="connsiteX34" fmla="*/ 31485 w 2213994"/>
              <a:gd name="connsiteY34" fmla="*/ 826390 h 2180359"/>
              <a:gd name="connsiteX35" fmla="*/ 258452 w 2213994"/>
              <a:gd name="connsiteY35" fmla="*/ 826396 h 2180359"/>
              <a:gd name="connsiteX36" fmla="*/ 438771 w 2213994"/>
              <a:gd name="connsiteY36" fmla="*/ 514074 h 2180359"/>
              <a:gd name="connsiteX37" fmla="*/ 325283 w 2213994"/>
              <a:gd name="connsiteY37" fmla="*/ 317518 h 2180359"/>
              <a:gd name="connsiteX38" fmla="*/ 464179 w 2213994"/>
              <a:gd name="connsiteY38" fmla="*/ 200970 h 2180359"/>
              <a:gd name="connsiteX39" fmla="*/ 638042 w 2213994"/>
              <a:gd name="connsiteY39" fmla="*/ 346866 h 2180359"/>
              <a:gd name="connsiteX40" fmla="*/ 976932 w 2213994"/>
              <a:gd name="connsiteY40" fmla="*/ 223520 h 2180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213994" h="2180359">
                <a:moveTo>
                  <a:pt x="1106997" y="432449"/>
                </a:moveTo>
                <a:cubicBezTo>
                  <a:pt x="733851" y="432449"/>
                  <a:pt x="431357" y="734943"/>
                  <a:pt x="431357" y="1108089"/>
                </a:cubicBezTo>
                <a:cubicBezTo>
                  <a:pt x="431357" y="1481235"/>
                  <a:pt x="733851" y="1783729"/>
                  <a:pt x="1106997" y="1783729"/>
                </a:cubicBezTo>
                <a:cubicBezTo>
                  <a:pt x="1480143" y="1783729"/>
                  <a:pt x="1782637" y="1481235"/>
                  <a:pt x="1782637" y="1108089"/>
                </a:cubicBezTo>
                <a:cubicBezTo>
                  <a:pt x="1782637" y="734943"/>
                  <a:pt x="1480143" y="432449"/>
                  <a:pt x="1106997" y="432449"/>
                </a:cubicBezTo>
                <a:close/>
                <a:moveTo>
                  <a:pt x="1016339" y="0"/>
                </a:moveTo>
                <a:lnTo>
                  <a:pt x="1197655" y="0"/>
                </a:lnTo>
                <a:lnTo>
                  <a:pt x="1237062" y="223520"/>
                </a:lnTo>
                <a:cubicBezTo>
                  <a:pt x="1357231" y="241189"/>
                  <a:pt x="1472539" y="283158"/>
                  <a:pt x="1575952" y="346866"/>
                </a:cubicBezTo>
                <a:lnTo>
                  <a:pt x="1749815" y="200970"/>
                </a:lnTo>
                <a:lnTo>
                  <a:pt x="1888711" y="317518"/>
                </a:lnTo>
                <a:lnTo>
                  <a:pt x="1775222" y="514074"/>
                </a:lnTo>
                <a:cubicBezTo>
                  <a:pt x="1855919" y="604853"/>
                  <a:pt x="1917273" y="711121"/>
                  <a:pt x="1955541" y="826396"/>
                </a:cubicBezTo>
                <a:lnTo>
                  <a:pt x="2182509" y="826390"/>
                </a:lnTo>
                <a:lnTo>
                  <a:pt x="2213994" y="1004952"/>
                </a:lnTo>
                <a:lnTo>
                  <a:pt x="2000713" y="1082574"/>
                </a:lnTo>
                <a:cubicBezTo>
                  <a:pt x="2004179" y="1203985"/>
                  <a:pt x="1982871" y="1324830"/>
                  <a:pt x="1938089" y="1437734"/>
                </a:cubicBezTo>
                <a:lnTo>
                  <a:pt x="2111959" y="1583621"/>
                </a:lnTo>
                <a:lnTo>
                  <a:pt x="2021301" y="1740646"/>
                </a:lnTo>
                <a:lnTo>
                  <a:pt x="1808024" y="1663013"/>
                </a:lnTo>
                <a:cubicBezTo>
                  <a:pt x="1732638" y="1758248"/>
                  <a:pt x="1638637" y="1837123"/>
                  <a:pt x="1531759" y="1894827"/>
                </a:cubicBezTo>
                <a:lnTo>
                  <a:pt x="1571177" y="2118345"/>
                </a:lnTo>
                <a:lnTo>
                  <a:pt x="1400795" y="2180359"/>
                </a:lnTo>
                <a:lnTo>
                  <a:pt x="1287316" y="1983797"/>
                </a:lnTo>
                <a:cubicBezTo>
                  <a:pt x="1168351" y="2008293"/>
                  <a:pt x="1045642" y="2008293"/>
                  <a:pt x="926677" y="1983797"/>
                </a:cubicBezTo>
                <a:lnTo>
                  <a:pt x="813199" y="2180359"/>
                </a:lnTo>
                <a:lnTo>
                  <a:pt x="642817" y="2118345"/>
                </a:lnTo>
                <a:lnTo>
                  <a:pt x="682236" y="1894827"/>
                </a:lnTo>
                <a:cubicBezTo>
                  <a:pt x="575358" y="1837123"/>
                  <a:pt x="481357" y="1758247"/>
                  <a:pt x="405971" y="1663013"/>
                </a:cubicBezTo>
                <a:lnTo>
                  <a:pt x="192693" y="1740646"/>
                </a:lnTo>
                <a:lnTo>
                  <a:pt x="102035" y="1583621"/>
                </a:lnTo>
                <a:lnTo>
                  <a:pt x="275905" y="1437734"/>
                </a:lnTo>
                <a:cubicBezTo>
                  <a:pt x="231123" y="1324830"/>
                  <a:pt x="209814" y="1203985"/>
                  <a:pt x="213281" y="1082574"/>
                </a:cubicBezTo>
                <a:lnTo>
                  <a:pt x="0" y="1004952"/>
                </a:lnTo>
                <a:lnTo>
                  <a:pt x="31485" y="826390"/>
                </a:lnTo>
                <a:lnTo>
                  <a:pt x="258452" y="826396"/>
                </a:lnTo>
                <a:cubicBezTo>
                  <a:pt x="296720" y="711121"/>
                  <a:pt x="358074" y="604852"/>
                  <a:pt x="438771" y="514074"/>
                </a:cubicBezTo>
                <a:lnTo>
                  <a:pt x="325283" y="317518"/>
                </a:lnTo>
                <a:lnTo>
                  <a:pt x="464179" y="200970"/>
                </a:lnTo>
                <a:lnTo>
                  <a:pt x="638042" y="346866"/>
                </a:lnTo>
                <a:cubicBezTo>
                  <a:pt x="741454" y="283158"/>
                  <a:pt x="856763" y="241190"/>
                  <a:pt x="976932" y="223520"/>
                </a:cubicBezTo>
                <a:close/>
              </a:path>
            </a:pathLst>
          </a:custGeom>
          <a:solidFill>
            <a:srgbClr val="84DFFE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6" name="Freeform 6"/>
          <p:cNvSpPr/>
          <p:nvPr/>
        </p:nvSpPr>
        <p:spPr>
          <a:xfrm>
            <a:off x="1775197" y="3335345"/>
            <a:ext cx="1006916" cy="1035691"/>
          </a:xfrm>
          <a:custGeom>
            <a:avLst/>
            <a:gdLst>
              <a:gd name="connsiteX0" fmla="*/ 1106997 w 2213994"/>
              <a:gd name="connsiteY0" fmla="*/ 561989 h 2180359"/>
              <a:gd name="connsiteX1" fmla="*/ 560897 w 2213994"/>
              <a:gd name="connsiteY1" fmla="*/ 1108089 h 2180359"/>
              <a:gd name="connsiteX2" fmla="*/ 1106997 w 2213994"/>
              <a:gd name="connsiteY2" fmla="*/ 1654189 h 2180359"/>
              <a:gd name="connsiteX3" fmla="*/ 1653097 w 2213994"/>
              <a:gd name="connsiteY3" fmla="*/ 1108089 h 2180359"/>
              <a:gd name="connsiteX4" fmla="*/ 1106997 w 2213994"/>
              <a:gd name="connsiteY4" fmla="*/ 561989 h 2180359"/>
              <a:gd name="connsiteX5" fmla="*/ 1016339 w 2213994"/>
              <a:gd name="connsiteY5" fmla="*/ 0 h 2180359"/>
              <a:gd name="connsiteX6" fmla="*/ 1197655 w 2213994"/>
              <a:gd name="connsiteY6" fmla="*/ 0 h 2180359"/>
              <a:gd name="connsiteX7" fmla="*/ 1237062 w 2213994"/>
              <a:gd name="connsiteY7" fmla="*/ 223520 h 2180359"/>
              <a:gd name="connsiteX8" fmla="*/ 1575952 w 2213994"/>
              <a:gd name="connsiteY8" fmla="*/ 346866 h 2180359"/>
              <a:gd name="connsiteX9" fmla="*/ 1749815 w 2213994"/>
              <a:gd name="connsiteY9" fmla="*/ 200970 h 2180359"/>
              <a:gd name="connsiteX10" fmla="*/ 1888711 w 2213994"/>
              <a:gd name="connsiteY10" fmla="*/ 317518 h 2180359"/>
              <a:gd name="connsiteX11" fmla="*/ 1775222 w 2213994"/>
              <a:gd name="connsiteY11" fmla="*/ 514074 h 2180359"/>
              <a:gd name="connsiteX12" fmla="*/ 1955541 w 2213994"/>
              <a:gd name="connsiteY12" fmla="*/ 826396 h 2180359"/>
              <a:gd name="connsiteX13" fmla="*/ 2182509 w 2213994"/>
              <a:gd name="connsiteY13" fmla="*/ 826390 h 2180359"/>
              <a:gd name="connsiteX14" fmla="*/ 2213994 w 2213994"/>
              <a:gd name="connsiteY14" fmla="*/ 1004952 h 2180359"/>
              <a:gd name="connsiteX15" fmla="*/ 2000713 w 2213994"/>
              <a:gd name="connsiteY15" fmla="*/ 1082574 h 2180359"/>
              <a:gd name="connsiteX16" fmla="*/ 1938089 w 2213994"/>
              <a:gd name="connsiteY16" fmla="*/ 1437734 h 2180359"/>
              <a:gd name="connsiteX17" fmla="*/ 2111959 w 2213994"/>
              <a:gd name="connsiteY17" fmla="*/ 1583621 h 2180359"/>
              <a:gd name="connsiteX18" fmla="*/ 2021301 w 2213994"/>
              <a:gd name="connsiteY18" fmla="*/ 1740646 h 2180359"/>
              <a:gd name="connsiteX19" fmla="*/ 1808024 w 2213994"/>
              <a:gd name="connsiteY19" fmla="*/ 1663013 h 2180359"/>
              <a:gd name="connsiteX20" fmla="*/ 1531759 w 2213994"/>
              <a:gd name="connsiteY20" fmla="*/ 1894827 h 2180359"/>
              <a:gd name="connsiteX21" fmla="*/ 1571177 w 2213994"/>
              <a:gd name="connsiteY21" fmla="*/ 2118345 h 2180359"/>
              <a:gd name="connsiteX22" fmla="*/ 1400795 w 2213994"/>
              <a:gd name="connsiteY22" fmla="*/ 2180359 h 2180359"/>
              <a:gd name="connsiteX23" fmla="*/ 1287316 w 2213994"/>
              <a:gd name="connsiteY23" fmla="*/ 1983797 h 2180359"/>
              <a:gd name="connsiteX24" fmla="*/ 926677 w 2213994"/>
              <a:gd name="connsiteY24" fmla="*/ 1983797 h 2180359"/>
              <a:gd name="connsiteX25" fmla="*/ 813199 w 2213994"/>
              <a:gd name="connsiteY25" fmla="*/ 2180359 h 2180359"/>
              <a:gd name="connsiteX26" fmla="*/ 642817 w 2213994"/>
              <a:gd name="connsiteY26" fmla="*/ 2118345 h 2180359"/>
              <a:gd name="connsiteX27" fmla="*/ 682236 w 2213994"/>
              <a:gd name="connsiteY27" fmla="*/ 1894827 h 2180359"/>
              <a:gd name="connsiteX28" fmla="*/ 405971 w 2213994"/>
              <a:gd name="connsiteY28" fmla="*/ 1663013 h 2180359"/>
              <a:gd name="connsiteX29" fmla="*/ 192693 w 2213994"/>
              <a:gd name="connsiteY29" fmla="*/ 1740646 h 2180359"/>
              <a:gd name="connsiteX30" fmla="*/ 102035 w 2213994"/>
              <a:gd name="connsiteY30" fmla="*/ 1583621 h 2180359"/>
              <a:gd name="connsiteX31" fmla="*/ 275905 w 2213994"/>
              <a:gd name="connsiteY31" fmla="*/ 1437734 h 2180359"/>
              <a:gd name="connsiteX32" fmla="*/ 213281 w 2213994"/>
              <a:gd name="connsiteY32" fmla="*/ 1082574 h 2180359"/>
              <a:gd name="connsiteX33" fmla="*/ 0 w 2213994"/>
              <a:gd name="connsiteY33" fmla="*/ 1004952 h 2180359"/>
              <a:gd name="connsiteX34" fmla="*/ 31485 w 2213994"/>
              <a:gd name="connsiteY34" fmla="*/ 826390 h 2180359"/>
              <a:gd name="connsiteX35" fmla="*/ 258452 w 2213994"/>
              <a:gd name="connsiteY35" fmla="*/ 826396 h 2180359"/>
              <a:gd name="connsiteX36" fmla="*/ 438771 w 2213994"/>
              <a:gd name="connsiteY36" fmla="*/ 514074 h 2180359"/>
              <a:gd name="connsiteX37" fmla="*/ 325283 w 2213994"/>
              <a:gd name="connsiteY37" fmla="*/ 317518 h 2180359"/>
              <a:gd name="connsiteX38" fmla="*/ 464179 w 2213994"/>
              <a:gd name="connsiteY38" fmla="*/ 200970 h 2180359"/>
              <a:gd name="connsiteX39" fmla="*/ 638042 w 2213994"/>
              <a:gd name="connsiteY39" fmla="*/ 346866 h 2180359"/>
              <a:gd name="connsiteX40" fmla="*/ 976932 w 2213994"/>
              <a:gd name="connsiteY40" fmla="*/ 223520 h 2180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213994" h="2180359">
                <a:moveTo>
                  <a:pt x="1106997" y="561989"/>
                </a:moveTo>
                <a:cubicBezTo>
                  <a:pt x="805394" y="561989"/>
                  <a:pt x="560897" y="806486"/>
                  <a:pt x="560897" y="1108089"/>
                </a:cubicBezTo>
                <a:cubicBezTo>
                  <a:pt x="560897" y="1409692"/>
                  <a:pt x="805394" y="1654189"/>
                  <a:pt x="1106997" y="1654189"/>
                </a:cubicBezTo>
                <a:cubicBezTo>
                  <a:pt x="1408600" y="1654189"/>
                  <a:pt x="1653097" y="1409692"/>
                  <a:pt x="1653097" y="1108089"/>
                </a:cubicBezTo>
                <a:cubicBezTo>
                  <a:pt x="1653097" y="806486"/>
                  <a:pt x="1408600" y="561989"/>
                  <a:pt x="1106997" y="561989"/>
                </a:cubicBezTo>
                <a:close/>
                <a:moveTo>
                  <a:pt x="1016339" y="0"/>
                </a:moveTo>
                <a:lnTo>
                  <a:pt x="1197655" y="0"/>
                </a:lnTo>
                <a:lnTo>
                  <a:pt x="1237062" y="223520"/>
                </a:lnTo>
                <a:cubicBezTo>
                  <a:pt x="1357231" y="241189"/>
                  <a:pt x="1472539" y="283158"/>
                  <a:pt x="1575952" y="346866"/>
                </a:cubicBezTo>
                <a:lnTo>
                  <a:pt x="1749815" y="200970"/>
                </a:lnTo>
                <a:lnTo>
                  <a:pt x="1888711" y="317518"/>
                </a:lnTo>
                <a:lnTo>
                  <a:pt x="1775222" y="514074"/>
                </a:lnTo>
                <a:cubicBezTo>
                  <a:pt x="1855919" y="604853"/>
                  <a:pt x="1917273" y="711121"/>
                  <a:pt x="1955541" y="826396"/>
                </a:cubicBezTo>
                <a:lnTo>
                  <a:pt x="2182509" y="826390"/>
                </a:lnTo>
                <a:lnTo>
                  <a:pt x="2213994" y="1004952"/>
                </a:lnTo>
                <a:lnTo>
                  <a:pt x="2000713" y="1082574"/>
                </a:lnTo>
                <a:cubicBezTo>
                  <a:pt x="2004179" y="1203985"/>
                  <a:pt x="1982871" y="1324830"/>
                  <a:pt x="1938089" y="1437734"/>
                </a:cubicBezTo>
                <a:lnTo>
                  <a:pt x="2111959" y="1583621"/>
                </a:lnTo>
                <a:lnTo>
                  <a:pt x="2021301" y="1740646"/>
                </a:lnTo>
                <a:lnTo>
                  <a:pt x="1808024" y="1663013"/>
                </a:lnTo>
                <a:cubicBezTo>
                  <a:pt x="1732638" y="1758248"/>
                  <a:pt x="1638637" y="1837123"/>
                  <a:pt x="1531759" y="1894827"/>
                </a:cubicBezTo>
                <a:lnTo>
                  <a:pt x="1571177" y="2118345"/>
                </a:lnTo>
                <a:lnTo>
                  <a:pt x="1400795" y="2180359"/>
                </a:lnTo>
                <a:lnTo>
                  <a:pt x="1287316" y="1983797"/>
                </a:lnTo>
                <a:cubicBezTo>
                  <a:pt x="1168351" y="2008293"/>
                  <a:pt x="1045642" y="2008293"/>
                  <a:pt x="926677" y="1983797"/>
                </a:cubicBezTo>
                <a:lnTo>
                  <a:pt x="813199" y="2180359"/>
                </a:lnTo>
                <a:lnTo>
                  <a:pt x="642817" y="2118345"/>
                </a:lnTo>
                <a:lnTo>
                  <a:pt x="682236" y="1894827"/>
                </a:lnTo>
                <a:cubicBezTo>
                  <a:pt x="575358" y="1837123"/>
                  <a:pt x="481357" y="1758247"/>
                  <a:pt x="405971" y="1663013"/>
                </a:cubicBezTo>
                <a:lnTo>
                  <a:pt x="192693" y="1740646"/>
                </a:lnTo>
                <a:lnTo>
                  <a:pt x="102035" y="1583621"/>
                </a:lnTo>
                <a:lnTo>
                  <a:pt x="275905" y="1437734"/>
                </a:lnTo>
                <a:cubicBezTo>
                  <a:pt x="231123" y="1324830"/>
                  <a:pt x="209814" y="1203985"/>
                  <a:pt x="213281" y="1082574"/>
                </a:cubicBezTo>
                <a:lnTo>
                  <a:pt x="0" y="1004952"/>
                </a:lnTo>
                <a:lnTo>
                  <a:pt x="31485" y="826390"/>
                </a:lnTo>
                <a:lnTo>
                  <a:pt x="258452" y="826396"/>
                </a:lnTo>
                <a:cubicBezTo>
                  <a:pt x="296720" y="711121"/>
                  <a:pt x="358074" y="604852"/>
                  <a:pt x="438771" y="514074"/>
                </a:cubicBezTo>
                <a:lnTo>
                  <a:pt x="325283" y="317518"/>
                </a:lnTo>
                <a:lnTo>
                  <a:pt x="464179" y="200970"/>
                </a:lnTo>
                <a:lnTo>
                  <a:pt x="638042" y="346866"/>
                </a:lnTo>
                <a:cubicBezTo>
                  <a:pt x="741454" y="283158"/>
                  <a:pt x="856763" y="241190"/>
                  <a:pt x="976932" y="223520"/>
                </a:cubicBezTo>
                <a:close/>
              </a:path>
            </a:pathLst>
          </a:custGeom>
          <a:solidFill>
            <a:srgbClr val="F5C35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" name="Freeform 7"/>
          <p:cNvSpPr/>
          <p:nvPr/>
        </p:nvSpPr>
        <p:spPr>
          <a:xfrm>
            <a:off x="2145585" y="2763716"/>
            <a:ext cx="570875" cy="646964"/>
          </a:xfrm>
          <a:custGeom>
            <a:avLst/>
            <a:gdLst>
              <a:gd name="connsiteX0" fmla="*/ 731630 w 1463260"/>
              <a:gd name="connsiteY0" fmla="*/ 406741 h 1587726"/>
              <a:gd name="connsiteX1" fmla="*/ 344508 w 1463260"/>
              <a:gd name="connsiteY1" fmla="*/ 793863 h 1587726"/>
              <a:gd name="connsiteX2" fmla="*/ 731630 w 1463260"/>
              <a:gd name="connsiteY2" fmla="*/ 1180985 h 1587726"/>
              <a:gd name="connsiteX3" fmla="*/ 1118752 w 1463260"/>
              <a:gd name="connsiteY3" fmla="*/ 793863 h 1587726"/>
              <a:gd name="connsiteX4" fmla="*/ 731630 w 1463260"/>
              <a:gd name="connsiteY4" fmla="*/ 406741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406741"/>
                </a:moveTo>
                <a:cubicBezTo>
                  <a:pt x="517828" y="406741"/>
                  <a:pt x="344508" y="580061"/>
                  <a:pt x="344508" y="793863"/>
                </a:cubicBezTo>
                <a:cubicBezTo>
                  <a:pt x="344508" y="1007665"/>
                  <a:pt x="517828" y="1180985"/>
                  <a:pt x="731630" y="1180985"/>
                </a:cubicBezTo>
                <a:cubicBezTo>
                  <a:pt x="945432" y="1180985"/>
                  <a:pt x="1118752" y="1007665"/>
                  <a:pt x="1118752" y="793863"/>
                </a:cubicBezTo>
                <a:cubicBezTo>
                  <a:pt x="1118752" y="580061"/>
                  <a:pt x="945432" y="406741"/>
                  <a:pt x="731630" y="406741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53D7C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" name="Freeform 8"/>
          <p:cNvSpPr/>
          <p:nvPr/>
        </p:nvSpPr>
        <p:spPr>
          <a:xfrm rot="20700000">
            <a:off x="1195447" y="3499095"/>
            <a:ext cx="632593" cy="716909"/>
          </a:xfrm>
          <a:custGeom>
            <a:avLst/>
            <a:gdLst>
              <a:gd name="connsiteX0" fmla="*/ 823018 w 1433696"/>
              <a:gd name="connsiteY0" fmla="*/ 381592 h 1555648"/>
              <a:gd name="connsiteX1" fmla="*/ 320616 w 1433696"/>
              <a:gd name="connsiteY1" fmla="*/ 671654 h 1555648"/>
              <a:gd name="connsiteX2" fmla="*/ 610678 w 1433696"/>
              <a:gd name="connsiteY2" fmla="*/ 1174056 h 1555648"/>
              <a:gd name="connsiteX3" fmla="*/ 1113080 w 1433696"/>
              <a:gd name="connsiteY3" fmla="*/ 883994 h 1555648"/>
              <a:gd name="connsiteX4" fmla="*/ 823018 w 1433696"/>
              <a:gd name="connsiteY4" fmla="*/ 381592 h 1555648"/>
              <a:gd name="connsiteX5" fmla="*/ 803314 w 1433696"/>
              <a:gd name="connsiteY5" fmla="*/ 0 h 1555648"/>
              <a:gd name="connsiteX6" fmla="*/ 859474 w 1433696"/>
              <a:gd name="connsiteY6" fmla="*/ 238914 h 1555648"/>
              <a:gd name="connsiteX7" fmla="*/ 1112245 w 1433696"/>
              <a:gd name="connsiteY7" fmla="*/ 384851 h 1555648"/>
              <a:gd name="connsiteX8" fmla="*/ 1347230 w 1433696"/>
              <a:gd name="connsiteY8" fmla="*/ 314030 h 1555648"/>
              <a:gd name="connsiteX9" fmla="*/ 1433696 w 1433696"/>
              <a:gd name="connsiteY9" fmla="*/ 463794 h 1555648"/>
              <a:gd name="connsiteX10" fmla="*/ 1254871 w 1433696"/>
              <a:gd name="connsiteY10" fmla="*/ 631887 h 1555648"/>
              <a:gd name="connsiteX11" fmla="*/ 1254871 w 1433696"/>
              <a:gd name="connsiteY11" fmla="*/ 923761 h 1555648"/>
              <a:gd name="connsiteX12" fmla="*/ 1433696 w 1433696"/>
              <a:gd name="connsiteY12" fmla="*/ 1091854 h 1555648"/>
              <a:gd name="connsiteX13" fmla="*/ 1347230 w 1433696"/>
              <a:gd name="connsiteY13" fmla="*/ 1241618 h 1555648"/>
              <a:gd name="connsiteX14" fmla="*/ 1112245 w 1433696"/>
              <a:gd name="connsiteY14" fmla="*/ 1170797 h 1555648"/>
              <a:gd name="connsiteX15" fmla="*/ 859474 w 1433696"/>
              <a:gd name="connsiteY15" fmla="*/ 1316734 h 1555648"/>
              <a:gd name="connsiteX16" fmla="*/ 803314 w 1433696"/>
              <a:gd name="connsiteY16" fmla="*/ 1555648 h 1555648"/>
              <a:gd name="connsiteX17" fmla="*/ 630382 w 1433696"/>
              <a:gd name="connsiteY17" fmla="*/ 1555648 h 1555648"/>
              <a:gd name="connsiteX18" fmla="*/ 574222 w 1433696"/>
              <a:gd name="connsiteY18" fmla="*/ 1316734 h 1555648"/>
              <a:gd name="connsiteX19" fmla="*/ 321451 w 1433696"/>
              <a:gd name="connsiteY19" fmla="*/ 1170797 h 1555648"/>
              <a:gd name="connsiteX20" fmla="*/ 86466 w 1433696"/>
              <a:gd name="connsiteY20" fmla="*/ 1241618 h 1555648"/>
              <a:gd name="connsiteX21" fmla="*/ 0 w 1433696"/>
              <a:gd name="connsiteY21" fmla="*/ 1091854 h 1555648"/>
              <a:gd name="connsiteX22" fmla="*/ 178825 w 1433696"/>
              <a:gd name="connsiteY22" fmla="*/ 923761 h 1555648"/>
              <a:gd name="connsiteX23" fmla="*/ 178825 w 1433696"/>
              <a:gd name="connsiteY23" fmla="*/ 631887 h 1555648"/>
              <a:gd name="connsiteX24" fmla="*/ 0 w 1433696"/>
              <a:gd name="connsiteY24" fmla="*/ 463794 h 1555648"/>
              <a:gd name="connsiteX25" fmla="*/ 86466 w 1433696"/>
              <a:gd name="connsiteY25" fmla="*/ 314030 h 1555648"/>
              <a:gd name="connsiteX26" fmla="*/ 321451 w 1433696"/>
              <a:gd name="connsiteY26" fmla="*/ 384851 h 1555648"/>
              <a:gd name="connsiteX27" fmla="*/ 574222 w 1433696"/>
              <a:gd name="connsiteY27" fmla="*/ 238914 h 1555648"/>
              <a:gd name="connsiteX28" fmla="*/ 630382 w 1433696"/>
              <a:gd name="connsiteY28" fmla="*/ 0 h 1555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433696" h="1555648">
                <a:moveTo>
                  <a:pt x="823018" y="381592"/>
                </a:moveTo>
                <a:cubicBezTo>
                  <a:pt x="604185" y="322955"/>
                  <a:pt x="379252" y="452820"/>
                  <a:pt x="320616" y="671654"/>
                </a:cubicBezTo>
                <a:cubicBezTo>
                  <a:pt x="261979" y="890487"/>
                  <a:pt x="391844" y="1115420"/>
                  <a:pt x="610678" y="1174056"/>
                </a:cubicBezTo>
                <a:cubicBezTo>
                  <a:pt x="829511" y="1232693"/>
                  <a:pt x="1054444" y="1102828"/>
                  <a:pt x="1113080" y="883994"/>
                </a:cubicBezTo>
                <a:cubicBezTo>
                  <a:pt x="1171717" y="665161"/>
                  <a:pt x="1041852" y="440228"/>
                  <a:pt x="823018" y="381592"/>
                </a:cubicBezTo>
                <a:close/>
                <a:moveTo>
                  <a:pt x="803314" y="0"/>
                </a:moveTo>
                <a:lnTo>
                  <a:pt x="859474" y="238914"/>
                </a:lnTo>
                <a:cubicBezTo>
                  <a:pt x="955196" y="264248"/>
                  <a:pt x="1042444" y="314620"/>
                  <a:pt x="1112245" y="384851"/>
                </a:cubicBezTo>
                <a:lnTo>
                  <a:pt x="1347230" y="314030"/>
                </a:lnTo>
                <a:lnTo>
                  <a:pt x="1433696" y="463794"/>
                </a:lnTo>
                <a:lnTo>
                  <a:pt x="1254871" y="631887"/>
                </a:lnTo>
                <a:cubicBezTo>
                  <a:pt x="1280793" y="727452"/>
                  <a:pt x="1280793" y="828197"/>
                  <a:pt x="1254871" y="923761"/>
                </a:cubicBezTo>
                <a:lnTo>
                  <a:pt x="1433696" y="1091854"/>
                </a:lnTo>
                <a:lnTo>
                  <a:pt x="1347230" y="1241618"/>
                </a:lnTo>
                <a:lnTo>
                  <a:pt x="1112245" y="1170797"/>
                </a:lnTo>
                <a:cubicBezTo>
                  <a:pt x="1042444" y="1241028"/>
                  <a:pt x="955197" y="1291401"/>
                  <a:pt x="859474" y="1316734"/>
                </a:cubicBezTo>
                <a:lnTo>
                  <a:pt x="803314" y="1555648"/>
                </a:lnTo>
                <a:lnTo>
                  <a:pt x="630382" y="1555648"/>
                </a:lnTo>
                <a:lnTo>
                  <a:pt x="574222" y="1316734"/>
                </a:lnTo>
                <a:cubicBezTo>
                  <a:pt x="478500" y="1291400"/>
                  <a:pt x="391252" y="1241028"/>
                  <a:pt x="321451" y="1170797"/>
                </a:cubicBezTo>
                <a:lnTo>
                  <a:pt x="86466" y="1241618"/>
                </a:lnTo>
                <a:lnTo>
                  <a:pt x="0" y="1091854"/>
                </a:lnTo>
                <a:lnTo>
                  <a:pt x="178825" y="923761"/>
                </a:lnTo>
                <a:cubicBezTo>
                  <a:pt x="152903" y="828196"/>
                  <a:pt x="152903" y="727451"/>
                  <a:pt x="178825" y="631887"/>
                </a:cubicBezTo>
                <a:lnTo>
                  <a:pt x="0" y="463794"/>
                </a:lnTo>
                <a:lnTo>
                  <a:pt x="86466" y="314030"/>
                </a:lnTo>
                <a:lnTo>
                  <a:pt x="321451" y="384851"/>
                </a:lnTo>
                <a:cubicBezTo>
                  <a:pt x="391252" y="314620"/>
                  <a:pt x="478499" y="264247"/>
                  <a:pt x="574222" y="238914"/>
                </a:cubicBezTo>
                <a:lnTo>
                  <a:pt x="630382" y="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Freeform 9"/>
          <p:cNvSpPr/>
          <p:nvPr/>
        </p:nvSpPr>
        <p:spPr>
          <a:xfrm>
            <a:off x="956844" y="3183291"/>
            <a:ext cx="352600" cy="399597"/>
          </a:xfrm>
          <a:custGeom>
            <a:avLst/>
            <a:gdLst>
              <a:gd name="connsiteX0" fmla="*/ 731630 w 1463260"/>
              <a:gd name="connsiteY0" fmla="*/ 406741 h 1587726"/>
              <a:gd name="connsiteX1" fmla="*/ 344508 w 1463260"/>
              <a:gd name="connsiteY1" fmla="*/ 793863 h 1587726"/>
              <a:gd name="connsiteX2" fmla="*/ 731630 w 1463260"/>
              <a:gd name="connsiteY2" fmla="*/ 1180985 h 1587726"/>
              <a:gd name="connsiteX3" fmla="*/ 1118752 w 1463260"/>
              <a:gd name="connsiteY3" fmla="*/ 793863 h 1587726"/>
              <a:gd name="connsiteX4" fmla="*/ 731630 w 1463260"/>
              <a:gd name="connsiteY4" fmla="*/ 406741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406741"/>
                </a:moveTo>
                <a:cubicBezTo>
                  <a:pt x="517828" y="406741"/>
                  <a:pt x="344508" y="580061"/>
                  <a:pt x="344508" y="793863"/>
                </a:cubicBezTo>
                <a:cubicBezTo>
                  <a:pt x="344508" y="1007665"/>
                  <a:pt x="517828" y="1180985"/>
                  <a:pt x="731630" y="1180985"/>
                </a:cubicBezTo>
                <a:cubicBezTo>
                  <a:pt x="945432" y="1180985"/>
                  <a:pt x="1118752" y="1007665"/>
                  <a:pt x="1118752" y="793863"/>
                </a:cubicBezTo>
                <a:cubicBezTo>
                  <a:pt x="1118752" y="580061"/>
                  <a:pt x="945432" y="406741"/>
                  <a:pt x="731630" y="406741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D3D2D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" name="Freeform 10"/>
          <p:cNvSpPr/>
          <p:nvPr/>
        </p:nvSpPr>
        <p:spPr>
          <a:xfrm>
            <a:off x="2630226" y="3296979"/>
            <a:ext cx="352600" cy="399597"/>
          </a:xfrm>
          <a:custGeom>
            <a:avLst/>
            <a:gdLst>
              <a:gd name="connsiteX0" fmla="*/ 731630 w 1463260"/>
              <a:gd name="connsiteY0" fmla="*/ 406741 h 1587726"/>
              <a:gd name="connsiteX1" fmla="*/ 344508 w 1463260"/>
              <a:gd name="connsiteY1" fmla="*/ 793863 h 1587726"/>
              <a:gd name="connsiteX2" fmla="*/ 731630 w 1463260"/>
              <a:gd name="connsiteY2" fmla="*/ 1180985 h 1587726"/>
              <a:gd name="connsiteX3" fmla="*/ 1118752 w 1463260"/>
              <a:gd name="connsiteY3" fmla="*/ 793863 h 1587726"/>
              <a:gd name="connsiteX4" fmla="*/ 731630 w 1463260"/>
              <a:gd name="connsiteY4" fmla="*/ 406741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406741"/>
                </a:moveTo>
                <a:cubicBezTo>
                  <a:pt x="517828" y="406741"/>
                  <a:pt x="344508" y="580061"/>
                  <a:pt x="344508" y="793863"/>
                </a:cubicBezTo>
                <a:cubicBezTo>
                  <a:pt x="344508" y="1007665"/>
                  <a:pt x="517828" y="1180985"/>
                  <a:pt x="731630" y="1180985"/>
                </a:cubicBezTo>
                <a:cubicBezTo>
                  <a:pt x="945432" y="1180985"/>
                  <a:pt x="1118752" y="1007665"/>
                  <a:pt x="1118752" y="793863"/>
                </a:cubicBezTo>
                <a:cubicBezTo>
                  <a:pt x="1118752" y="580061"/>
                  <a:pt x="945432" y="406741"/>
                  <a:pt x="731630" y="406741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E6E7E9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Freeform 11"/>
          <p:cNvSpPr/>
          <p:nvPr/>
        </p:nvSpPr>
        <p:spPr>
          <a:xfrm rot="20700000">
            <a:off x="2083200" y="3631677"/>
            <a:ext cx="390923" cy="443027"/>
          </a:xfrm>
          <a:custGeom>
            <a:avLst/>
            <a:gdLst>
              <a:gd name="connsiteX0" fmla="*/ 840547 w 1433696"/>
              <a:gd name="connsiteY0" fmla="*/ 316176 h 1555648"/>
              <a:gd name="connsiteX1" fmla="*/ 255200 w 1433696"/>
              <a:gd name="connsiteY1" fmla="*/ 654127 h 1555648"/>
              <a:gd name="connsiteX2" fmla="*/ 593150 w 1433696"/>
              <a:gd name="connsiteY2" fmla="*/ 1239474 h 1555648"/>
              <a:gd name="connsiteX3" fmla="*/ 1178498 w 1433696"/>
              <a:gd name="connsiteY3" fmla="*/ 901524 h 1555648"/>
              <a:gd name="connsiteX4" fmla="*/ 840547 w 1433696"/>
              <a:gd name="connsiteY4" fmla="*/ 316176 h 1555648"/>
              <a:gd name="connsiteX5" fmla="*/ 803314 w 1433696"/>
              <a:gd name="connsiteY5" fmla="*/ 0 h 1555648"/>
              <a:gd name="connsiteX6" fmla="*/ 859474 w 1433696"/>
              <a:gd name="connsiteY6" fmla="*/ 238914 h 1555648"/>
              <a:gd name="connsiteX7" fmla="*/ 1112245 w 1433696"/>
              <a:gd name="connsiteY7" fmla="*/ 384851 h 1555648"/>
              <a:gd name="connsiteX8" fmla="*/ 1347230 w 1433696"/>
              <a:gd name="connsiteY8" fmla="*/ 314030 h 1555648"/>
              <a:gd name="connsiteX9" fmla="*/ 1433696 w 1433696"/>
              <a:gd name="connsiteY9" fmla="*/ 463794 h 1555648"/>
              <a:gd name="connsiteX10" fmla="*/ 1254871 w 1433696"/>
              <a:gd name="connsiteY10" fmla="*/ 631887 h 1555648"/>
              <a:gd name="connsiteX11" fmla="*/ 1254871 w 1433696"/>
              <a:gd name="connsiteY11" fmla="*/ 923761 h 1555648"/>
              <a:gd name="connsiteX12" fmla="*/ 1433696 w 1433696"/>
              <a:gd name="connsiteY12" fmla="*/ 1091854 h 1555648"/>
              <a:gd name="connsiteX13" fmla="*/ 1347230 w 1433696"/>
              <a:gd name="connsiteY13" fmla="*/ 1241618 h 1555648"/>
              <a:gd name="connsiteX14" fmla="*/ 1112245 w 1433696"/>
              <a:gd name="connsiteY14" fmla="*/ 1170797 h 1555648"/>
              <a:gd name="connsiteX15" fmla="*/ 859474 w 1433696"/>
              <a:gd name="connsiteY15" fmla="*/ 1316734 h 1555648"/>
              <a:gd name="connsiteX16" fmla="*/ 803314 w 1433696"/>
              <a:gd name="connsiteY16" fmla="*/ 1555648 h 1555648"/>
              <a:gd name="connsiteX17" fmla="*/ 630382 w 1433696"/>
              <a:gd name="connsiteY17" fmla="*/ 1555648 h 1555648"/>
              <a:gd name="connsiteX18" fmla="*/ 574222 w 1433696"/>
              <a:gd name="connsiteY18" fmla="*/ 1316734 h 1555648"/>
              <a:gd name="connsiteX19" fmla="*/ 321451 w 1433696"/>
              <a:gd name="connsiteY19" fmla="*/ 1170797 h 1555648"/>
              <a:gd name="connsiteX20" fmla="*/ 86466 w 1433696"/>
              <a:gd name="connsiteY20" fmla="*/ 1241618 h 1555648"/>
              <a:gd name="connsiteX21" fmla="*/ 0 w 1433696"/>
              <a:gd name="connsiteY21" fmla="*/ 1091854 h 1555648"/>
              <a:gd name="connsiteX22" fmla="*/ 178825 w 1433696"/>
              <a:gd name="connsiteY22" fmla="*/ 923761 h 1555648"/>
              <a:gd name="connsiteX23" fmla="*/ 178825 w 1433696"/>
              <a:gd name="connsiteY23" fmla="*/ 631887 h 1555648"/>
              <a:gd name="connsiteX24" fmla="*/ 0 w 1433696"/>
              <a:gd name="connsiteY24" fmla="*/ 463794 h 1555648"/>
              <a:gd name="connsiteX25" fmla="*/ 86466 w 1433696"/>
              <a:gd name="connsiteY25" fmla="*/ 314030 h 1555648"/>
              <a:gd name="connsiteX26" fmla="*/ 321451 w 1433696"/>
              <a:gd name="connsiteY26" fmla="*/ 384851 h 1555648"/>
              <a:gd name="connsiteX27" fmla="*/ 574222 w 1433696"/>
              <a:gd name="connsiteY27" fmla="*/ 238914 h 1555648"/>
              <a:gd name="connsiteX28" fmla="*/ 630382 w 1433696"/>
              <a:gd name="connsiteY28" fmla="*/ 0 h 1555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433696" h="1555648">
                <a:moveTo>
                  <a:pt x="840547" y="316176"/>
                </a:moveTo>
                <a:cubicBezTo>
                  <a:pt x="585585" y="247860"/>
                  <a:pt x="323517" y="399165"/>
                  <a:pt x="255200" y="654127"/>
                </a:cubicBezTo>
                <a:cubicBezTo>
                  <a:pt x="186883" y="909089"/>
                  <a:pt x="338188" y="1171157"/>
                  <a:pt x="593150" y="1239474"/>
                </a:cubicBezTo>
                <a:cubicBezTo>
                  <a:pt x="848112" y="1307791"/>
                  <a:pt x="1110181" y="1156486"/>
                  <a:pt x="1178498" y="901524"/>
                </a:cubicBezTo>
                <a:cubicBezTo>
                  <a:pt x="1246814" y="646562"/>
                  <a:pt x="1095509" y="384493"/>
                  <a:pt x="840547" y="316176"/>
                </a:cubicBezTo>
                <a:close/>
                <a:moveTo>
                  <a:pt x="803314" y="0"/>
                </a:moveTo>
                <a:lnTo>
                  <a:pt x="859474" y="238914"/>
                </a:lnTo>
                <a:cubicBezTo>
                  <a:pt x="955196" y="264248"/>
                  <a:pt x="1042444" y="314620"/>
                  <a:pt x="1112245" y="384851"/>
                </a:cubicBezTo>
                <a:lnTo>
                  <a:pt x="1347230" y="314030"/>
                </a:lnTo>
                <a:lnTo>
                  <a:pt x="1433696" y="463794"/>
                </a:lnTo>
                <a:lnTo>
                  <a:pt x="1254871" y="631887"/>
                </a:lnTo>
                <a:cubicBezTo>
                  <a:pt x="1280793" y="727452"/>
                  <a:pt x="1280793" y="828197"/>
                  <a:pt x="1254871" y="923761"/>
                </a:cubicBezTo>
                <a:lnTo>
                  <a:pt x="1433696" y="1091854"/>
                </a:lnTo>
                <a:lnTo>
                  <a:pt x="1347230" y="1241618"/>
                </a:lnTo>
                <a:lnTo>
                  <a:pt x="1112245" y="1170797"/>
                </a:lnTo>
                <a:cubicBezTo>
                  <a:pt x="1042444" y="1241028"/>
                  <a:pt x="955197" y="1291401"/>
                  <a:pt x="859474" y="1316734"/>
                </a:cubicBezTo>
                <a:lnTo>
                  <a:pt x="803314" y="1555648"/>
                </a:lnTo>
                <a:lnTo>
                  <a:pt x="630382" y="1555648"/>
                </a:lnTo>
                <a:lnTo>
                  <a:pt x="574222" y="1316734"/>
                </a:lnTo>
                <a:cubicBezTo>
                  <a:pt x="478500" y="1291400"/>
                  <a:pt x="391252" y="1241028"/>
                  <a:pt x="321451" y="1170797"/>
                </a:cubicBezTo>
                <a:lnTo>
                  <a:pt x="86466" y="1241618"/>
                </a:lnTo>
                <a:lnTo>
                  <a:pt x="0" y="1091854"/>
                </a:lnTo>
                <a:lnTo>
                  <a:pt x="178825" y="923761"/>
                </a:lnTo>
                <a:cubicBezTo>
                  <a:pt x="152903" y="828196"/>
                  <a:pt x="152903" y="727451"/>
                  <a:pt x="178825" y="631887"/>
                </a:cubicBezTo>
                <a:lnTo>
                  <a:pt x="0" y="463794"/>
                </a:lnTo>
                <a:lnTo>
                  <a:pt x="86466" y="314030"/>
                </a:lnTo>
                <a:lnTo>
                  <a:pt x="321451" y="384851"/>
                </a:lnTo>
                <a:cubicBezTo>
                  <a:pt x="391252" y="314620"/>
                  <a:pt x="478499" y="264247"/>
                  <a:pt x="574222" y="238914"/>
                </a:cubicBezTo>
                <a:lnTo>
                  <a:pt x="630382" y="0"/>
                </a:lnTo>
                <a:close/>
              </a:path>
            </a:pathLst>
          </a:custGeom>
          <a:solidFill>
            <a:srgbClr val="F5C35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2" name="Freeform 12"/>
          <p:cNvSpPr/>
          <p:nvPr/>
        </p:nvSpPr>
        <p:spPr>
          <a:xfrm>
            <a:off x="1515017" y="2890713"/>
            <a:ext cx="407141" cy="461407"/>
          </a:xfrm>
          <a:custGeom>
            <a:avLst/>
            <a:gdLst>
              <a:gd name="connsiteX0" fmla="*/ 731630 w 1463260"/>
              <a:gd name="connsiteY0" fmla="*/ 383653 h 1587726"/>
              <a:gd name="connsiteX1" fmla="*/ 321420 w 1463260"/>
              <a:gd name="connsiteY1" fmla="*/ 793863 h 1587726"/>
              <a:gd name="connsiteX2" fmla="*/ 731630 w 1463260"/>
              <a:gd name="connsiteY2" fmla="*/ 1204073 h 1587726"/>
              <a:gd name="connsiteX3" fmla="*/ 1141840 w 1463260"/>
              <a:gd name="connsiteY3" fmla="*/ 793863 h 1587726"/>
              <a:gd name="connsiteX4" fmla="*/ 731630 w 1463260"/>
              <a:gd name="connsiteY4" fmla="*/ 383653 h 1587726"/>
              <a:gd name="connsiteX5" fmla="*/ 643381 w 1463260"/>
              <a:gd name="connsiteY5" fmla="*/ 0 h 1587726"/>
              <a:gd name="connsiteX6" fmla="*/ 819879 w 1463260"/>
              <a:gd name="connsiteY6" fmla="*/ 0 h 1587726"/>
              <a:gd name="connsiteX7" fmla="*/ 877198 w 1463260"/>
              <a:gd name="connsiteY7" fmla="*/ 243840 h 1587726"/>
              <a:gd name="connsiteX8" fmla="*/ 1078555 w 1463260"/>
              <a:gd name="connsiteY8" fmla="*/ 342910 h 1587726"/>
              <a:gd name="connsiteX9" fmla="*/ 1135181 w 1463260"/>
              <a:gd name="connsiteY9" fmla="*/ 392786 h 1587726"/>
              <a:gd name="connsiteX10" fmla="*/ 1135180 w 1463260"/>
              <a:gd name="connsiteY10" fmla="*/ 392786 h 1587726"/>
              <a:gd name="connsiteX11" fmla="*/ 1135181 w 1463260"/>
              <a:gd name="connsiteY11" fmla="*/ 392786 h 1587726"/>
              <a:gd name="connsiteX12" fmla="*/ 1135181 w 1463260"/>
              <a:gd name="connsiteY12" fmla="*/ 392786 h 1587726"/>
              <a:gd name="connsiteX13" fmla="*/ 1375011 w 1463260"/>
              <a:gd name="connsiteY13" fmla="*/ 320506 h 1587726"/>
              <a:gd name="connsiteX14" fmla="*/ 1463260 w 1463260"/>
              <a:gd name="connsiteY14" fmla="*/ 473357 h 1587726"/>
              <a:gd name="connsiteX15" fmla="*/ 1280748 w 1463260"/>
              <a:gd name="connsiteY15" fmla="*/ 644917 h 1587726"/>
              <a:gd name="connsiteX16" fmla="*/ 1280748 w 1463260"/>
              <a:gd name="connsiteY16" fmla="*/ 942810 h 1587726"/>
              <a:gd name="connsiteX17" fmla="*/ 1463260 w 1463260"/>
              <a:gd name="connsiteY17" fmla="*/ 1114369 h 1587726"/>
              <a:gd name="connsiteX18" fmla="*/ 1375011 w 1463260"/>
              <a:gd name="connsiteY18" fmla="*/ 1267220 h 1587726"/>
              <a:gd name="connsiteX19" fmla="*/ 1135180 w 1463260"/>
              <a:gd name="connsiteY19" fmla="*/ 1194940 h 1587726"/>
              <a:gd name="connsiteX20" fmla="*/ 877197 w 1463260"/>
              <a:gd name="connsiteY20" fmla="*/ 1343886 h 1587726"/>
              <a:gd name="connsiteX21" fmla="*/ 819879 w 1463260"/>
              <a:gd name="connsiteY21" fmla="*/ 1587726 h 1587726"/>
              <a:gd name="connsiteX22" fmla="*/ 643381 w 1463260"/>
              <a:gd name="connsiteY22" fmla="*/ 1587726 h 1587726"/>
              <a:gd name="connsiteX23" fmla="*/ 586062 w 1463260"/>
              <a:gd name="connsiteY23" fmla="*/ 1343886 h 1587726"/>
              <a:gd name="connsiteX24" fmla="*/ 328079 w 1463260"/>
              <a:gd name="connsiteY24" fmla="*/ 1194940 h 1587726"/>
              <a:gd name="connsiteX25" fmla="*/ 88249 w 1463260"/>
              <a:gd name="connsiteY25" fmla="*/ 1267220 h 1587726"/>
              <a:gd name="connsiteX26" fmla="*/ 0 w 1463260"/>
              <a:gd name="connsiteY26" fmla="*/ 1114369 h 1587726"/>
              <a:gd name="connsiteX27" fmla="*/ 182512 w 1463260"/>
              <a:gd name="connsiteY27" fmla="*/ 942809 h 1587726"/>
              <a:gd name="connsiteX28" fmla="*/ 182512 w 1463260"/>
              <a:gd name="connsiteY28" fmla="*/ 644916 h 1587726"/>
              <a:gd name="connsiteX29" fmla="*/ 0 w 1463260"/>
              <a:gd name="connsiteY29" fmla="*/ 473357 h 1587726"/>
              <a:gd name="connsiteX30" fmla="*/ 88249 w 1463260"/>
              <a:gd name="connsiteY30" fmla="*/ 320506 h 1587726"/>
              <a:gd name="connsiteX31" fmla="*/ 328080 w 1463260"/>
              <a:gd name="connsiteY31" fmla="*/ 392786 h 1587726"/>
              <a:gd name="connsiteX32" fmla="*/ 586063 w 1463260"/>
              <a:gd name="connsiteY32" fmla="*/ 243840 h 1587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63260" h="1587726">
                <a:moveTo>
                  <a:pt x="731630" y="383653"/>
                </a:moveTo>
                <a:cubicBezTo>
                  <a:pt x="505077" y="383653"/>
                  <a:pt x="321420" y="567310"/>
                  <a:pt x="321420" y="793863"/>
                </a:cubicBezTo>
                <a:cubicBezTo>
                  <a:pt x="321420" y="1020416"/>
                  <a:pt x="505077" y="1204073"/>
                  <a:pt x="731630" y="1204073"/>
                </a:cubicBezTo>
                <a:cubicBezTo>
                  <a:pt x="958183" y="1204073"/>
                  <a:pt x="1141840" y="1020416"/>
                  <a:pt x="1141840" y="793863"/>
                </a:cubicBezTo>
                <a:cubicBezTo>
                  <a:pt x="1141840" y="567310"/>
                  <a:pt x="958183" y="383653"/>
                  <a:pt x="731630" y="383653"/>
                </a:cubicBezTo>
                <a:close/>
                <a:moveTo>
                  <a:pt x="643381" y="0"/>
                </a:moveTo>
                <a:lnTo>
                  <a:pt x="819879" y="0"/>
                </a:lnTo>
                <a:lnTo>
                  <a:pt x="877198" y="243840"/>
                </a:lnTo>
                <a:cubicBezTo>
                  <a:pt x="950470" y="263232"/>
                  <a:pt x="1018877" y="296999"/>
                  <a:pt x="1078555" y="342910"/>
                </a:cubicBezTo>
                <a:lnTo>
                  <a:pt x="1135181" y="392786"/>
                </a:lnTo>
                <a:lnTo>
                  <a:pt x="1135180" y="392786"/>
                </a:lnTo>
                <a:lnTo>
                  <a:pt x="1135181" y="392786"/>
                </a:lnTo>
                <a:lnTo>
                  <a:pt x="1135181" y="392786"/>
                </a:lnTo>
                <a:lnTo>
                  <a:pt x="1375011" y="320506"/>
                </a:lnTo>
                <a:lnTo>
                  <a:pt x="1463260" y="473357"/>
                </a:lnTo>
                <a:lnTo>
                  <a:pt x="1280748" y="644917"/>
                </a:lnTo>
                <a:cubicBezTo>
                  <a:pt x="1307204" y="742452"/>
                  <a:pt x="1307204" y="845274"/>
                  <a:pt x="1280748" y="942810"/>
                </a:cubicBezTo>
                <a:lnTo>
                  <a:pt x="1463260" y="1114369"/>
                </a:lnTo>
                <a:lnTo>
                  <a:pt x="1375011" y="1267220"/>
                </a:lnTo>
                <a:lnTo>
                  <a:pt x="1135180" y="1194940"/>
                </a:lnTo>
                <a:cubicBezTo>
                  <a:pt x="1063940" y="1266619"/>
                  <a:pt x="974893" y="1318030"/>
                  <a:pt x="877197" y="1343886"/>
                </a:cubicBezTo>
                <a:lnTo>
                  <a:pt x="819879" y="1587726"/>
                </a:lnTo>
                <a:lnTo>
                  <a:pt x="643381" y="1587726"/>
                </a:lnTo>
                <a:lnTo>
                  <a:pt x="586062" y="1343886"/>
                </a:lnTo>
                <a:cubicBezTo>
                  <a:pt x="488366" y="1318030"/>
                  <a:pt x="399319" y="1266619"/>
                  <a:pt x="328079" y="1194940"/>
                </a:cubicBezTo>
                <a:lnTo>
                  <a:pt x="88249" y="1267220"/>
                </a:lnTo>
                <a:lnTo>
                  <a:pt x="0" y="1114369"/>
                </a:lnTo>
                <a:lnTo>
                  <a:pt x="182512" y="942809"/>
                </a:lnTo>
                <a:cubicBezTo>
                  <a:pt x="156056" y="845274"/>
                  <a:pt x="156056" y="742452"/>
                  <a:pt x="182512" y="644916"/>
                </a:cubicBezTo>
                <a:lnTo>
                  <a:pt x="0" y="473357"/>
                </a:lnTo>
                <a:lnTo>
                  <a:pt x="88249" y="320506"/>
                </a:lnTo>
                <a:lnTo>
                  <a:pt x="328080" y="392786"/>
                </a:lnTo>
                <a:cubicBezTo>
                  <a:pt x="399320" y="321107"/>
                  <a:pt x="488367" y="269696"/>
                  <a:pt x="586063" y="243840"/>
                </a:cubicBezTo>
                <a:close/>
              </a:path>
            </a:pathLst>
          </a:custGeom>
          <a:solidFill>
            <a:srgbClr val="84DFFE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 13"/>
          <p:cNvSpPr/>
          <p:nvPr/>
        </p:nvSpPr>
        <p:spPr>
          <a:xfrm>
            <a:off x="958494" y="2659931"/>
            <a:ext cx="395896" cy="407210"/>
          </a:xfrm>
          <a:custGeom>
            <a:avLst/>
            <a:gdLst>
              <a:gd name="connsiteX0" fmla="*/ 1106997 w 2213994"/>
              <a:gd name="connsiteY0" fmla="*/ 561989 h 2180359"/>
              <a:gd name="connsiteX1" fmla="*/ 560897 w 2213994"/>
              <a:gd name="connsiteY1" fmla="*/ 1108089 h 2180359"/>
              <a:gd name="connsiteX2" fmla="*/ 1106997 w 2213994"/>
              <a:gd name="connsiteY2" fmla="*/ 1654189 h 2180359"/>
              <a:gd name="connsiteX3" fmla="*/ 1653097 w 2213994"/>
              <a:gd name="connsiteY3" fmla="*/ 1108089 h 2180359"/>
              <a:gd name="connsiteX4" fmla="*/ 1106997 w 2213994"/>
              <a:gd name="connsiteY4" fmla="*/ 561989 h 2180359"/>
              <a:gd name="connsiteX5" fmla="*/ 1016339 w 2213994"/>
              <a:gd name="connsiteY5" fmla="*/ 0 h 2180359"/>
              <a:gd name="connsiteX6" fmla="*/ 1197655 w 2213994"/>
              <a:gd name="connsiteY6" fmla="*/ 0 h 2180359"/>
              <a:gd name="connsiteX7" fmla="*/ 1237062 w 2213994"/>
              <a:gd name="connsiteY7" fmla="*/ 223520 h 2180359"/>
              <a:gd name="connsiteX8" fmla="*/ 1575952 w 2213994"/>
              <a:gd name="connsiteY8" fmla="*/ 346866 h 2180359"/>
              <a:gd name="connsiteX9" fmla="*/ 1749815 w 2213994"/>
              <a:gd name="connsiteY9" fmla="*/ 200970 h 2180359"/>
              <a:gd name="connsiteX10" fmla="*/ 1888711 w 2213994"/>
              <a:gd name="connsiteY10" fmla="*/ 317518 h 2180359"/>
              <a:gd name="connsiteX11" fmla="*/ 1775222 w 2213994"/>
              <a:gd name="connsiteY11" fmla="*/ 514074 h 2180359"/>
              <a:gd name="connsiteX12" fmla="*/ 1955541 w 2213994"/>
              <a:gd name="connsiteY12" fmla="*/ 826396 h 2180359"/>
              <a:gd name="connsiteX13" fmla="*/ 2182509 w 2213994"/>
              <a:gd name="connsiteY13" fmla="*/ 826390 h 2180359"/>
              <a:gd name="connsiteX14" fmla="*/ 2213994 w 2213994"/>
              <a:gd name="connsiteY14" fmla="*/ 1004952 h 2180359"/>
              <a:gd name="connsiteX15" fmla="*/ 2000713 w 2213994"/>
              <a:gd name="connsiteY15" fmla="*/ 1082574 h 2180359"/>
              <a:gd name="connsiteX16" fmla="*/ 1938089 w 2213994"/>
              <a:gd name="connsiteY16" fmla="*/ 1437734 h 2180359"/>
              <a:gd name="connsiteX17" fmla="*/ 2111959 w 2213994"/>
              <a:gd name="connsiteY17" fmla="*/ 1583621 h 2180359"/>
              <a:gd name="connsiteX18" fmla="*/ 2021301 w 2213994"/>
              <a:gd name="connsiteY18" fmla="*/ 1740646 h 2180359"/>
              <a:gd name="connsiteX19" fmla="*/ 1808024 w 2213994"/>
              <a:gd name="connsiteY19" fmla="*/ 1663013 h 2180359"/>
              <a:gd name="connsiteX20" fmla="*/ 1531759 w 2213994"/>
              <a:gd name="connsiteY20" fmla="*/ 1894827 h 2180359"/>
              <a:gd name="connsiteX21" fmla="*/ 1571177 w 2213994"/>
              <a:gd name="connsiteY21" fmla="*/ 2118345 h 2180359"/>
              <a:gd name="connsiteX22" fmla="*/ 1400795 w 2213994"/>
              <a:gd name="connsiteY22" fmla="*/ 2180359 h 2180359"/>
              <a:gd name="connsiteX23" fmla="*/ 1287316 w 2213994"/>
              <a:gd name="connsiteY23" fmla="*/ 1983797 h 2180359"/>
              <a:gd name="connsiteX24" fmla="*/ 926677 w 2213994"/>
              <a:gd name="connsiteY24" fmla="*/ 1983797 h 2180359"/>
              <a:gd name="connsiteX25" fmla="*/ 813199 w 2213994"/>
              <a:gd name="connsiteY25" fmla="*/ 2180359 h 2180359"/>
              <a:gd name="connsiteX26" fmla="*/ 642817 w 2213994"/>
              <a:gd name="connsiteY26" fmla="*/ 2118345 h 2180359"/>
              <a:gd name="connsiteX27" fmla="*/ 682236 w 2213994"/>
              <a:gd name="connsiteY27" fmla="*/ 1894827 h 2180359"/>
              <a:gd name="connsiteX28" fmla="*/ 405971 w 2213994"/>
              <a:gd name="connsiteY28" fmla="*/ 1663013 h 2180359"/>
              <a:gd name="connsiteX29" fmla="*/ 192693 w 2213994"/>
              <a:gd name="connsiteY29" fmla="*/ 1740646 h 2180359"/>
              <a:gd name="connsiteX30" fmla="*/ 102035 w 2213994"/>
              <a:gd name="connsiteY30" fmla="*/ 1583621 h 2180359"/>
              <a:gd name="connsiteX31" fmla="*/ 275905 w 2213994"/>
              <a:gd name="connsiteY31" fmla="*/ 1437734 h 2180359"/>
              <a:gd name="connsiteX32" fmla="*/ 213281 w 2213994"/>
              <a:gd name="connsiteY32" fmla="*/ 1082574 h 2180359"/>
              <a:gd name="connsiteX33" fmla="*/ 0 w 2213994"/>
              <a:gd name="connsiteY33" fmla="*/ 1004952 h 2180359"/>
              <a:gd name="connsiteX34" fmla="*/ 31485 w 2213994"/>
              <a:gd name="connsiteY34" fmla="*/ 826390 h 2180359"/>
              <a:gd name="connsiteX35" fmla="*/ 258452 w 2213994"/>
              <a:gd name="connsiteY35" fmla="*/ 826396 h 2180359"/>
              <a:gd name="connsiteX36" fmla="*/ 438771 w 2213994"/>
              <a:gd name="connsiteY36" fmla="*/ 514074 h 2180359"/>
              <a:gd name="connsiteX37" fmla="*/ 325283 w 2213994"/>
              <a:gd name="connsiteY37" fmla="*/ 317518 h 2180359"/>
              <a:gd name="connsiteX38" fmla="*/ 464179 w 2213994"/>
              <a:gd name="connsiteY38" fmla="*/ 200970 h 2180359"/>
              <a:gd name="connsiteX39" fmla="*/ 638042 w 2213994"/>
              <a:gd name="connsiteY39" fmla="*/ 346866 h 2180359"/>
              <a:gd name="connsiteX40" fmla="*/ 976932 w 2213994"/>
              <a:gd name="connsiteY40" fmla="*/ 223520 h 2180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213994" h="2180359">
                <a:moveTo>
                  <a:pt x="1106997" y="561989"/>
                </a:moveTo>
                <a:cubicBezTo>
                  <a:pt x="805394" y="561989"/>
                  <a:pt x="560897" y="806486"/>
                  <a:pt x="560897" y="1108089"/>
                </a:cubicBezTo>
                <a:cubicBezTo>
                  <a:pt x="560897" y="1409692"/>
                  <a:pt x="805394" y="1654189"/>
                  <a:pt x="1106997" y="1654189"/>
                </a:cubicBezTo>
                <a:cubicBezTo>
                  <a:pt x="1408600" y="1654189"/>
                  <a:pt x="1653097" y="1409692"/>
                  <a:pt x="1653097" y="1108089"/>
                </a:cubicBezTo>
                <a:cubicBezTo>
                  <a:pt x="1653097" y="806486"/>
                  <a:pt x="1408600" y="561989"/>
                  <a:pt x="1106997" y="561989"/>
                </a:cubicBezTo>
                <a:close/>
                <a:moveTo>
                  <a:pt x="1016339" y="0"/>
                </a:moveTo>
                <a:lnTo>
                  <a:pt x="1197655" y="0"/>
                </a:lnTo>
                <a:lnTo>
                  <a:pt x="1237062" y="223520"/>
                </a:lnTo>
                <a:cubicBezTo>
                  <a:pt x="1357231" y="241189"/>
                  <a:pt x="1472539" y="283158"/>
                  <a:pt x="1575952" y="346866"/>
                </a:cubicBezTo>
                <a:lnTo>
                  <a:pt x="1749815" y="200970"/>
                </a:lnTo>
                <a:lnTo>
                  <a:pt x="1888711" y="317518"/>
                </a:lnTo>
                <a:lnTo>
                  <a:pt x="1775222" y="514074"/>
                </a:lnTo>
                <a:cubicBezTo>
                  <a:pt x="1855919" y="604853"/>
                  <a:pt x="1917273" y="711121"/>
                  <a:pt x="1955541" y="826396"/>
                </a:cubicBezTo>
                <a:lnTo>
                  <a:pt x="2182509" y="826390"/>
                </a:lnTo>
                <a:lnTo>
                  <a:pt x="2213994" y="1004952"/>
                </a:lnTo>
                <a:lnTo>
                  <a:pt x="2000713" y="1082574"/>
                </a:lnTo>
                <a:cubicBezTo>
                  <a:pt x="2004179" y="1203985"/>
                  <a:pt x="1982871" y="1324830"/>
                  <a:pt x="1938089" y="1437734"/>
                </a:cubicBezTo>
                <a:lnTo>
                  <a:pt x="2111959" y="1583621"/>
                </a:lnTo>
                <a:lnTo>
                  <a:pt x="2021301" y="1740646"/>
                </a:lnTo>
                <a:lnTo>
                  <a:pt x="1808024" y="1663013"/>
                </a:lnTo>
                <a:cubicBezTo>
                  <a:pt x="1732638" y="1758248"/>
                  <a:pt x="1638637" y="1837123"/>
                  <a:pt x="1531759" y="1894827"/>
                </a:cubicBezTo>
                <a:lnTo>
                  <a:pt x="1571177" y="2118345"/>
                </a:lnTo>
                <a:lnTo>
                  <a:pt x="1400795" y="2180359"/>
                </a:lnTo>
                <a:lnTo>
                  <a:pt x="1287316" y="1983797"/>
                </a:lnTo>
                <a:cubicBezTo>
                  <a:pt x="1168351" y="2008293"/>
                  <a:pt x="1045642" y="2008293"/>
                  <a:pt x="926677" y="1983797"/>
                </a:cubicBezTo>
                <a:lnTo>
                  <a:pt x="813199" y="2180359"/>
                </a:lnTo>
                <a:lnTo>
                  <a:pt x="642817" y="2118345"/>
                </a:lnTo>
                <a:lnTo>
                  <a:pt x="682236" y="1894827"/>
                </a:lnTo>
                <a:cubicBezTo>
                  <a:pt x="575358" y="1837123"/>
                  <a:pt x="481357" y="1758247"/>
                  <a:pt x="405971" y="1663013"/>
                </a:cubicBezTo>
                <a:lnTo>
                  <a:pt x="192693" y="1740646"/>
                </a:lnTo>
                <a:lnTo>
                  <a:pt x="102035" y="1583621"/>
                </a:lnTo>
                <a:lnTo>
                  <a:pt x="275905" y="1437734"/>
                </a:lnTo>
                <a:cubicBezTo>
                  <a:pt x="231123" y="1324830"/>
                  <a:pt x="209814" y="1203985"/>
                  <a:pt x="213281" y="1082574"/>
                </a:cubicBezTo>
                <a:lnTo>
                  <a:pt x="0" y="1004952"/>
                </a:lnTo>
                <a:lnTo>
                  <a:pt x="31485" y="826390"/>
                </a:lnTo>
                <a:lnTo>
                  <a:pt x="258452" y="826396"/>
                </a:lnTo>
                <a:cubicBezTo>
                  <a:pt x="296720" y="711121"/>
                  <a:pt x="358074" y="604852"/>
                  <a:pt x="438771" y="514074"/>
                </a:cubicBezTo>
                <a:lnTo>
                  <a:pt x="325283" y="317518"/>
                </a:lnTo>
                <a:lnTo>
                  <a:pt x="464179" y="200970"/>
                </a:lnTo>
                <a:lnTo>
                  <a:pt x="638042" y="346866"/>
                </a:lnTo>
                <a:cubicBezTo>
                  <a:pt x="741454" y="283158"/>
                  <a:pt x="856763" y="241190"/>
                  <a:pt x="976932" y="22352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4" name="Freeform 14"/>
          <p:cNvSpPr/>
          <p:nvPr/>
        </p:nvSpPr>
        <p:spPr>
          <a:xfrm>
            <a:off x="1370331" y="3709851"/>
            <a:ext cx="282827" cy="295397"/>
          </a:xfrm>
          <a:custGeom>
            <a:avLst/>
            <a:gdLst>
              <a:gd name="connsiteX0" fmla="*/ 675641 w 1351280"/>
              <a:gd name="connsiteY0" fmla="*/ 436140 h 1351280"/>
              <a:gd name="connsiteX1" fmla="*/ 436140 w 1351280"/>
              <a:gd name="connsiteY1" fmla="*/ 675641 h 1351280"/>
              <a:gd name="connsiteX2" fmla="*/ 675641 w 1351280"/>
              <a:gd name="connsiteY2" fmla="*/ 915142 h 1351280"/>
              <a:gd name="connsiteX3" fmla="*/ 915142 w 1351280"/>
              <a:gd name="connsiteY3" fmla="*/ 675641 h 1351280"/>
              <a:gd name="connsiteX4" fmla="*/ 675641 w 1351280"/>
              <a:gd name="connsiteY4" fmla="*/ 436140 h 1351280"/>
              <a:gd name="connsiteX5" fmla="*/ 675640 w 1351280"/>
              <a:gd name="connsiteY5" fmla="*/ 0 h 1351280"/>
              <a:gd name="connsiteX6" fmla="*/ 1351280 w 1351280"/>
              <a:gd name="connsiteY6" fmla="*/ 675640 h 1351280"/>
              <a:gd name="connsiteX7" fmla="*/ 675640 w 1351280"/>
              <a:gd name="connsiteY7" fmla="*/ 1351280 h 1351280"/>
              <a:gd name="connsiteX8" fmla="*/ 0 w 1351280"/>
              <a:gd name="connsiteY8" fmla="*/ 675640 h 1351280"/>
              <a:gd name="connsiteX9" fmla="*/ 675640 w 1351280"/>
              <a:gd name="connsiteY9" fmla="*/ 0 h 13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51280" h="1351280">
                <a:moveTo>
                  <a:pt x="675641" y="436140"/>
                </a:moveTo>
                <a:cubicBezTo>
                  <a:pt x="543368" y="436140"/>
                  <a:pt x="436140" y="543368"/>
                  <a:pt x="436140" y="675641"/>
                </a:cubicBezTo>
                <a:cubicBezTo>
                  <a:pt x="436140" y="807914"/>
                  <a:pt x="543368" y="915142"/>
                  <a:pt x="675641" y="915142"/>
                </a:cubicBezTo>
                <a:cubicBezTo>
                  <a:pt x="807914" y="915142"/>
                  <a:pt x="915142" y="807914"/>
                  <a:pt x="915142" y="675641"/>
                </a:cubicBezTo>
                <a:cubicBezTo>
                  <a:pt x="915142" y="543368"/>
                  <a:pt x="807914" y="436140"/>
                  <a:pt x="675641" y="436140"/>
                </a:cubicBezTo>
                <a:close/>
                <a:moveTo>
                  <a:pt x="675640" y="0"/>
                </a:moveTo>
                <a:cubicBezTo>
                  <a:pt x="1048786" y="0"/>
                  <a:pt x="1351280" y="302494"/>
                  <a:pt x="1351280" y="675640"/>
                </a:cubicBezTo>
                <a:cubicBezTo>
                  <a:pt x="1351280" y="1048786"/>
                  <a:pt x="1048786" y="1351280"/>
                  <a:pt x="675640" y="1351280"/>
                </a:cubicBezTo>
                <a:cubicBezTo>
                  <a:pt x="302494" y="1351280"/>
                  <a:pt x="0" y="1048786"/>
                  <a:pt x="0" y="675640"/>
                </a:cubicBezTo>
                <a:cubicBezTo>
                  <a:pt x="0" y="302494"/>
                  <a:pt x="302494" y="0"/>
                  <a:pt x="675640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reeform 15"/>
          <p:cNvSpPr/>
          <p:nvPr/>
        </p:nvSpPr>
        <p:spPr>
          <a:xfrm>
            <a:off x="2318457" y="2966922"/>
            <a:ext cx="232747" cy="243092"/>
          </a:xfrm>
          <a:custGeom>
            <a:avLst/>
            <a:gdLst>
              <a:gd name="connsiteX0" fmla="*/ 675641 w 1351280"/>
              <a:gd name="connsiteY0" fmla="*/ 436140 h 1351280"/>
              <a:gd name="connsiteX1" fmla="*/ 436140 w 1351280"/>
              <a:gd name="connsiteY1" fmla="*/ 675641 h 1351280"/>
              <a:gd name="connsiteX2" fmla="*/ 675641 w 1351280"/>
              <a:gd name="connsiteY2" fmla="*/ 915142 h 1351280"/>
              <a:gd name="connsiteX3" fmla="*/ 915142 w 1351280"/>
              <a:gd name="connsiteY3" fmla="*/ 675641 h 1351280"/>
              <a:gd name="connsiteX4" fmla="*/ 675641 w 1351280"/>
              <a:gd name="connsiteY4" fmla="*/ 436140 h 1351280"/>
              <a:gd name="connsiteX5" fmla="*/ 675640 w 1351280"/>
              <a:gd name="connsiteY5" fmla="*/ 0 h 1351280"/>
              <a:gd name="connsiteX6" fmla="*/ 1351280 w 1351280"/>
              <a:gd name="connsiteY6" fmla="*/ 675640 h 1351280"/>
              <a:gd name="connsiteX7" fmla="*/ 675640 w 1351280"/>
              <a:gd name="connsiteY7" fmla="*/ 1351280 h 1351280"/>
              <a:gd name="connsiteX8" fmla="*/ 0 w 1351280"/>
              <a:gd name="connsiteY8" fmla="*/ 675640 h 1351280"/>
              <a:gd name="connsiteX9" fmla="*/ 675640 w 1351280"/>
              <a:gd name="connsiteY9" fmla="*/ 0 h 13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51280" h="1351280">
                <a:moveTo>
                  <a:pt x="675641" y="436140"/>
                </a:moveTo>
                <a:cubicBezTo>
                  <a:pt x="543368" y="436140"/>
                  <a:pt x="436140" y="543368"/>
                  <a:pt x="436140" y="675641"/>
                </a:cubicBezTo>
                <a:cubicBezTo>
                  <a:pt x="436140" y="807914"/>
                  <a:pt x="543368" y="915142"/>
                  <a:pt x="675641" y="915142"/>
                </a:cubicBezTo>
                <a:cubicBezTo>
                  <a:pt x="807914" y="915142"/>
                  <a:pt x="915142" y="807914"/>
                  <a:pt x="915142" y="675641"/>
                </a:cubicBezTo>
                <a:cubicBezTo>
                  <a:pt x="915142" y="543368"/>
                  <a:pt x="807914" y="436140"/>
                  <a:pt x="675641" y="436140"/>
                </a:cubicBezTo>
                <a:close/>
                <a:moveTo>
                  <a:pt x="675640" y="0"/>
                </a:moveTo>
                <a:cubicBezTo>
                  <a:pt x="1048786" y="0"/>
                  <a:pt x="1351280" y="302494"/>
                  <a:pt x="1351280" y="675640"/>
                </a:cubicBezTo>
                <a:cubicBezTo>
                  <a:pt x="1351280" y="1048786"/>
                  <a:pt x="1048786" y="1351280"/>
                  <a:pt x="675640" y="1351280"/>
                </a:cubicBezTo>
                <a:cubicBezTo>
                  <a:pt x="302494" y="1351280"/>
                  <a:pt x="0" y="1048786"/>
                  <a:pt x="0" y="675640"/>
                </a:cubicBezTo>
                <a:cubicBezTo>
                  <a:pt x="0" y="302494"/>
                  <a:pt x="302494" y="0"/>
                  <a:pt x="675640" y="0"/>
                </a:cubicBezTo>
                <a:close/>
              </a:path>
            </a:pathLst>
          </a:custGeom>
          <a:solidFill>
            <a:srgbClr val="53D7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8" name="Agrupar 17"/>
          <p:cNvGrpSpPr/>
          <p:nvPr/>
        </p:nvGrpSpPr>
        <p:grpSpPr>
          <a:xfrm>
            <a:off x="5076057" y="519808"/>
            <a:ext cx="3594472" cy="2370905"/>
            <a:chOff x="5148064" y="662667"/>
            <a:chExt cx="3073519" cy="1955520"/>
          </a:xfrm>
        </p:grpSpPr>
        <p:sp>
          <p:nvSpPr>
            <p:cNvPr id="16" name="Line Callout 2 3"/>
            <p:cNvSpPr/>
            <p:nvPr/>
          </p:nvSpPr>
          <p:spPr>
            <a:xfrm>
              <a:off x="5148064" y="662667"/>
              <a:ext cx="3073519" cy="1955520"/>
            </a:xfrm>
            <a:prstGeom prst="borderCallout2">
              <a:avLst>
                <a:gd name="adj1" fmla="val 52340"/>
                <a:gd name="adj2" fmla="val -246"/>
                <a:gd name="adj3" fmla="val 52332"/>
                <a:gd name="adj4" fmla="val -19899"/>
                <a:gd name="adj5" fmla="val 104110"/>
                <a:gd name="adj6" fmla="val -66165"/>
              </a:avLst>
            </a:prstGeom>
            <a:solidFill>
              <a:schemeClr val="tx2"/>
            </a:solidFill>
            <a:ln w="3175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7" name="Retângulo 16"/>
            <p:cNvSpPr/>
            <p:nvPr/>
          </p:nvSpPr>
          <p:spPr>
            <a:xfrm>
              <a:off x="5212169" y="842446"/>
              <a:ext cx="2945308" cy="159927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pt-BR" sz="2400" b="1" dirty="0">
                  <a:solidFill>
                    <a:schemeClr val="bg1"/>
                  </a:solidFill>
                </a:rPr>
                <a:t>Quantos US$ bilhões que o açúcar pode buscar fora do Brasil espalhando desenvolvimento econômico e social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912930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h8md2102_x1DZVUkX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EpV1YjkKFgfmGcDd0Jw"/>
</p:tagLst>
</file>

<file path=ppt/theme/theme1.xml><?xml version="1.0" encoding="utf-8"?>
<a:theme xmlns:a="http://schemas.openxmlformats.org/drawingml/2006/main" name="Template padrão Markestrat QUADRADO">
  <a:themeElements>
    <a:clrScheme name="Personalizada 3">
      <a:dk1>
        <a:srgbClr val="022B24"/>
      </a:dk1>
      <a:lt1>
        <a:srgbClr val="FFFFFF"/>
      </a:lt1>
      <a:dk2>
        <a:srgbClr val="009F85"/>
      </a:dk2>
      <a:lt2>
        <a:srgbClr val="ECECEC"/>
      </a:lt2>
      <a:accent1>
        <a:srgbClr val="022B24"/>
      </a:accent1>
      <a:accent2>
        <a:srgbClr val="2A7F70"/>
      </a:accent2>
      <a:accent3>
        <a:srgbClr val="B3B5B6"/>
      </a:accent3>
      <a:accent4>
        <a:srgbClr val="98DDD0"/>
      </a:accent4>
      <a:accent5>
        <a:srgbClr val="003366"/>
      </a:accent5>
      <a:accent6>
        <a:srgbClr val="99CCFF"/>
      </a:accent6>
      <a:hlink>
        <a:srgbClr val="004F42"/>
      </a:hlink>
      <a:folHlink>
        <a:srgbClr val="D4FEF8"/>
      </a:folHlink>
    </a:clrScheme>
    <a:fontScheme name="Fontes Markestrat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64</TotalTime>
  <Words>1040</Words>
  <Application>Microsoft Office PowerPoint</Application>
  <PresentationFormat>Apresentação na tela (4:3)</PresentationFormat>
  <Paragraphs>346</Paragraphs>
  <Slides>18</Slides>
  <Notes>2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18</vt:i4>
      </vt:variant>
    </vt:vector>
  </HeadingPairs>
  <TitlesOfParts>
    <vt:vector size="19" baseType="lpstr">
      <vt:lpstr>Template padrão Markestrat QUADRADO</vt:lpstr>
      <vt:lpstr>  Desafios para o Desenvolvimento do Setor Sucroenergético</vt:lpstr>
      <vt:lpstr>Projeto</vt:lpstr>
      <vt:lpstr>Escopo</vt:lpstr>
      <vt:lpstr>Apresentação do PowerPoint</vt:lpstr>
      <vt:lpstr>Apresentação do PowerPoint</vt:lpstr>
      <vt:lpstr>Metodologia</vt:lpstr>
      <vt:lpstr>Cronograma</vt:lpstr>
      <vt:lpstr>Apresentação do PowerPoint</vt:lpstr>
      <vt:lpstr>Apresentação do PowerPoint</vt:lpstr>
      <vt:lpstr>Estimativa do mercado mundial de açúcar 2030/31</vt:lpstr>
      <vt:lpstr>Apresentação do PowerPoint</vt:lpstr>
      <vt:lpstr>Estimativa do mercado de etanol 2030/31</vt:lpstr>
      <vt:lpstr>Apresentação do PowerPoint</vt:lpstr>
      <vt:lpstr>Apresentação do PowerPoint</vt:lpstr>
      <vt:lpstr>Impactos da Instalação de 2 Usinas em Quirinópolis ao redor de 2005</vt:lpstr>
      <vt:lpstr>Apresentação do PowerPoint</vt:lpstr>
      <vt:lpstr>Apresentação do PowerPoint</vt:lpstr>
      <vt:lpstr>Apresentação do PowerPoint</vt:lpstr>
    </vt:vector>
  </TitlesOfParts>
  <Company>Ideator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Ideatore</dc:creator>
  <cp:lastModifiedBy>gestor_seg</cp:lastModifiedBy>
  <cp:revision>290</cp:revision>
  <dcterms:created xsi:type="dcterms:W3CDTF">2016-04-25T16:51:53Z</dcterms:created>
  <dcterms:modified xsi:type="dcterms:W3CDTF">2016-12-13T13:58:18Z</dcterms:modified>
</cp:coreProperties>
</file>